
<file path=[Content_Types].xml><?xml version="1.0" encoding="utf-8"?>
<Types xmlns="http://schemas.openxmlformats.org/package/2006/content-types">
  <Default Extension="emf" ContentType="image/x-emf"/>
  <Default Extension="fntdata" ContentType="application/x-fontdata"/>
  <Default Extension="jpeg" ContentType="image/jpeg"/>
  <Default Extension="jpg" ContentType="image/jp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722" r:id="rId4"/>
  </p:sldMasterIdLst>
  <p:notesMasterIdLst>
    <p:notesMasterId r:id="rId25"/>
  </p:notesMasterIdLst>
  <p:handoutMasterIdLst>
    <p:handoutMasterId r:id="rId26"/>
  </p:handoutMasterIdLst>
  <p:sldIdLst>
    <p:sldId id="4377" r:id="rId5"/>
    <p:sldId id="4379" r:id="rId6"/>
    <p:sldId id="4380" r:id="rId7"/>
    <p:sldId id="4381" r:id="rId8"/>
    <p:sldId id="4382" r:id="rId9"/>
    <p:sldId id="4383" r:id="rId10"/>
    <p:sldId id="4384" r:id="rId11"/>
    <p:sldId id="4385" r:id="rId12"/>
    <p:sldId id="4386" r:id="rId13"/>
    <p:sldId id="4387" r:id="rId14"/>
    <p:sldId id="4388" r:id="rId15"/>
    <p:sldId id="4389" r:id="rId16"/>
    <p:sldId id="4390" r:id="rId17"/>
    <p:sldId id="4391" r:id="rId18"/>
    <p:sldId id="4392" r:id="rId19"/>
    <p:sldId id="4393" r:id="rId20"/>
    <p:sldId id="4394" r:id="rId21"/>
    <p:sldId id="4395" r:id="rId22"/>
    <p:sldId id="4396" r:id="rId23"/>
    <p:sldId id="4397" r:id="rId24"/>
  </p:sldIdLst>
  <p:sldSz cx="12192000" cy="6858000"/>
  <p:notesSz cx="6858000" cy="9144000"/>
  <p:embeddedFontLst>
    <p:embeddedFont>
      <p:font typeface="Avenir Next LT Pro" panose="020B0504020202020204" pitchFamily="34" charset="0"/>
      <p:regular r:id="rId27"/>
      <p:bold r:id="rId28"/>
      <p:italic r:id="rId29"/>
      <p:boldItalic r:id="rId30"/>
    </p:embeddedFont>
    <p:embeddedFont>
      <p:font typeface="Calibri" panose="020F0502020204030204" pitchFamily="34" charset="0"/>
      <p:regular r:id="rId31"/>
      <p:bold r:id="rId32"/>
      <p:italic r:id="rId33"/>
      <p:boldItalic r:id="rId34"/>
    </p:embeddedFont>
    <p:embeddedFont>
      <p:font typeface="Tahoma" panose="020B0604030504040204" pitchFamily="34" charset="0"/>
      <p:regular r:id="rId35"/>
      <p:bold r:id="rId36"/>
    </p:embeddedFont>
    <p:embeddedFont>
      <p:font typeface="Wingdings 2" panose="05020102010507070707" pitchFamily="18" charset="2"/>
      <p:regular r:id="rId37"/>
    </p:embeddedFont>
  </p:embeddedFontLst>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8B3F887-EFA2-40B7-9418-4822923E7165}">
          <p14:sldIdLst/>
        </p14:section>
        <p14:section name="Pre-made for You" id="{EB183B41-070A-413F-B476-6DA567E1B51F}">
          <p14:sldIdLst>
            <p14:sldId id="4377"/>
            <p14:sldId id="4379"/>
            <p14:sldId id="4380"/>
            <p14:sldId id="4381"/>
            <p14:sldId id="4382"/>
            <p14:sldId id="4383"/>
            <p14:sldId id="4384"/>
            <p14:sldId id="4385"/>
            <p14:sldId id="4386"/>
            <p14:sldId id="4387"/>
            <p14:sldId id="4388"/>
            <p14:sldId id="4389"/>
            <p14:sldId id="4390"/>
            <p14:sldId id="4391"/>
            <p14:sldId id="4392"/>
            <p14:sldId id="4393"/>
            <p14:sldId id="4394"/>
            <p14:sldId id="4395"/>
            <p14:sldId id="4396"/>
            <p14:sldId id="439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74A8D16-8BC7-5B76-E8CB-6C749C21A87E}" name="Bruce, Catherine C" initials="BCC" userId="S::cmc01@acuitysso.com::91f27ddd-3cea-4523-8749-7edfa2d9d75e" providerId="AD"/>
  <p188:author id="{FD3E461B-7821-DCC2-B0A8-BA362CB58BFC}" name="Klair, Simran" initials="KS" userId="S::sxk12@acuitysso.com::1568edb8-99d2-4bde-b7ec-f60c0294dbd5" providerId="AD"/>
  <p188:author id="{5BBF5027-51F9-6713-3639-DDA448076B30}" name="Neely, Chrystal H" initials="NH" userId="S::chn03@acuitysso.com::6676cd92-856d-4574-813d-6180952b420b" providerId="AD"/>
  <p188:author id="{588B0A52-3E9E-6C26-27F3-0AD4D981AB28}" name="Scott, Lauren" initials="SL" userId="S::LXS31@acuitysso.com::4033996e-cf20-4694-860c-c48505cf17c5" providerId="AD"/>
  <p188:author id="{81ABB95B-B197-B771-65AE-B4E0203FA072}" name="Anderson, Nicole U" initials="ANU" userId="S::NUA01@acuitysso.com::f5a80566-f962-4825-bafc-173a1b6201e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oucher, Amra S" initials="BS" lastIdx="2" clrIdx="6">
    <p:extLst>
      <p:ext uri="{19B8F6BF-5375-455C-9EA6-DF929625EA0E}">
        <p15:presenceInfo xmlns:p15="http://schemas.microsoft.com/office/powerpoint/2012/main" userId="S::asb08@acuitysso.com::1b2a042d-a148-4ed2-b4dc-b0d8ce9f7774" providerId="AD"/>
      </p:ext>
    </p:extLst>
  </p:cmAuthor>
  <p:cmAuthor id="1" name="Nicole Anderson" initials="NA" lastIdx="54" clrIdx="0">
    <p:extLst>
      <p:ext uri="{19B8F6BF-5375-455C-9EA6-DF929625EA0E}">
        <p15:presenceInfo xmlns:p15="http://schemas.microsoft.com/office/powerpoint/2012/main" userId="S::NUA01@acuitysso.com::f5a80566-f962-4825-bafc-173a1b6201ef" providerId="AD"/>
      </p:ext>
    </p:extLst>
  </p:cmAuthor>
  <p:cmAuthor id="8" name="Angie Sharon" initials="AS" lastIdx="1" clrIdx="7">
    <p:extLst>
      <p:ext uri="{19B8F6BF-5375-455C-9EA6-DF929625EA0E}">
        <p15:presenceInfo xmlns:p15="http://schemas.microsoft.com/office/powerpoint/2012/main" userId="826f0f5f26a88145" providerId="Windows Live"/>
      </p:ext>
    </p:extLst>
  </p:cmAuthor>
  <p:cmAuthor id="2" name="Egan, Neil H" initials="EH" lastIdx="11" clrIdx="1">
    <p:extLst>
      <p:ext uri="{19B8F6BF-5375-455C-9EA6-DF929625EA0E}">
        <p15:presenceInfo xmlns:p15="http://schemas.microsoft.com/office/powerpoint/2012/main" userId="S::nhe01@acuitysso.com::67a087cb-906a-48de-9fc8-e7926fc07714" providerId="AD"/>
      </p:ext>
    </p:extLst>
  </p:cmAuthor>
  <p:cmAuthor id="3" name="Scott, Lauren" initials="SL" lastIdx="1" clrIdx="2">
    <p:extLst>
      <p:ext uri="{19B8F6BF-5375-455C-9EA6-DF929625EA0E}">
        <p15:presenceInfo xmlns:p15="http://schemas.microsoft.com/office/powerpoint/2012/main" userId="S::lxs31@acuitysso.com::4033996e-cf20-4694-860c-c48505cf17c5" providerId="AD"/>
      </p:ext>
    </p:extLst>
  </p:cmAuthor>
  <p:cmAuthor id="4" name="Bruce, Catherine C" initials="BC" lastIdx="22" clrIdx="3">
    <p:extLst>
      <p:ext uri="{19B8F6BF-5375-455C-9EA6-DF929625EA0E}">
        <p15:presenceInfo xmlns:p15="http://schemas.microsoft.com/office/powerpoint/2012/main" userId="S::cmc01@acuitysso.com::91f27ddd-3cea-4523-8749-7edfa2d9d75e" providerId="AD"/>
      </p:ext>
    </p:extLst>
  </p:cmAuthor>
  <p:cmAuthor id="5" name="Schmidt, Lea Ann" initials="SA" lastIdx="1" clrIdx="4">
    <p:extLst>
      <p:ext uri="{19B8F6BF-5375-455C-9EA6-DF929625EA0E}">
        <p15:presenceInfo xmlns:p15="http://schemas.microsoft.com/office/powerpoint/2012/main" userId="S::las02@acuitysso.com::28ff91a6-0ae4-4e1b-a682-88fb75a7d910" providerId="AD"/>
      </p:ext>
    </p:extLst>
  </p:cmAuthor>
  <p:cmAuthor id="6" name="Paul, Ryan" initials="PR" lastIdx="1" clrIdx="5">
    <p:extLst>
      <p:ext uri="{19B8F6BF-5375-455C-9EA6-DF929625EA0E}">
        <p15:presenceInfo xmlns:p15="http://schemas.microsoft.com/office/powerpoint/2012/main" userId="S::crp03@acuitysso.com::7ffe9a60-4efd-4c64-9cbe-8365a1acec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239"/>
    <a:srgbClr val="000000"/>
    <a:srgbClr val="5A6E7A"/>
    <a:srgbClr val="FFFFFF"/>
    <a:srgbClr val="495965"/>
    <a:srgbClr val="485965"/>
    <a:srgbClr val="7F848E"/>
    <a:srgbClr val="289B64"/>
    <a:srgbClr val="EEF0F0"/>
    <a:srgbClr val="C7CED9"/>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65" autoAdjust="0"/>
    <p:restoredTop sz="94660"/>
  </p:normalViewPr>
  <p:slideViewPr>
    <p:cSldViewPr snapToGrid="0">
      <p:cViewPr varScale="1">
        <p:scale>
          <a:sx n="100" d="100"/>
          <a:sy n="100" d="100"/>
        </p:scale>
        <p:origin x="72" y="324"/>
      </p:cViewPr>
      <p:guideLst>
        <p:guide orient="horz" pos="2160"/>
        <p:guide pos="3840"/>
      </p:guideLst>
    </p:cSldViewPr>
  </p:slideViewPr>
  <p:notesTextViewPr>
    <p:cViewPr>
      <p:scale>
        <a:sx n="1" d="1"/>
        <a:sy n="1" d="1"/>
      </p:scale>
      <p:origin x="0" y="0"/>
    </p:cViewPr>
  </p:notesTextViewPr>
  <p:notesViewPr>
    <p:cSldViewPr snapToGrid="0">
      <p:cViewPr varScale="1">
        <p:scale>
          <a:sx n="86" d="100"/>
          <a:sy n="86" d="100"/>
        </p:scale>
        <p:origin x="3864"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handoutMaster" Target="handoutMasters/handoutMaster1.xml"/><Relationship Id="rId39" Type="http://schemas.openxmlformats.org/officeDocument/2006/relationships/commentAuthors" Target="commentAuthors.xml"/><Relationship Id="rId21" Type="http://schemas.openxmlformats.org/officeDocument/2006/relationships/slide" Target="slides/slide17.xml"/><Relationship Id="rId34" Type="http://schemas.openxmlformats.org/officeDocument/2006/relationships/font" Target="fonts/font8.fntdata"/><Relationship Id="rId42"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font" Target="fonts/font3.fntdata"/><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font" Target="fonts/font6.fntdata"/><Relationship Id="rId37" Type="http://schemas.openxmlformats.org/officeDocument/2006/relationships/font" Target="fonts/font11.fntdata"/><Relationship Id="rId40"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font" Target="fonts/font2.fntdata"/><Relationship Id="rId36" Type="http://schemas.openxmlformats.org/officeDocument/2006/relationships/font" Target="fonts/font10.fntdata"/><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font" Target="fonts/font5.fntdata"/><Relationship Id="rId44"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font" Target="fonts/font9.fntdata"/><Relationship Id="rId43" Type="http://schemas.openxmlformats.org/officeDocument/2006/relationships/tableStyles" Target="tableStyle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9305AC9-1E38-412A-A761-95E0D04552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B7B6383-20DC-4D4D-B0BD-B9532570721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BEE050-D4AF-4CFF-BE0D-4ED915636A15}" type="datetimeFigureOut">
              <a:rPr lang="en-US" smtClean="0"/>
              <a:t>10/18/2022</a:t>
            </a:fld>
            <a:endParaRPr lang="en-US"/>
          </a:p>
        </p:txBody>
      </p:sp>
      <p:sp>
        <p:nvSpPr>
          <p:cNvPr id="4" name="Footer Placeholder 3">
            <a:extLst>
              <a:ext uri="{FF2B5EF4-FFF2-40B4-BE49-F238E27FC236}">
                <a16:creationId xmlns:a16="http://schemas.microsoft.com/office/drawing/2014/main" id="{A6D2EEBA-B2BD-43E2-BA3E-B68692336F6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ACA611A-FB0A-4097-BDF6-EBC51C17A7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6AE447D-7935-4FBA-B703-124FB700EFE9}" type="slidenum">
              <a:rPr lang="en-US" smtClean="0"/>
              <a:t>‹#›</a:t>
            </a:fld>
            <a:endParaRPr lang="en-US"/>
          </a:p>
        </p:txBody>
      </p:sp>
    </p:spTree>
    <p:extLst>
      <p:ext uri="{BB962C8B-B14F-4D97-AF65-F5344CB8AC3E}">
        <p14:creationId xmlns:p14="http://schemas.microsoft.com/office/powerpoint/2010/main" val="133662935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8FF4E1FE-5D16-40FC-81AD-96FF6607C284}" type="datetimeFigureOut">
              <a:rPr lang="en-US" smtClean="0"/>
              <a:pPr/>
              <a:t>10/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C3CBF1D0-686F-4FC6-AB10-C337FA0BBBCE}" type="slidenum">
              <a:rPr lang="en-US" smtClean="0"/>
              <a:pPr/>
              <a:t>‹#›</a:t>
            </a:fld>
            <a:endParaRPr lang="en-US"/>
          </a:p>
        </p:txBody>
      </p:sp>
    </p:spTree>
    <p:extLst>
      <p:ext uri="{BB962C8B-B14F-4D97-AF65-F5344CB8AC3E}">
        <p14:creationId xmlns:p14="http://schemas.microsoft.com/office/powerpoint/2010/main" val="882560590"/>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7.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7.png"/><Relationship Id="rId4"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7.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7.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7.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7.png"/><Relationship Id="rId4" Type="http://schemas.openxmlformats.org/officeDocument/2006/relationships/image" Target="../media/image16.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7.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7.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7.png"/><Relationship Id="rId4" Type="http://schemas.openxmlformats.org/officeDocument/2006/relationships/image" Target="../media/image20.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7.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7.png"/><Relationship Id="rId4" Type="http://schemas.openxmlformats.org/officeDocument/2006/relationships/image" Target="../media/image27.jpe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7.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7.png"/><Relationship Id="rId4" Type="http://schemas.openxmlformats.org/officeDocument/2006/relationships/image" Target="../media/image30.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7.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35.jpe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54.png"/><Relationship Id="rId3" Type="http://schemas.openxmlformats.org/officeDocument/2006/relationships/image" Target="../media/image45.jpg"/><Relationship Id="rId7" Type="http://schemas.openxmlformats.org/officeDocument/2006/relationships/image" Target="../media/image49.jpg"/><Relationship Id="rId12" Type="http://schemas.openxmlformats.org/officeDocument/2006/relationships/image" Target="../media/image53.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48.jpg"/><Relationship Id="rId11" Type="http://schemas.openxmlformats.org/officeDocument/2006/relationships/image" Target="../media/image52.png"/><Relationship Id="rId5" Type="http://schemas.openxmlformats.org/officeDocument/2006/relationships/image" Target="../media/image47.jpg"/><Relationship Id="rId10" Type="http://schemas.openxmlformats.org/officeDocument/2006/relationships/image" Target="../media/image51.png"/><Relationship Id="rId4" Type="http://schemas.openxmlformats.org/officeDocument/2006/relationships/image" Target="../media/image46.jpg"/><Relationship Id="rId9" Type="http://schemas.openxmlformats.org/officeDocument/2006/relationships/image" Target="../media/image50.png"/></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58.pn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png"/><Relationship Id="rId4" Type="http://schemas.openxmlformats.org/officeDocument/2006/relationships/image" Target="../media/image56.png"/><Relationship Id="rId9" Type="http://schemas.openxmlformats.org/officeDocument/2006/relationships/image" Target="../media/image61.pn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1.xml"/><Relationship Id="rId4" Type="http://schemas.openxmlformats.org/officeDocument/2006/relationships/image" Target="../media/image67.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Master" Target="../slideMasters/slideMaster1.xml"/><Relationship Id="rId4" Type="http://schemas.openxmlformats.org/officeDocument/2006/relationships/image" Target="../media/image67.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Slide">
    <p:spTree>
      <p:nvGrpSpPr>
        <p:cNvPr id="1" name=""/>
        <p:cNvGrpSpPr/>
        <p:nvPr/>
      </p:nvGrpSpPr>
      <p:grpSpPr>
        <a:xfrm>
          <a:off x="0" y="0"/>
          <a:ext cx="0" cy="0"/>
          <a:chOff x="0" y="0"/>
          <a:chExt cx="0" cy="0"/>
        </a:xfrm>
      </p:grpSpPr>
      <p:sp>
        <p:nvSpPr>
          <p:cNvPr id="13" name="Oval 12">
            <a:extLst>
              <a:ext uri="{FF2B5EF4-FFF2-40B4-BE49-F238E27FC236}">
                <a16:creationId xmlns:a16="http://schemas.microsoft.com/office/drawing/2014/main" id="{EA652D28-0CDA-4690-8D8D-9D6DD7154810}"/>
              </a:ext>
            </a:extLst>
          </p:cNvPr>
          <p:cNvSpPr/>
          <p:nvPr userDrawn="1"/>
        </p:nvSpPr>
        <p:spPr>
          <a:xfrm>
            <a:off x="10531021" y="540391"/>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59B6181-0C3C-4CFD-B6D2-F7D6560A3CCF}"/>
              </a:ext>
            </a:extLst>
          </p:cNvPr>
          <p:cNvSpPr/>
          <p:nvPr userDrawn="1"/>
        </p:nvSpPr>
        <p:spPr>
          <a:xfrm>
            <a:off x="8291286" y="-433697"/>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A40F226-7472-46C9-9665-C68F56CDBBD5}"/>
              </a:ext>
            </a:extLst>
          </p:cNvPr>
          <p:cNvSpPr>
            <a:spLocks noGrp="1"/>
          </p:cNvSpPr>
          <p:nvPr>
            <p:ph type="title" hasCustomPrompt="1"/>
          </p:nvPr>
        </p:nvSpPr>
        <p:spPr>
          <a:xfrm>
            <a:off x="831850" y="1709738"/>
            <a:ext cx="10515600" cy="2852737"/>
          </a:xfrm>
          <a:prstGeom prst="rect">
            <a:avLst/>
          </a:prstGeom>
        </p:spPr>
        <p:txBody>
          <a:bodyPr anchor="b"/>
          <a:lstStyle>
            <a:lvl1pPr>
              <a:defRPr sz="6000"/>
            </a:lvl1pPr>
          </a:lstStyle>
          <a:p>
            <a:r>
              <a:rPr lang="en-US"/>
              <a:t>Click to insert title (one line)</a:t>
            </a:r>
          </a:p>
        </p:txBody>
      </p:sp>
      <p:sp>
        <p:nvSpPr>
          <p:cNvPr id="3" name="Text Placeholder 2">
            <a:extLst>
              <a:ext uri="{FF2B5EF4-FFF2-40B4-BE49-F238E27FC236}">
                <a16:creationId xmlns:a16="http://schemas.microsoft.com/office/drawing/2014/main" id="{60E92620-A7D3-46AC-B8D7-F694D51A54DE}"/>
              </a:ext>
            </a:extLst>
          </p:cNvPr>
          <p:cNvSpPr>
            <a:spLocks noGrp="1"/>
          </p:cNvSpPr>
          <p:nvPr>
            <p:ph type="body" idx="1" hasCustomPrompt="1"/>
          </p:nvPr>
        </p:nvSpPr>
        <p:spPr>
          <a:xfrm>
            <a:off x="831850" y="4589463"/>
            <a:ext cx="10515600" cy="1500187"/>
          </a:xfrm>
          <a:prstGeom prst="rect">
            <a:avLst/>
          </a:prstGeom>
        </p:spPr>
        <p:txBody>
          <a:bodyPr/>
          <a:lstStyle>
            <a:lvl1pPr marL="0" indent="0">
              <a:buNone/>
              <a:defRPr sz="2400" b="0" i="0">
                <a:solidFill>
                  <a:schemeClr val="accent1"/>
                </a:solidFill>
                <a:latin typeface="+mj-lt"/>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insert subtitle (one line max)</a:t>
            </a:r>
          </a:p>
        </p:txBody>
      </p:sp>
      <p:sp>
        <p:nvSpPr>
          <p:cNvPr id="9" name="Rectangle 8">
            <a:extLst>
              <a:ext uri="{FF2B5EF4-FFF2-40B4-BE49-F238E27FC236}">
                <a16:creationId xmlns:a16="http://schemas.microsoft.com/office/drawing/2014/main" id="{07A1692F-6C5D-B57D-EF11-9EC1B512C596}"/>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icture containing text&#10;&#10;Description automatically generated">
            <a:extLst>
              <a:ext uri="{FF2B5EF4-FFF2-40B4-BE49-F238E27FC236}">
                <a16:creationId xmlns:a16="http://schemas.microsoft.com/office/drawing/2014/main" id="{CDAECBC5-5237-C742-CDCF-F428E84B8C0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451112" y="197048"/>
            <a:ext cx="1668749" cy="233625"/>
          </a:xfrm>
          <a:prstGeom prst="rect">
            <a:avLst/>
          </a:prstGeom>
        </p:spPr>
      </p:pic>
    </p:spTree>
    <p:custDataLst>
      <p:tags r:id="rId1"/>
    </p:custDataLst>
    <p:extLst>
      <p:ext uri="{BB962C8B-B14F-4D97-AF65-F5344CB8AC3E}">
        <p14:creationId xmlns:p14="http://schemas.microsoft.com/office/powerpoint/2010/main" val="1154378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Callout">
    <p:spTree>
      <p:nvGrpSpPr>
        <p:cNvPr id="1" name=""/>
        <p:cNvGrpSpPr/>
        <p:nvPr/>
      </p:nvGrpSpPr>
      <p:grpSpPr>
        <a:xfrm>
          <a:off x="0" y="0"/>
          <a:ext cx="0" cy="0"/>
          <a:chOff x="0" y="0"/>
          <a:chExt cx="0" cy="0"/>
        </a:xfrm>
      </p:grpSpPr>
      <p:sp>
        <p:nvSpPr>
          <p:cNvPr id="10" name="Oval 26">
            <a:extLst>
              <a:ext uri="{FF2B5EF4-FFF2-40B4-BE49-F238E27FC236}">
                <a16:creationId xmlns:a16="http://schemas.microsoft.com/office/drawing/2014/main" id="{E110863D-8F6A-4EFE-90B6-83CED02DE682}"/>
              </a:ext>
            </a:extLst>
          </p:cNvPr>
          <p:cNvSpPr/>
          <p:nvPr userDrawn="1"/>
        </p:nvSpPr>
        <p:spPr>
          <a:xfrm>
            <a:off x="-469651" y="254130"/>
            <a:ext cx="2070000" cy="2070000"/>
          </a:xfrm>
          <a:prstGeom prst="ellipse">
            <a:avLst/>
          </a:prstGeom>
          <a:pattFill prst="dashHorz">
            <a:fgClr>
              <a:srgbClr val="289B64"/>
            </a:fgClr>
            <a:bgClr>
              <a:sysClr val="window" lastClr="FFFFFF"/>
            </a:bgClr>
          </a:patt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1" name="Oval 27">
            <a:extLst>
              <a:ext uri="{FF2B5EF4-FFF2-40B4-BE49-F238E27FC236}">
                <a16:creationId xmlns:a16="http://schemas.microsoft.com/office/drawing/2014/main" id="{09452152-4CE5-4FBE-8AB6-031FEF557B33}"/>
              </a:ext>
            </a:extLst>
          </p:cNvPr>
          <p:cNvSpPr/>
          <p:nvPr userDrawn="1"/>
        </p:nvSpPr>
        <p:spPr>
          <a:xfrm>
            <a:off x="1361398" y="3002040"/>
            <a:ext cx="3546000" cy="3545055"/>
          </a:xfrm>
          <a:prstGeom prst="ellipse">
            <a:avLst/>
          </a:prstGeom>
          <a:solidFill>
            <a:srgbClr val="EEF0F0">
              <a:alpha val="58000"/>
            </a:srgbClr>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9F658162-A9CB-4A1F-9032-CE880A4B2D94}"/>
              </a:ext>
            </a:extLst>
          </p:cNvPr>
          <p:cNvSpPr/>
          <p:nvPr userDrawn="1"/>
        </p:nvSpPr>
        <p:spPr>
          <a:xfrm>
            <a:off x="599227" y="945451"/>
            <a:ext cx="3338004" cy="4861443"/>
          </a:xfrm>
          <a:prstGeom prst="rect">
            <a:avLst/>
          </a:prstGeom>
          <a:solidFill>
            <a:srgbClr val="495965">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3" name="Espace réservé du contenu 1">
            <a:extLst>
              <a:ext uri="{FF2B5EF4-FFF2-40B4-BE49-F238E27FC236}">
                <a16:creationId xmlns:a16="http://schemas.microsoft.com/office/drawing/2014/main" id="{C46DEF55-C64C-4CB9-8E00-E5A452AFC8DD}"/>
              </a:ext>
            </a:extLst>
          </p:cNvPr>
          <p:cNvSpPr>
            <a:spLocks noGrp="1"/>
          </p:cNvSpPr>
          <p:nvPr>
            <p:ph sz="half" idx="12"/>
          </p:nvPr>
        </p:nvSpPr>
        <p:spPr>
          <a:xfrm>
            <a:off x="5006109" y="2159674"/>
            <a:ext cx="6347690" cy="3647220"/>
          </a:xfrm>
        </p:spPr>
        <p:txBody>
          <a:bodyPr vert="horz" lIns="91440" tIns="45720" rIns="91440" bIns="45720" rtlCol="0" anchor="t">
            <a:noAutofit/>
          </a:bodyPr>
          <a:lstStyle>
            <a:lvl1pPr>
              <a:defRPr/>
            </a:lvl1pPr>
          </a:lstStyle>
          <a:p>
            <a:pPr marL="0" lvl="0" indent="0">
              <a:buNone/>
            </a:pPr>
            <a:r>
              <a:rPr lang="en-US"/>
              <a:t>Click to edit Master text styles</a:t>
            </a:r>
          </a:p>
        </p:txBody>
      </p:sp>
      <p:sp>
        <p:nvSpPr>
          <p:cNvPr id="14" name="Title 1">
            <a:extLst>
              <a:ext uri="{FF2B5EF4-FFF2-40B4-BE49-F238E27FC236}">
                <a16:creationId xmlns:a16="http://schemas.microsoft.com/office/drawing/2014/main" id="{AEB83E2C-4C36-41C1-B640-184CE4DAD4CB}"/>
              </a:ext>
            </a:extLst>
          </p:cNvPr>
          <p:cNvSpPr>
            <a:spLocks noGrp="1"/>
          </p:cNvSpPr>
          <p:nvPr>
            <p:ph type="title"/>
          </p:nvPr>
        </p:nvSpPr>
        <p:spPr>
          <a:xfrm>
            <a:off x="5006108" y="945451"/>
            <a:ext cx="6347691" cy="1042837"/>
          </a:xfrm>
          <a:prstGeom prst="rect">
            <a:avLst/>
          </a:prstGeom>
        </p:spPr>
        <p:txBody>
          <a:bodyPr>
            <a:noAutofit/>
          </a:bodyPr>
          <a:lstStyle>
            <a:lvl1pPr>
              <a:defRPr sz="3600"/>
            </a:lvl1pPr>
          </a:lstStyle>
          <a:p>
            <a:r>
              <a:rPr lang="en-US"/>
              <a:t>Click to edit Master title style</a:t>
            </a:r>
          </a:p>
        </p:txBody>
      </p:sp>
      <p:sp>
        <p:nvSpPr>
          <p:cNvPr id="17" name="Text Placeholder 3">
            <a:extLst>
              <a:ext uri="{FF2B5EF4-FFF2-40B4-BE49-F238E27FC236}">
                <a16:creationId xmlns:a16="http://schemas.microsoft.com/office/drawing/2014/main" id="{94A7E51A-B57B-46D4-AF96-1211DD2602AE}"/>
              </a:ext>
            </a:extLst>
          </p:cNvPr>
          <p:cNvSpPr>
            <a:spLocks noGrp="1"/>
          </p:cNvSpPr>
          <p:nvPr>
            <p:ph type="body" sz="half" idx="2" hasCustomPrompt="1"/>
          </p:nvPr>
        </p:nvSpPr>
        <p:spPr>
          <a:xfrm>
            <a:off x="881063" y="1277655"/>
            <a:ext cx="2764011" cy="4233797"/>
          </a:xfrm>
          <a:prstGeom prst="rect">
            <a:avLst/>
          </a:prstGeom>
        </p:spPr>
        <p:txBody>
          <a:bodyPr anchor="ctr">
            <a:normAutofit/>
          </a:bodyPr>
          <a:lstStyle>
            <a:lvl1pPr marL="0" indent="0" algn="ctr">
              <a:lnSpc>
                <a:spcPct val="150000"/>
              </a:lnSpc>
              <a:buNone/>
              <a:defRPr sz="2000" b="0" i="0">
                <a:solidFill>
                  <a:srgbClr val="FFFFFF"/>
                </a:solidFill>
                <a:latin typeface="Arial" panose="020B0604020202020204" pitchFamily="34" charset="0"/>
                <a:cs typeface="Arial" panose="020B0604020202020204" pitchFamily="34" charset="0"/>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insert callout text here. For best results, callout text should not exceed</a:t>
            </a:r>
            <a:br>
              <a:rPr lang="en-US"/>
            </a:br>
            <a:r>
              <a:rPr lang="en-US"/>
              <a:t>five lines of text.</a:t>
            </a:r>
          </a:p>
        </p:txBody>
      </p:sp>
      <p:sp>
        <p:nvSpPr>
          <p:cNvPr id="18" name="Rectangle 17">
            <a:extLst>
              <a:ext uri="{FF2B5EF4-FFF2-40B4-BE49-F238E27FC236}">
                <a16:creationId xmlns:a16="http://schemas.microsoft.com/office/drawing/2014/main" id="{4CF65081-B114-D7C5-611C-696BA9811783}"/>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41485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Content Subtitle">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1E51291A-F3D4-4A27-ADB2-F3F155D338A3}"/>
              </a:ext>
            </a:extLst>
          </p:cNvPr>
          <p:cNvSpPr/>
          <p:nvPr userDrawn="1"/>
        </p:nvSpPr>
        <p:spPr>
          <a:xfrm>
            <a:off x="9958838" y="3346959"/>
            <a:ext cx="2714447" cy="2728829"/>
          </a:xfrm>
          <a:prstGeom prst="ellipse">
            <a:avLst/>
          </a:prstGeom>
          <a:solidFill>
            <a:srgbClr val="EEF0F0"/>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sp>
        <p:nvSpPr>
          <p:cNvPr id="2" name="Title 1">
            <a:extLst>
              <a:ext uri="{FF2B5EF4-FFF2-40B4-BE49-F238E27FC236}">
                <a16:creationId xmlns:a16="http://schemas.microsoft.com/office/drawing/2014/main" id="{249F2311-2346-4508-BB1F-3DA524B030F0}"/>
              </a:ext>
            </a:extLst>
          </p:cNvPr>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13D5D41-EA6B-4AAD-B951-2FB065940830}"/>
              </a:ext>
            </a:extLst>
          </p:cNvPr>
          <p:cNvSpPr>
            <a:spLocks noGrp="1"/>
          </p:cNvSpPr>
          <p:nvPr>
            <p:ph sz="half" idx="1"/>
          </p:nvPr>
        </p:nvSpPr>
        <p:spPr>
          <a:xfrm>
            <a:off x="838200" y="2411505"/>
            <a:ext cx="5181600" cy="3765457"/>
          </a:xfrm>
          <a:prstGeom prst="rect">
            <a:avLst/>
          </a:prstGeom>
        </p:spPr>
        <p:txBody>
          <a:bodyPr/>
          <a:lstStyle>
            <a:lvl1pPr>
              <a:buClr>
                <a:srgbClr val="485965"/>
              </a:buClr>
              <a:defRPr>
                <a:solidFill>
                  <a:srgbClr val="000000"/>
                </a:solidFill>
              </a:defRPr>
            </a:lvl1pPr>
            <a:lvl2pPr>
              <a:buClr>
                <a:srgbClr val="485965"/>
              </a:buClr>
              <a:defRPr>
                <a:solidFill>
                  <a:srgbClr val="000000"/>
                </a:solidFill>
              </a:defRPr>
            </a:lvl2pPr>
            <a:lvl3pPr>
              <a:buClr>
                <a:srgbClr val="485965"/>
              </a:buClr>
              <a:defRPr>
                <a:solidFill>
                  <a:srgbClr val="000000"/>
                </a:solidFill>
              </a:defRPr>
            </a:lvl3pPr>
            <a:lvl4pPr>
              <a:buClr>
                <a:srgbClr val="485965"/>
              </a:buClr>
              <a:defRPr>
                <a:solidFill>
                  <a:srgbClr val="000000"/>
                </a:solidFill>
              </a:defRPr>
            </a:lvl4pPr>
            <a:lvl5pPr>
              <a:buClr>
                <a:srgbClr val="485965"/>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475744-EE43-4D94-8E53-256BFF093DAC}"/>
              </a:ext>
            </a:extLst>
          </p:cNvPr>
          <p:cNvSpPr>
            <a:spLocks noGrp="1"/>
          </p:cNvSpPr>
          <p:nvPr>
            <p:ph sz="half" idx="2"/>
          </p:nvPr>
        </p:nvSpPr>
        <p:spPr>
          <a:xfrm>
            <a:off x="6172200" y="2411505"/>
            <a:ext cx="5181600" cy="3765457"/>
          </a:xfrm>
          <a:prstGeom prst="rect">
            <a:avLst/>
          </a:prstGeom>
        </p:spPr>
        <p:txBody>
          <a:bodyPr/>
          <a:lstStyle>
            <a:lvl1pPr>
              <a:buClr>
                <a:srgbClr val="485965"/>
              </a:buClr>
              <a:defRPr>
                <a:solidFill>
                  <a:srgbClr val="000000"/>
                </a:solidFill>
              </a:defRPr>
            </a:lvl1pPr>
            <a:lvl2pPr>
              <a:buClr>
                <a:srgbClr val="485965"/>
              </a:buClr>
              <a:defRPr>
                <a:solidFill>
                  <a:srgbClr val="000000"/>
                </a:solidFill>
              </a:defRPr>
            </a:lvl2pPr>
            <a:lvl3pPr>
              <a:buClr>
                <a:srgbClr val="485965"/>
              </a:buClr>
              <a:defRPr>
                <a:solidFill>
                  <a:srgbClr val="000000"/>
                </a:solidFill>
              </a:defRPr>
            </a:lvl3pPr>
            <a:lvl4pPr>
              <a:buClr>
                <a:srgbClr val="485965"/>
              </a:buClr>
              <a:defRPr>
                <a:solidFill>
                  <a:srgbClr val="000000"/>
                </a:solidFill>
              </a:defRPr>
            </a:lvl4pPr>
            <a:lvl5pPr>
              <a:buClr>
                <a:srgbClr val="485965"/>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ubtitle 2">
            <a:extLst>
              <a:ext uri="{FF2B5EF4-FFF2-40B4-BE49-F238E27FC236}">
                <a16:creationId xmlns:a16="http://schemas.microsoft.com/office/drawing/2014/main" id="{6340487C-9E06-429A-B349-C315843126FB}"/>
              </a:ext>
            </a:extLst>
          </p:cNvPr>
          <p:cNvSpPr>
            <a:spLocks noGrp="1"/>
          </p:cNvSpPr>
          <p:nvPr>
            <p:ph type="subTitle" idx="13" hasCustomPrompt="1"/>
          </p:nvPr>
        </p:nvSpPr>
        <p:spPr>
          <a:xfrm>
            <a:off x="838200" y="1690688"/>
            <a:ext cx="10515600" cy="590321"/>
          </a:xfrm>
          <a:prstGeom prst="rect">
            <a:avLst/>
          </a:prstGeom>
        </p:spPr>
        <p:txBody>
          <a:bodyPr anchor="t">
            <a:normAutofit/>
          </a:bodyPr>
          <a:lstStyle>
            <a:lvl1pPr marL="0" indent="0" algn="l">
              <a:buNone/>
              <a:defRPr sz="2000" b="0" i="0" cap="none">
                <a:solidFill>
                  <a:srgbClr val="007239"/>
                </a:solidFill>
                <a:latin typeface="Avenir Next LT Pro" panose="020B0504020202020204" pitchFamily="34" charset="77"/>
                <a:ea typeface="Roboto Thin" panose="0200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2" name="Picture 11" descr="A picture containing loudspeaker&#10;&#10;Description automatically generated">
            <a:extLst>
              <a:ext uri="{FF2B5EF4-FFF2-40B4-BE49-F238E27FC236}">
                <a16:creationId xmlns:a16="http://schemas.microsoft.com/office/drawing/2014/main" id="{01A7424D-21E9-4B12-8620-56856807DD0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87961" y="5175207"/>
            <a:ext cx="2852077" cy="2610810"/>
          </a:xfrm>
          <a:prstGeom prst="rect">
            <a:avLst/>
          </a:prstGeom>
        </p:spPr>
      </p:pic>
      <p:sp>
        <p:nvSpPr>
          <p:cNvPr id="11" name="Rectangle 10">
            <a:extLst>
              <a:ext uri="{FF2B5EF4-FFF2-40B4-BE49-F238E27FC236}">
                <a16:creationId xmlns:a16="http://schemas.microsoft.com/office/drawing/2014/main" id="{1D78FC24-C19A-1C4A-62BD-C4F146BEF99A}"/>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50714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5411FD95-DC95-4D8F-9C71-3CA29ACA44DE}"/>
              </a:ext>
            </a:extLst>
          </p:cNvPr>
          <p:cNvSpPr/>
          <p:nvPr userDrawn="1"/>
        </p:nvSpPr>
        <p:spPr>
          <a:xfrm>
            <a:off x="9958838" y="3346959"/>
            <a:ext cx="2714447" cy="2728829"/>
          </a:xfrm>
          <a:prstGeom prst="ellipse">
            <a:avLst/>
          </a:prstGeom>
          <a:solidFill>
            <a:srgbClr val="EEF0F0"/>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pic>
        <p:nvPicPr>
          <p:cNvPr id="15" name="Picture 14" descr="A picture containing loudspeaker&#10;&#10;Description automatically generated">
            <a:extLst>
              <a:ext uri="{FF2B5EF4-FFF2-40B4-BE49-F238E27FC236}">
                <a16:creationId xmlns:a16="http://schemas.microsoft.com/office/drawing/2014/main" id="{E60FF64F-5534-43FF-AE6B-99F76990E85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87961" y="5175207"/>
            <a:ext cx="2852077" cy="2610810"/>
          </a:xfrm>
          <a:prstGeom prst="rect">
            <a:avLst/>
          </a:prstGeom>
        </p:spPr>
      </p:pic>
      <p:sp>
        <p:nvSpPr>
          <p:cNvPr id="2" name="Title 1">
            <a:extLst>
              <a:ext uri="{FF2B5EF4-FFF2-40B4-BE49-F238E27FC236}">
                <a16:creationId xmlns:a16="http://schemas.microsoft.com/office/drawing/2014/main" id="{249F2311-2346-4508-BB1F-3DA524B030F0}"/>
              </a:ext>
            </a:extLst>
          </p:cNvPr>
          <p:cNvSpPr>
            <a:spLocks noGrp="1"/>
          </p:cNvSpPr>
          <p:nvPr>
            <p:ph type="title"/>
          </p:nvPr>
        </p:nvSpPr>
        <p:spPr>
          <a:xfrm>
            <a:off x="838200" y="365125"/>
            <a:ext cx="10515600" cy="1325563"/>
          </a:xfrm>
          <a:prstGeom prst="rect">
            <a:avLst/>
          </a:prstGeom>
        </p:spPr>
        <p:txBody>
          <a:bodyPr/>
          <a:lstStyle>
            <a:lvl1pPr>
              <a:defRPr>
                <a:solidFill>
                  <a:schemeClr val="tx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13D5D41-EA6B-4AAD-B951-2FB065940830}"/>
              </a:ext>
            </a:extLst>
          </p:cNvPr>
          <p:cNvSpPr>
            <a:spLocks noGrp="1"/>
          </p:cNvSpPr>
          <p:nvPr>
            <p:ph sz="half" idx="1"/>
          </p:nvPr>
        </p:nvSpPr>
        <p:spPr>
          <a:xfrm>
            <a:off x="838200" y="1825625"/>
            <a:ext cx="5181600" cy="4351338"/>
          </a:xfrm>
          <a:prstGeom prst="rect">
            <a:avLst/>
          </a:prstGeom>
        </p:spPr>
        <p:txBody>
          <a:bodyPr/>
          <a:lstStyle>
            <a:lvl1pPr>
              <a:buClr>
                <a:srgbClr val="485965"/>
              </a:buClr>
              <a:defRPr>
                <a:solidFill>
                  <a:srgbClr val="000000"/>
                </a:solidFill>
              </a:defRPr>
            </a:lvl1pPr>
            <a:lvl2pPr>
              <a:buClr>
                <a:srgbClr val="485965"/>
              </a:buClr>
              <a:defRPr>
                <a:solidFill>
                  <a:srgbClr val="000000"/>
                </a:solidFill>
              </a:defRPr>
            </a:lvl2pPr>
            <a:lvl3pPr>
              <a:buClr>
                <a:srgbClr val="485965"/>
              </a:buClr>
              <a:defRPr>
                <a:solidFill>
                  <a:srgbClr val="000000"/>
                </a:solidFill>
              </a:defRPr>
            </a:lvl3pPr>
            <a:lvl4pPr>
              <a:buClr>
                <a:srgbClr val="485965"/>
              </a:buClr>
              <a:defRPr>
                <a:solidFill>
                  <a:srgbClr val="000000"/>
                </a:solidFill>
              </a:defRPr>
            </a:lvl4pPr>
            <a:lvl5pPr>
              <a:buClr>
                <a:srgbClr val="485965"/>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0475744-EE43-4D94-8E53-256BFF093DAC}"/>
              </a:ext>
            </a:extLst>
          </p:cNvPr>
          <p:cNvSpPr>
            <a:spLocks noGrp="1"/>
          </p:cNvSpPr>
          <p:nvPr>
            <p:ph sz="half" idx="2"/>
          </p:nvPr>
        </p:nvSpPr>
        <p:spPr>
          <a:xfrm>
            <a:off x="6172200" y="1825625"/>
            <a:ext cx="5181600" cy="4351338"/>
          </a:xfrm>
          <a:prstGeom prst="rect">
            <a:avLst/>
          </a:prstGeom>
        </p:spPr>
        <p:txBody>
          <a:bodyPr/>
          <a:lstStyle>
            <a:lvl1pPr>
              <a:buClr>
                <a:srgbClr val="485965"/>
              </a:buClr>
              <a:defRPr>
                <a:solidFill>
                  <a:srgbClr val="000000"/>
                </a:solidFill>
              </a:defRPr>
            </a:lvl1pPr>
            <a:lvl2pPr>
              <a:buClr>
                <a:srgbClr val="485965"/>
              </a:buClr>
              <a:defRPr>
                <a:solidFill>
                  <a:srgbClr val="000000"/>
                </a:solidFill>
              </a:defRPr>
            </a:lvl2pPr>
            <a:lvl3pPr>
              <a:buClr>
                <a:srgbClr val="485965"/>
              </a:buClr>
              <a:defRPr>
                <a:solidFill>
                  <a:srgbClr val="000000"/>
                </a:solidFill>
              </a:defRPr>
            </a:lvl3pPr>
            <a:lvl4pPr>
              <a:buClr>
                <a:srgbClr val="485965"/>
              </a:buClr>
              <a:defRPr>
                <a:solidFill>
                  <a:srgbClr val="000000"/>
                </a:solidFill>
              </a:defRPr>
            </a:lvl4pPr>
            <a:lvl5pPr>
              <a:buClr>
                <a:srgbClr val="485965"/>
              </a:buCl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a:extLst>
              <a:ext uri="{FF2B5EF4-FFF2-40B4-BE49-F238E27FC236}">
                <a16:creationId xmlns:a16="http://schemas.microsoft.com/office/drawing/2014/main" id="{410713CC-CCF4-F231-5528-196F6657B9B9}"/>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399911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ntent + Photo Circles">
    <p:spTree>
      <p:nvGrpSpPr>
        <p:cNvPr id="1" name=""/>
        <p:cNvGrpSpPr/>
        <p:nvPr/>
      </p:nvGrpSpPr>
      <p:grpSpPr>
        <a:xfrm>
          <a:off x="0" y="0"/>
          <a:ext cx="0" cy="0"/>
          <a:chOff x="0" y="0"/>
          <a:chExt cx="0" cy="0"/>
        </a:xfrm>
      </p:grpSpPr>
      <p:sp>
        <p:nvSpPr>
          <p:cNvPr id="10" name="Oval 11">
            <a:extLst>
              <a:ext uri="{FF2B5EF4-FFF2-40B4-BE49-F238E27FC236}">
                <a16:creationId xmlns:a16="http://schemas.microsoft.com/office/drawing/2014/main" id="{73CE2095-C4C9-4891-9C84-5229D26B524F}"/>
              </a:ext>
            </a:extLst>
          </p:cNvPr>
          <p:cNvSpPr/>
          <p:nvPr userDrawn="1"/>
        </p:nvSpPr>
        <p:spPr>
          <a:xfrm>
            <a:off x="2278238" y="830469"/>
            <a:ext cx="2714447" cy="2728829"/>
          </a:xfrm>
          <a:prstGeom prst="ellipse">
            <a:avLst/>
          </a:prstGeom>
          <a:solidFill>
            <a:srgbClr val="EEF0F0"/>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sp>
        <p:nvSpPr>
          <p:cNvPr id="18" name="Espace réservé du contenu 1">
            <a:extLst>
              <a:ext uri="{FF2B5EF4-FFF2-40B4-BE49-F238E27FC236}">
                <a16:creationId xmlns:a16="http://schemas.microsoft.com/office/drawing/2014/main" id="{B1D24DDB-11A4-4EE0-801C-1BCBBF31A69C}"/>
              </a:ext>
            </a:extLst>
          </p:cNvPr>
          <p:cNvSpPr>
            <a:spLocks noGrp="1"/>
          </p:cNvSpPr>
          <p:nvPr>
            <p:ph sz="half" idx="17" hasCustomPrompt="1"/>
          </p:nvPr>
        </p:nvSpPr>
        <p:spPr>
          <a:xfrm>
            <a:off x="428423" y="860116"/>
            <a:ext cx="2714446" cy="2610811"/>
          </a:xfrm>
          <a:prstGeom prst="flowChartConnector">
            <a:avLst/>
          </a:prstGeom>
        </p:spPr>
        <p:txBody>
          <a:bodyPr vert="horz" lIns="91440" tIns="45720" rIns="91440" bIns="45720" rtlCol="0" anchor="t">
            <a:noAutofit/>
          </a:bodyPr>
          <a:lstStyle>
            <a:lvl1pPr>
              <a:defRPr/>
            </a:lvl1pPr>
          </a:lstStyle>
          <a:p>
            <a:pPr marL="0" indent="0">
              <a:lnSpc>
                <a:spcPct val="100000"/>
              </a:lnSpc>
              <a:buClr>
                <a:schemeClr val="tx1"/>
              </a:buClr>
              <a:buNone/>
            </a:pPr>
            <a:r>
              <a:rPr lang="en-US" sz="1600">
                <a:latin typeface="Arial"/>
                <a:ea typeface="Roboto"/>
                <a:cs typeface="Arial"/>
              </a:rPr>
              <a:t>Insert Image</a:t>
            </a:r>
            <a:endParaRPr lang="en-US" sz="1600">
              <a:solidFill>
                <a:srgbClr val="000000"/>
              </a:solidFill>
              <a:latin typeface="Arial" panose="020B0604020202020204" pitchFamily="34" charset="0"/>
              <a:ea typeface="Roboto" panose="02000000000000000000" pitchFamily="2" charset="0"/>
              <a:cs typeface="Arial" panose="020B0604020202020204" pitchFamily="34" charset="0"/>
            </a:endParaRPr>
          </a:p>
          <a:p>
            <a:pPr marL="0" indent="0">
              <a:buNone/>
            </a:pPr>
            <a:endParaRPr lang="en-US"/>
          </a:p>
        </p:txBody>
      </p:sp>
      <p:sp>
        <p:nvSpPr>
          <p:cNvPr id="19" name="Espace réservé du contenu 1">
            <a:extLst>
              <a:ext uri="{FF2B5EF4-FFF2-40B4-BE49-F238E27FC236}">
                <a16:creationId xmlns:a16="http://schemas.microsoft.com/office/drawing/2014/main" id="{0F83402F-9088-4DAD-ABDC-CC84116EE44E}"/>
              </a:ext>
            </a:extLst>
          </p:cNvPr>
          <p:cNvSpPr>
            <a:spLocks noGrp="1"/>
          </p:cNvSpPr>
          <p:nvPr>
            <p:ph sz="half" idx="18" hasCustomPrompt="1"/>
          </p:nvPr>
        </p:nvSpPr>
        <p:spPr>
          <a:xfrm>
            <a:off x="2278238" y="3054173"/>
            <a:ext cx="2955718" cy="2705444"/>
          </a:xfrm>
          <a:prstGeom prst="flowChartConnector">
            <a:avLst/>
          </a:prstGeom>
        </p:spPr>
        <p:txBody>
          <a:bodyPr vert="horz" lIns="91440" tIns="45720" rIns="91440" bIns="45720" rtlCol="0" anchor="t">
            <a:noAutofit/>
          </a:bodyPr>
          <a:lstStyle>
            <a:lvl1pPr>
              <a:defRPr/>
            </a:lvl1pPr>
          </a:lstStyle>
          <a:p>
            <a:pPr marL="0" indent="0">
              <a:lnSpc>
                <a:spcPct val="100000"/>
              </a:lnSpc>
              <a:buClr>
                <a:schemeClr val="tx1"/>
              </a:buClr>
              <a:buNone/>
            </a:pPr>
            <a:r>
              <a:rPr lang="en-US" sz="1600">
                <a:latin typeface="Arial"/>
                <a:ea typeface="Roboto"/>
                <a:cs typeface="Arial"/>
              </a:rPr>
              <a:t>Insert Image</a:t>
            </a:r>
            <a:endParaRPr lang="en-US" sz="1600">
              <a:solidFill>
                <a:srgbClr val="000000"/>
              </a:solidFill>
              <a:latin typeface="Arial" panose="020B0604020202020204" pitchFamily="34" charset="0"/>
              <a:ea typeface="Roboto" panose="02000000000000000000" pitchFamily="2" charset="0"/>
              <a:cs typeface="Arial" panose="020B0604020202020204" pitchFamily="34" charset="0"/>
            </a:endParaRPr>
          </a:p>
          <a:p>
            <a:pPr marL="0" indent="0">
              <a:buNone/>
            </a:pPr>
            <a:endParaRPr lang="en-US"/>
          </a:p>
        </p:txBody>
      </p:sp>
      <p:sp>
        <p:nvSpPr>
          <p:cNvPr id="20" name="Text Placeholder 2">
            <a:extLst>
              <a:ext uri="{FF2B5EF4-FFF2-40B4-BE49-F238E27FC236}">
                <a16:creationId xmlns:a16="http://schemas.microsoft.com/office/drawing/2014/main" id="{52AB5DF6-527C-4AB6-AAFB-D3ED5E0DA903}"/>
              </a:ext>
            </a:extLst>
          </p:cNvPr>
          <p:cNvSpPr>
            <a:spLocks noGrp="1"/>
          </p:cNvSpPr>
          <p:nvPr>
            <p:ph type="body" idx="1"/>
          </p:nvPr>
        </p:nvSpPr>
        <p:spPr>
          <a:xfrm>
            <a:off x="6259058" y="305274"/>
            <a:ext cx="5094745"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1" name="Content Placeholder 3">
            <a:extLst>
              <a:ext uri="{FF2B5EF4-FFF2-40B4-BE49-F238E27FC236}">
                <a16:creationId xmlns:a16="http://schemas.microsoft.com/office/drawing/2014/main" id="{9A6F5BFD-DCAE-4A92-8016-1885715096CD}"/>
              </a:ext>
            </a:extLst>
          </p:cNvPr>
          <p:cNvSpPr>
            <a:spLocks noGrp="1"/>
          </p:cNvSpPr>
          <p:nvPr>
            <p:ph sz="half" idx="2"/>
          </p:nvPr>
        </p:nvSpPr>
        <p:spPr>
          <a:xfrm>
            <a:off x="6259058" y="863058"/>
            <a:ext cx="5094742" cy="1372132"/>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Text Placeholder 2">
            <a:extLst>
              <a:ext uri="{FF2B5EF4-FFF2-40B4-BE49-F238E27FC236}">
                <a16:creationId xmlns:a16="http://schemas.microsoft.com/office/drawing/2014/main" id="{6BA89631-F4A6-47CC-9E4D-DF2A66FC98E1}"/>
              </a:ext>
            </a:extLst>
          </p:cNvPr>
          <p:cNvSpPr>
            <a:spLocks noGrp="1"/>
          </p:cNvSpPr>
          <p:nvPr>
            <p:ph type="body" idx="19"/>
          </p:nvPr>
        </p:nvSpPr>
        <p:spPr>
          <a:xfrm>
            <a:off x="6259058" y="2365854"/>
            <a:ext cx="5094745"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a:extLst>
              <a:ext uri="{FF2B5EF4-FFF2-40B4-BE49-F238E27FC236}">
                <a16:creationId xmlns:a16="http://schemas.microsoft.com/office/drawing/2014/main" id="{65225D34-CBF0-450E-9B8E-C32AAF1D406E}"/>
              </a:ext>
            </a:extLst>
          </p:cNvPr>
          <p:cNvSpPr>
            <a:spLocks noGrp="1"/>
          </p:cNvSpPr>
          <p:nvPr>
            <p:ph sz="half" idx="20"/>
          </p:nvPr>
        </p:nvSpPr>
        <p:spPr>
          <a:xfrm>
            <a:off x="6259058" y="2923638"/>
            <a:ext cx="5094742" cy="1372132"/>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a:extLst>
              <a:ext uri="{FF2B5EF4-FFF2-40B4-BE49-F238E27FC236}">
                <a16:creationId xmlns:a16="http://schemas.microsoft.com/office/drawing/2014/main" id="{EF84E5B4-C2DA-4564-A67E-836E822AB860}"/>
              </a:ext>
            </a:extLst>
          </p:cNvPr>
          <p:cNvSpPr>
            <a:spLocks noGrp="1"/>
          </p:cNvSpPr>
          <p:nvPr>
            <p:ph type="body" idx="21"/>
          </p:nvPr>
        </p:nvSpPr>
        <p:spPr>
          <a:xfrm>
            <a:off x="6259058" y="4426434"/>
            <a:ext cx="5094745"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3">
            <a:extLst>
              <a:ext uri="{FF2B5EF4-FFF2-40B4-BE49-F238E27FC236}">
                <a16:creationId xmlns:a16="http://schemas.microsoft.com/office/drawing/2014/main" id="{D1685F68-6EDD-47FE-B974-BC0D5CF114EB}"/>
              </a:ext>
            </a:extLst>
          </p:cNvPr>
          <p:cNvSpPr>
            <a:spLocks noGrp="1"/>
          </p:cNvSpPr>
          <p:nvPr>
            <p:ph sz="half" idx="22"/>
          </p:nvPr>
        </p:nvSpPr>
        <p:spPr>
          <a:xfrm>
            <a:off x="6259058" y="4984218"/>
            <a:ext cx="5094742" cy="1372132"/>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descr="A picture containing loudspeaker&#10;&#10;Description automatically generated">
            <a:extLst>
              <a:ext uri="{FF2B5EF4-FFF2-40B4-BE49-F238E27FC236}">
                <a16:creationId xmlns:a16="http://schemas.microsoft.com/office/drawing/2014/main" id="{54FEA9BD-E631-4EAE-9DC4-48584BE0484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87152" y="3247884"/>
            <a:ext cx="2852077" cy="2610810"/>
          </a:xfrm>
          <a:prstGeom prst="rect">
            <a:avLst/>
          </a:prstGeom>
        </p:spPr>
      </p:pic>
      <p:sp>
        <p:nvSpPr>
          <p:cNvPr id="16" name="Rectangle 15">
            <a:extLst>
              <a:ext uri="{FF2B5EF4-FFF2-40B4-BE49-F238E27FC236}">
                <a16:creationId xmlns:a16="http://schemas.microsoft.com/office/drawing/2014/main" id="{D5CC53B3-BDF1-5930-2959-B1E0656D754F}"/>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4246313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9" name="Oval 18">
            <a:extLst>
              <a:ext uri="{FF2B5EF4-FFF2-40B4-BE49-F238E27FC236}">
                <a16:creationId xmlns:a16="http://schemas.microsoft.com/office/drawing/2014/main" id="{BF4047F5-A2DF-446E-9169-9A070AF0C4FC}"/>
              </a:ext>
            </a:extLst>
          </p:cNvPr>
          <p:cNvSpPr/>
          <p:nvPr userDrawn="1"/>
        </p:nvSpPr>
        <p:spPr>
          <a:xfrm>
            <a:off x="9069614" y="-1159740"/>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0B93AA0A-5279-4E1E-8B68-39EBD295FE74}"/>
              </a:ext>
            </a:extLst>
          </p:cNvPr>
          <p:cNvSpPr/>
          <p:nvPr userDrawn="1"/>
        </p:nvSpPr>
        <p:spPr>
          <a:xfrm>
            <a:off x="10386237" y="-1479361"/>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p:cNvSpPr>
            <a:spLocks noGrp="1"/>
          </p:cNvSpPr>
          <p:nvPr>
            <p:ph type="title" hasCustomPrompt="1"/>
          </p:nvPr>
        </p:nvSpPr>
        <p:spPr>
          <a:xfrm>
            <a:off x="581193" y="729658"/>
            <a:ext cx="11029616" cy="988332"/>
          </a:xfrm>
          <a:prstGeom prst="rect">
            <a:avLst/>
          </a:prstGeom>
        </p:spPr>
        <p:txBody>
          <a:bodyPr/>
          <a:lstStyle>
            <a:lvl1pPr>
              <a:defRPr b="0" i="0">
                <a:latin typeface="Avenir Next LT Pro" panose="020B0504020202020204" pitchFamily="34" charset="77"/>
                <a:ea typeface="Roboto Thin" panose="02000000000000000000" pitchFamily="2" charset="0"/>
              </a:defRPr>
            </a:lvl1pPr>
          </a:lstStyle>
          <a:p>
            <a:r>
              <a:rPr lang="en-US" dirty="0"/>
              <a:t>Click to edit master title style</a:t>
            </a:r>
          </a:p>
        </p:txBody>
      </p:sp>
      <p:sp>
        <p:nvSpPr>
          <p:cNvPr id="3" name="Text Placeholder 2"/>
          <p:cNvSpPr>
            <a:spLocks noGrp="1"/>
          </p:cNvSpPr>
          <p:nvPr>
            <p:ph type="body" idx="1"/>
          </p:nvPr>
        </p:nvSpPr>
        <p:spPr>
          <a:xfrm>
            <a:off x="581191" y="2407029"/>
            <a:ext cx="5194769" cy="557784"/>
          </a:xfrm>
          <a:prstGeom prst="rect">
            <a:avLst/>
          </a:prstGeom>
        </p:spPr>
        <p:txBody>
          <a:bodyPr anchor="ctr">
            <a:noAutofit/>
          </a:bodyPr>
          <a:lstStyle>
            <a:lvl1pPr marL="0" indent="0">
              <a:buNone/>
              <a:defRPr sz="2000" b="0" i="0">
                <a:solidFill>
                  <a:schemeClr val="accent1"/>
                </a:solidFill>
                <a:latin typeface="+mn-lt"/>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4" y="3082190"/>
            <a:ext cx="5194766" cy="2934999"/>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16039" y="2407030"/>
            <a:ext cx="5194770" cy="553373"/>
          </a:xfrm>
          <a:prstGeom prst="rect">
            <a:avLst/>
          </a:prstGeom>
        </p:spPr>
        <p:txBody>
          <a:bodyPr anchor="ctr">
            <a:noAutofit/>
          </a:bodyPr>
          <a:lstStyle>
            <a:lvl1pPr marL="0" marR="0" indent="0" algn="l" defTabSz="457200" rtl="0" eaLnBrk="1" fontAlgn="auto" latinLnBrk="0" hangingPunct="1">
              <a:lnSpc>
                <a:spcPct val="100000"/>
              </a:lnSpc>
              <a:spcBef>
                <a:spcPct val="20000"/>
              </a:spcBef>
              <a:spcAft>
                <a:spcPts val="600"/>
              </a:spcAft>
              <a:buClr>
                <a:schemeClr val="accent1"/>
              </a:buClr>
              <a:buSzPct val="92000"/>
              <a:buFont typeface="Wingdings 2" panose="05020102010507070707" pitchFamily="18" charset="2"/>
              <a:buNone/>
              <a:tabLst/>
              <a:defRPr sz="2000" b="0" i="0">
                <a:solidFill>
                  <a:schemeClr val="accent1"/>
                </a:solidFill>
                <a:latin typeface="+mn-lt"/>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457200" rtl="0" eaLnBrk="1" fontAlgn="auto" latinLnBrk="0" hangingPunct="1">
              <a:lnSpc>
                <a:spcPct val="100000"/>
              </a:lnSpc>
              <a:spcBef>
                <a:spcPct val="20000"/>
              </a:spcBef>
              <a:spcAft>
                <a:spcPts val="600"/>
              </a:spcAft>
              <a:buClr>
                <a:schemeClr val="accent1"/>
              </a:buClr>
              <a:buSzPct val="92000"/>
              <a:buFont typeface="Wingdings 2" panose="05020102010507070707" pitchFamily="18" charset="2"/>
              <a:buNone/>
              <a:tabLst/>
              <a:defRPr/>
            </a:pPr>
            <a:r>
              <a:rPr lang="en-US"/>
              <a:t>Click to edit Master text styles</a:t>
            </a:r>
          </a:p>
        </p:txBody>
      </p:sp>
      <p:sp>
        <p:nvSpPr>
          <p:cNvPr id="6" name="Content Placeholder 5"/>
          <p:cNvSpPr>
            <a:spLocks noGrp="1"/>
          </p:cNvSpPr>
          <p:nvPr>
            <p:ph sz="quarter" idx="4"/>
          </p:nvPr>
        </p:nvSpPr>
        <p:spPr>
          <a:xfrm>
            <a:off x="6416037" y="3082190"/>
            <a:ext cx="5194771" cy="2934999"/>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Subtitle 2">
            <a:extLst>
              <a:ext uri="{FF2B5EF4-FFF2-40B4-BE49-F238E27FC236}">
                <a16:creationId xmlns:a16="http://schemas.microsoft.com/office/drawing/2014/main" id="{BAA10E23-58D1-4AE4-8AC5-692CF19E9687}"/>
              </a:ext>
            </a:extLst>
          </p:cNvPr>
          <p:cNvSpPr>
            <a:spLocks noGrp="1"/>
          </p:cNvSpPr>
          <p:nvPr>
            <p:ph type="subTitle" idx="13" hasCustomPrompt="1"/>
          </p:nvPr>
        </p:nvSpPr>
        <p:spPr>
          <a:xfrm>
            <a:off x="581191" y="1767349"/>
            <a:ext cx="11029615" cy="590321"/>
          </a:xfrm>
          <a:prstGeom prst="rect">
            <a:avLst/>
          </a:prstGeom>
        </p:spPr>
        <p:txBody>
          <a:bodyPr anchor="t">
            <a:normAutofit/>
          </a:bodyPr>
          <a:lstStyle>
            <a:lvl1pPr marL="0" indent="0" algn="l">
              <a:buNone/>
              <a:defRPr sz="2000" b="0" i="0" cap="none">
                <a:solidFill>
                  <a:schemeClr val="accent2"/>
                </a:solidFill>
                <a:latin typeface="Avenir Next LT Pro" panose="020B0504020202020204" pitchFamily="34" charset="77"/>
                <a:ea typeface="Roboto Thin" panose="0200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Rectangle 13">
            <a:extLst>
              <a:ext uri="{FF2B5EF4-FFF2-40B4-BE49-F238E27FC236}">
                <a16:creationId xmlns:a16="http://schemas.microsoft.com/office/drawing/2014/main" id="{AE14EE68-4E75-1E14-A34D-56115851ED2C}"/>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12609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ntent Subtitle">
    <p:spTree>
      <p:nvGrpSpPr>
        <p:cNvPr id="1" name=""/>
        <p:cNvGrpSpPr/>
        <p:nvPr/>
      </p:nvGrpSpPr>
      <p:grpSpPr>
        <a:xfrm>
          <a:off x="0" y="0"/>
          <a:ext cx="0" cy="0"/>
          <a:chOff x="0" y="0"/>
          <a:chExt cx="0" cy="0"/>
        </a:xfrm>
      </p:grpSpPr>
      <p:sp>
        <p:nvSpPr>
          <p:cNvPr id="10" name="Oval 11">
            <a:extLst>
              <a:ext uri="{FF2B5EF4-FFF2-40B4-BE49-F238E27FC236}">
                <a16:creationId xmlns:a16="http://schemas.microsoft.com/office/drawing/2014/main" id="{73CE2095-C4C9-4891-9C84-5229D26B524F}"/>
              </a:ext>
            </a:extLst>
          </p:cNvPr>
          <p:cNvSpPr/>
          <p:nvPr userDrawn="1"/>
        </p:nvSpPr>
        <p:spPr>
          <a:xfrm>
            <a:off x="8642389" y="-785052"/>
            <a:ext cx="2714447" cy="2728829"/>
          </a:xfrm>
          <a:prstGeom prst="ellipse">
            <a:avLst/>
          </a:prstGeom>
          <a:solidFill>
            <a:srgbClr val="EEF0F0"/>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a:p>
        </p:txBody>
      </p:sp>
      <p:sp>
        <p:nvSpPr>
          <p:cNvPr id="20" name="Title 1">
            <a:extLst>
              <a:ext uri="{FF2B5EF4-FFF2-40B4-BE49-F238E27FC236}">
                <a16:creationId xmlns:a16="http://schemas.microsoft.com/office/drawing/2014/main" id="{8027D5FF-AED5-45F2-BAC6-869460A4B8B1}"/>
              </a:ext>
            </a:extLst>
          </p:cNvPr>
          <p:cNvSpPr>
            <a:spLocks noGrp="1"/>
          </p:cNvSpPr>
          <p:nvPr>
            <p:ph type="title"/>
          </p:nvPr>
        </p:nvSpPr>
        <p:spPr>
          <a:xfrm>
            <a:off x="838200" y="684951"/>
            <a:ext cx="10515600" cy="685909"/>
          </a:xfrm>
          <a:prstGeom prst="rect">
            <a:avLst/>
          </a:prstGeom>
        </p:spPr>
        <p:txBody>
          <a:bodyPr/>
          <a:lstStyle/>
          <a:p>
            <a:r>
              <a:rPr lang="en-US"/>
              <a:t>Click to edit Master title style</a:t>
            </a:r>
          </a:p>
        </p:txBody>
      </p:sp>
      <p:sp>
        <p:nvSpPr>
          <p:cNvPr id="21" name="Espace réservé du texte 18">
            <a:extLst>
              <a:ext uri="{FF2B5EF4-FFF2-40B4-BE49-F238E27FC236}">
                <a16:creationId xmlns:a16="http://schemas.microsoft.com/office/drawing/2014/main" id="{CB141914-9917-4697-A887-27F991379A4C}"/>
              </a:ext>
            </a:extLst>
          </p:cNvPr>
          <p:cNvSpPr>
            <a:spLocks noGrp="1"/>
          </p:cNvSpPr>
          <p:nvPr>
            <p:ph type="body" sz="quarter" idx="17" hasCustomPrompt="1"/>
          </p:nvPr>
        </p:nvSpPr>
        <p:spPr>
          <a:xfrm>
            <a:off x="838200" y="1370860"/>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sp>
        <p:nvSpPr>
          <p:cNvPr id="22" name="Text Placeholder 2">
            <a:extLst>
              <a:ext uri="{FF2B5EF4-FFF2-40B4-BE49-F238E27FC236}">
                <a16:creationId xmlns:a16="http://schemas.microsoft.com/office/drawing/2014/main" id="{31DE982A-5927-4261-B20F-72F00B2C153D}"/>
              </a:ext>
            </a:extLst>
          </p:cNvPr>
          <p:cNvSpPr>
            <a:spLocks noGrp="1"/>
          </p:cNvSpPr>
          <p:nvPr>
            <p:ph type="body" idx="1"/>
          </p:nvPr>
        </p:nvSpPr>
        <p:spPr>
          <a:xfrm>
            <a:off x="554993" y="2390632"/>
            <a:ext cx="3274779"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3" name="Content Placeholder 3">
            <a:extLst>
              <a:ext uri="{FF2B5EF4-FFF2-40B4-BE49-F238E27FC236}">
                <a16:creationId xmlns:a16="http://schemas.microsoft.com/office/drawing/2014/main" id="{880681EF-743E-4112-BDD8-66F08DC0409D}"/>
              </a:ext>
            </a:extLst>
          </p:cNvPr>
          <p:cNvSpPr>
            <a:spLocks noGrp="1"/>
          </p:cNvSpPr>
          <p:nvPr>
            <p:ph sz="half" idx="2"/>
          </p:nvPr>
        </p:nvSpPr>
        <p:spPr>
          <a:xfrm>
            <a:off x="554996" y="3065793"/>
            <a:ext cx="3274777" cy="2934999"/>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a:extLst>
              <a:ext uri="{FF2B5EF4-FFF2-40B4-BE49-F238E27FC236}">
                <a16:creationId xmlns:a16="http://schemas.microsoft.com/office/drawing/2014/main" id="{54B84856-FC59-420E-94FE-28E49FAC89C6}"/>
              </a:ext>
            </a:extLst>
          </p:cNvPr>
          <p:cNvSpPr>
            <a:spLocks noGrp="1"/>
          </p:cNvSpPr>
          <p:nvPr>
            <p:ph type="body" idx="18"/>
          </p:nvPr>
        </p:nvSpPr>
        <p:spPr>
          <a:xfrm>
            <a:off x="4458608" y="2390632"/>
            <a:ext cx="3274779"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3">
            <a:extLst>
              <a:ext uri="{FF2B5EF4-FFF2-40B4-BE49-F238E27FC236}">
                <a16:creationId xmlns:a16="http://schemas.microsoft.com/office/drawing/2014/main" id="{A09ABF05-C99D-46A8-8805-61F14A251D42}"/>
              </a:ext>
            </a:extLst>
          </p:cNvPr>
          <p:cNvSpPr>
            <a:spLocks noGrp="1"/>
          </p:cNvSpPr>
          <p:nvPr>
            <p:ph sz="half" idx="19"/>
          </p:nvPr>
        </p:nvSpPr>
        <p:spPr>
          <a:xfrm>
            <a:off x="4458611" y="3065793"/>
            <a:ext cx="3274777" cy="2934999"/>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2">
            <a:extLst>
              <a:ext uri="{FF2B5EF4-FFF2-40B4-BE49-F238E27FC236}">
                <a16:creationId xmlns:a16="http://schemas.microsoft.com/office/drawing/2014/main" id="{EBE014F5-C239-44A4-993F-9F1F928B033F}"/>
              </a:ext>
            </a:extLst>
          </p:cNvPr>
          <p:cNvSpPr>
            <a:spLocks noGrp="1"/>
          </p:cNvSpPr>
          <p:nvPr>
            <p:ph type="body" idx="20"/>
          </p:nvPr>
        </p:nvSpPr>
        <p:spPr>
          <a:xfrm>
            <a:off x="8362224" y="2390632"/>
            <a:ext cx="3274779" cy="557784"/>
          </a:xfrm>
          <a:prstGeom prst="rect">
            <a:avLst/>
          </a:prstGeom>
        </p:spPr>
        <p:txBody>
          <a:bodyPr anchor="ctr">
            <a:noAutofit/>
          </a:bodyPr>
          <a:lstStyle>
            <a:lvl1pPr marL="0" indent="0">
              <a:buNone/>
              <a:defRPr sz="2000" b="0" i="0">
                <a:solidFill>
                  <a:schemeClr val="accent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7" name="Content Placeholder 3">
            <a:extLst>
              <a:ext uri="{FF2B5EF4-FFF2-40B4-BE49-F238E27FC236}">
                <a16:creationId xmlns:a16="http://schemas.microsoft.com/office/drawing/2014/main" id="{BF44502F-F9A5-4150-A496-F82DF1AC78DB}"/>
              </a:ext>
            </a:extLst>
          </p:cNvPr>
          <p:cNvSpPr>
            <a:spLocks noGrp="1"/>
          </p:cNvSpPr>
          <p:nvPr>
            <p:ph sz="half" idx="21"/>
          </p:nvPr>
        </p:nvSpPr>
        <p:spPr>
          <a:xfrm>
            <a:off x="8362227" y="3065793"/>
            <a:ext cx="3274777" cy="2934999"/>
          </a:xfrm>
          <a:prstGeom prst="rect">
            <a:avLst/>
          </a:prstGeom>
        </p:spPr>
        <p:txBody>
          <a:bodyPr anchor="t">
            <a:normAutofit/>
          </a:bodyPr>
          <a:lstStyle>
            <a:lvl1pPr>
              <a:buClr>
                <a:srgbClr val="5A6E7A"/>
              </a:buClr>
              <a:defRPr sz="2000"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a:buClr>
                <a:srgbClr val="5A6E7A"/>
              </a:buClr>
              <a:defRPr sz="1800"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a:buClr>
                <a:srgbClr val="5A6E7A"/>
              </a:buClr>
              <a:defRPr sz="1600"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a:buClr>
                <a:srgbClr val="5A6E7A"/>
              </a:buClr>
              <a:defRPr sz="1400"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4" name="Picture 13" descr="A picture containing loudspeaker&#10;&#10;Description automatically generated">
            <a:extLst>
              <a:ext uri="{FF2B5EF4-FFF2-40B4-BE49-F238E27FC236}">
                <a16:creationId xmlns:a16="http://schemas.microsoft.com/office/drawing/2014/main" id="{6C0F36DB-6B87-43BB-BF57-F7F5AEACCFC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10964" y="-891665"/>
            <a:ext cx="2852077" cy="2610810"/>
          </a:xfrm>
          <a:prstGeom prst="rect">
            <a:avLst/>
          </a:prstGeom>
        </p:spPr>
      </p:pic>
      <p:sp>
        <p:nvSpPr>
          <p:cNvPr id="17" name="Rectangle 16">
            <a:extLst>
              <a:ext uri="{FF2B5EF4-FFF2-40B4-BE49-F238E27FC236}">
                <a16:creationId xmlns:a16="http://schemas.microsoft.com/office/drawing/2014/main" id="{0BF1BE44-B56E-612D-37A3-4F06EA82321B}"/>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195468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ntent Fill">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8027D5FF-AED5-45F2-BAC6-869460A4B8B1}"/>
              </a:ext>
            </a:extLst>
          </p:cNvPr>
          <p:cNvSpPr>
            <a:spLocks noGrp="1"/>
          </p:cNvSpPr>
          <p:nvPr>
            <p:ph type="title"/>
          </p:nvPr>
        </p:nvSpPr>
        <p:spPr>
          <a:xfrm>
            <a:off x="838200" y="684951"/>
            <a:ext cx="10515600" cy="685909"/>
          </a:xfrm>
          <a:prstGeom prst="rect">
            <a:avLst/>
          </a:prstGeom>
        </p:spPr>
        <p:txBody>
          <a:bodyPr/>
          <a:lstStyle/>
          <a:p>
            <a:r>
              <a:rPr lang="en-US" dirty="0"/>
              <a:t>Click to edit Master title style</a:t>
            </a:r>
          </a:p>
        </p:txBody>
      </p:sp>
      <p:sp>
        <p:nvSpPr>
          <p:cNvPr id="21" name="Espace réservé du texte 18">
            <a:extLst>
              <a:ext uri="{FF2B5EF4-FFF2-40B4-BE49-F238E27FC236}">
                <a16:creationId xmlns:a16="http://schemas.microsoft.com/office/drawing/2014/main" id="{CB141914-9917-4697-A887-27F991379A4C}"/>
              </a:ext>
            </a:extLst>
          </p:cNvPr>
          <p:cNvSpPr>
            <a:spLocks noGrp="1"/>
          </p:cNvSpPr>
          <p:nvPr>
            <p:ph type="body" sz="quarter" idx="17" hasCustomPrompt="1"/>
          </p:nvPr>
        </p:nvSpPr>
        <p:spPr>
          <a:xfrm>
            <a:off x="838200" y="1370860"/>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sp>
        <p:nvSpPr>
          <p:cNvPr id="25" name="Text Placeholder 2">
            <a:extLst>
              <a:ext uri="{FF2B5EF4-FFF2-40B4-BE49-F238E27FC236}">
                <a16:creationId xmlns:a16="http://schemas.microsoft.com/office/drawing/2014/main" id="{C79AB125-4B14-4F79-B633-F3AE2F96B1F6}"/>
              </a:ext>
            </a:extLst>
          </p:cNvPr>
          <p:cNvSpPr>
            <a:spLocks noGrp="1"/>
          </p:cNvSpPr>
          <p:nvPr>
            <p:ph type="body" idx="1"/>
          </p:nvPr>
        </p:nvSpPr>
        <p:spPr>
          <a:xfrm>
            <a:off x="554993" y="2390632"/>
            <a:ext cx="3274779" cy="557784"/>
          </a:xfrm>
          <a:prstGeom prst="rect">
            <a:avLst/>
          </a:prstGeom>
        </p:spPr>
        <p:txBody>
          <a:bodyPr anchor="ctr">
            <a:noAutofit/>
          </a:bodyPr>
          <a:lstStyle>
            <a:lvl1pPr marL="0" indent="0">
              <a:buNone/>
              <a:defRPr sz="2000" b="0" i="0">
                <a:solidFill>
                  <a:schemeClr val="tx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3">
            <a:extLst>
              <a:ext uri="{FF2B5EF4-FFF2-40B4-BE49-F238E27FC236}">
                <a16:creationId xmlns:a16="http://schemas.microsoft.com/office/drawing/2014/main" id="{A322BC16-CAC5-4E0A-AB8E-2C87BD58BC4A}"/>
              </a:ext>
            </a:extLst>
          </p:cNvPr>
          <p:cNvSpPr>
            <a:spLocks noGrp="1"/>
          </p:cNvSpPr>
          <p:nvPr>
            <p:ph sz="half" idx="2"/>
          </p:nvPr>
        </p:nvSpPr>
        <p:spPr>
          <a:xfrm>
            <a:off x="554996" y="3065793"/>
            <a:ext cx="3274777" cy="2934999"/>
          </a:xfrm>
          <a:prstGeom prst="rect">
            <a:avLst/>
          </a:prstGeom>
          <a:solidFill>
            <a:schemeClr val="accent5">
              <a:lumMod val="20000"/>
              <a:lumOff val="80000"/>
            </a:schemeClr>
          </a:solidFill>
        </p:spPr>
        <p:txBody>
          <a:bodyPr anchor="t">
            <a:normAutofit/>
          </a:bodyPr>
          <a:lstStyle>
            <a:lvl1pPr>
              <a:buClr>
                <a:schemeClr val="accent6"/>
              </a:buClr>
              <a:defRPr sz="2000" b="0" i="0">
                <a:solidFill>
                  <a:schemeClr val="tx1"/>
                </a:solidFill>
                <a:latin typeface="Arial" panose="020B0604020202020204" pitchFamily="34" charset="0"/>
                <a:ea typeface="Roboto Thin" panose="02000000000000000000" pitchFamily="2" charset="0"/>
                <a:cs typeface="Arial" panose="020B0604020202020204" pitchFamily="34" charset="0"/>
              </a:defRPr>
            </a:lvl1pPr>
            <a:lvl2pPr>
              <a:buClr>
                <a:schemeClr val="accent6"/>
              </a:buClr>
              <a:defRPr sz="1800" b="0" i="0">
                <a:solidFill>
                  <a:schemeClr val="tx1"/>
                </a:solidFill>
                <a:latin typeface="Arial" panose="020B0604020202020204" pitchFamily="34" charset="0"/>
                <a:ea typeface="Roboto Thin" panose="02000000000000000000" pitchFamily="2" charset="0"/>
                <a:cs typeface="Arial" panose="020B0604020202020204" pitchFamily="34" charset="0"/>
              </a:defRPr>
            </a:lvl2pPr>
            <a:lvl3pPr>
              <a:buClr>
                <a:schemeClr val="accent6"/>
              </a:buClr>
              <a:defRPr sz="1600" b="0" i="0">
                <a:solidFill>
                  <a:schemeClr val="tx1"/>
                </a:solidFill>
                <a:latin typeface="Arial" panose="020B0604020202020204" pitchFamily="34" charset="0"/>
                <a:ea typeface="Roboto Thin" panose="02000000000000000000" pitchFamily="2" charset="0"/>
                <a:cs typeface="Arial" panose="020B0604020202020204" pitchFamily="34" charset="0"/>
              </a:defRPr>
            </a:lvl3pPr>
            <a:lvl4pPr>
              <a:buClr>
                <a:schemeClr val="accent6"/>
              </a:buCl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4pPr>
            <a:lvl5pPr>
              <a:buClr>
                <a:schemeClr val="accent6"/>
              </a:buCl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7" name="Text Placeholder 2">
            <a:extLst>
              <a:ext uri="{FF2B5EF4-FFF2-40B4-BE49-F238E27FC236}">
                <a16:creationId xmlns:a16="http://schemas.microsoft.com/office/drawing/2014/main" id="{B5B5498C-946A-4139-9C56-63A347BC5397}"/>
              </a:ext>
            </a:extLst>
          </p:cNvPr>
          <p:cNvSpPr>
            <a:spLocks noGrp="1"/>
          </p:cNvSpPr>
          <p:nvPr>
            <p:ph type="body" idx="18"/>
          </p:nvPr>
        </p:nvSpPr>
        <p:spPr>
          <a:xfrm>
            <a:off x="4458608" y="2390632"/>
            <a:ext cx="3274779" cy="557784"/>
          </a:xfrm>
          <a:prstGeom prst="rect">
            <a:avLst/>
          </a:prstGeom>
        </p:spPr>
        <p:txBody>
          <a:bodyPr anchor="ctr">
            <a:noAutofit/>
          </a:bodyPr>
          <a:lstStyle>
            <a:lvl1pPr marL="0" indent="0">
              <a:buNone/>
              <a:defRPr sz="2000" b="0" i="0">
                <a:solidFill>
                  <a:schemeClr val="tx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8" name="Content Placeholder 3">
            <a:extLst>
              <a:ext uri="{FF2B5EF4-FFF2-40B4-BE49-F238E27FC236}">
                <a16:creationId xmlns:a16="http://schemas.microsoft.com/office/drawing/2014/main" id="{D39DD80E-4B62-45B9-977D-63FBD6A5AD40}"/>
              </a:ext>
            </a:extLst>
          </p:cNvPr>
          <p:cNvSpPr>
            <a:spLocks noGrp="1"/>
          </p:cNvSpPr>
          <p:nvPr>
            <p:ph sz="half" idx="19"/>
          </p:nvPr>
        </p:nvSpPr>
        <p:spPr>
          <a:xfrm>
            <a:off x="4458611" y="3065793"/>
            <a:ext cx="3274777" cy="2934999"/>
          </a:xfrm>
          <a:prstGeom prst="rect">
            <a:avLst/>
          </a:prstGeom>
          <a:solidFill>
            <a:schemeClr val="accent5">
              <a:lumMod val="20000"/>
              <a:lumOff val="80000"/>
            </a:schemeClr>
          </a:solidFill>
        </p:spPr>
        <p:txBody>
          <a:bodyPr anchor="t">
            <a:normAutofit/>
          </a:bodyPr>
          <a:lstStyle>
            <a:lvl1pPr>
              <a:buClr>
                <a:schemeClr val="accent6"/>
              </a:buClr>
              <a:defRPr sz="2000" b="0" i="0">
                <a:solidFill>
                  <a:schemeClr val="tx1"/>
                </a:solidFill>
                <a:latin typeface="Arial" panose="020B0604020202020204" pitchFamily="34" charset="0"/>
                <a:ea typeface="Roboto Thin" panose="02000000000000000000" pitchFamily="2" charset="0"/>
                <a:cs typeface="Arial" panose="020B0604020202020204" pitchFamily="34" charset="0"/>
              </a:defRPr>
            </a:lvl1pPr>
            <a:lvl2pPr>
              <a:buClr>
                <a:schemeClr val="accent6"/>
              </a:buClr>
              <a:defRPr sz="1800" b="0" i="0">
                <a:solidFill>
                  <a:schemeClr val="tx1"/>
                </a:solidFill>
                <a:latin typeface="Arial" panose="020B0604020202020204" pitchFamily="34" charset="0"/>
                <a:ea typeface="Roboto Thin" panose="02000000000000000000" pitchFamily="2" charset="0"/>
                <a:cs typeface="Arial" panose="020B0604020202020204" pitchFamily="34" charset="0"/>
              </a:defRPr>
            </a:lvl2pPr>
            <a:lvl3pPr>
              <a:buClr>
                <a:schemeClr val="accent6"/>
              </a:buClr>
              <a:defRPr sz="1600" b="0" i="0">
                <a:solidFill>
                  <a:schemeClr val="tx1"/>
                </a:solidFill>
                <a:latin typeface="Arial" panose="020B0604020202020204" pitchFamily="34" charset="0"/>
                <a:ea typeface="Roboto Thin" panose="02000000000000000000" pitchFamily="2" charset="0"/>
                <a:cs typeface="Arial" panose="020B0604020202020204" pitchFamily="34" charset="0"/>
              </a:defRPr>
            </a:lvl3pPr>
            <a:lvl4pPr>
              <a:buClr>
                <a:schemeClr val="accent6"/>
              </a:buCl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4pPr>
            <a:lvl5pPr>
              <a:buClr>
                <a:schemeClr val="accent6"/>
              </a:buCl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2">
            <a:extLst>
              <a:ext uri="{FF2B5EF4-FFF2-40B4-BE49-F238E27FC236}">
                <a16:creationId xmlns:a16="http://schemas.microsoft.com/office/drawing/2014/main" id="{FC7F5625-2A49-4E6E-AE65-3BF0766904B2}"/>
              </a:ext>
            </a:extLst>
          </p:cNvPr>
          <p:cNvSpPr>
            <a:spLocks noGrp="1"/>
          </p:cNvSpPr>
          <p:nvPr>
            <p:ph type="body" idx="20"/>
          </p:nvPr>
        </p:nvSpPr>
        <p:spPr>
          <a:xfrm>
            <a:off x="8362224" y="2390632"/>
            <a:ext cx="3274779" cy="557784"/>
          </a:xfrm>
          <a:prstGeom prst="rect">
            <a:avLst/>
          </a:prstGeom>
        </p:spPr>
        <p:txBody>
          <a:bodyPr anchor="ctr">
            <a:noAutofit/>
          </a:bodyPr>
          <a:lstStyle>
            <a:lvl1pPr marL="0" indent="0">
              <a:buNone/>
              <a:defRPr sz="2000" b="0" i="0">
                <a:solidFill>
                  <a:schemeClr val="tx1"/>
                </a:solidFill>
                <a:latin typeface="Avenir Next LT Pro" panose="020B0504020202020204" pitchFamily="34" charset="77"/>
                <a:ea typeface="Roboto Thin" panose="020000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30" name="Content Placeholder 3">
            <a:extLst>
              <a:ext uri="{FF2B5EF4-FFF2-40B4-BE49-F238E27FC236}">
                <a16:creationId xmlns:a16="http://schemas.microsoft.com/office/drawing/2014/main" id="{AAB17157-5B8F-485B-9383-C5F509E1EDA1}"/>
              </a:ext>
            </a:extLst>
          </p:cNvPr>
          <p:cNvSpPr>
            <a:spLocks noGrp="1"/>
          </p:cNvSpPr>
          <p:nvPr>
            <p:ph sz="half" idx="21"/>
          </p:nvPr>
        </p:nvSpPr>
        <p:spPr>
          <a:xfrm>
            <a:off x="8362227" y="3065793"/>
            <a:ext cx="3274777" cy="2934999"/>
          </a:xfrm>
          <a:prstGeom prst="rect">
            <a:avLst/>
          </a:prstGeom>
          <a:solidFill>
            <a:schemeClr val="accent5">
              <a:lumMod val="20000"/>
              <a:lumOff val="80000"/>
            </a:schemeClr>
          </a:solidFill>
        </p:spPr>
        <p:txBody>
          <a:bodyPr anchor="t">
            <a:normAutofit/>
          </a:bodyPr>
          <a:lstStyle>
            <a:lvl1pPr marL="342900" indent="-342900">
              <a:buClr>
                <a:schemeClr val="accent6"/>
              </a:buClr>
              <a:buFont typeface="Arial" panose="020B0604020202020204" pitchFamily="34" charset="0"/>
              <a:buChar char="•"/>
              <a:defRPr sz="2000" b="0" i="0">
                <a:solidFill>
                  <a:schemeClr val="tx1"/>
                </a:solidFill>
                <a:latin typeface="Arial" panose="020B0604020202020204" pitchFamily="34" charset="0"/>
                <a:ea typeface="Roboto Thin" panose="02000000000000000000" pitchFamily="2" charset="0"/>
                <a:cs typeface="Arial" panose="020B0604020202020204" pitchFamily="34" charset="0"/>
              </a:defRPr>
            </a:lvl1pPr>
            <a:lvl2pPr marL="742950" indent="-285750">
              <a:buClr>
                <a:schemeClr val="accent6"/>
              </a:buClr>
              <a:buFont typeface="Arial" panose="020B0604020202020204" pitchFamily="34" charset="0"/>
              <a:buChar char="•"/>
              <a:defRPr sz="1800" b="0" i="0">
                <a:solidFill>
                  <a:schemeClr val="tx1"/>
                </a:solidFill>
                <a:latin typeface="Arial" panose="020B0604020202020204" pitchFamily="34" charset="0"/>
                <a:ea typeface="Roboto Thin" panose="02000000000000000000" pitchFamily="2" charset="0"/>
                <a:cs typeface="Arial" panose="020B0604020202020204" pitchFamily="34" charset="0"/>
              </a:defRPr>
            </a:lvl2pPr>
            <a:lvl3pPr marL="1200150" indent="-285750">
              <a:buClr>
                <a:schemeClr val="accent6"/>
              </a:buClr>
              <a:buFont typeface="Arial" panose="020B0604020202020204" pitchFamily="34" charset="0"/>
              <a:buChar char="•"/>
              <a:defRPr sz="1600" b="0" i="0">
                <a:solidFill>
                  <a:schemeClr val="tx1"/>
                </a:solidFill>
                <a:latin typeface="Arial" panose="020B0604020202020204" pitchFamily="34" charset="0"/>
                <a:ea typeface="Roboto Thin" panose="02000000000000000000" pitchFamily="2" charset="0"/>
                <a:cs typeface="Arial" panose="020B0604020202020204" pitchFamily="34" charset="0"/>
              </a:defRPr>
            </a:lvl3pPr>
            <a:lvl4pPr marL="1657350" indent="-285750">
              <a:buClr>
                <a:schemeClr val="accent6"/>
              </a:buClr>
              <a:buFont typeface="Arial" panose="020B0604020202020204" pitchFamily="34" charset="0"/>
              <a:buChar cha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4pPr>
            <a:lvl5pPr marL="2114550" indent="-285750">
              <a:buClr>
                <a:schemeClr val="accent6"/>
              </a:buClr>
              <a:buFont typeface="Arial" panose="020B0604020202020204" pitchFamily="34" charset="0"/>
              <a:buChar char="•"/>
              <a:defRPr sz="1400" b="0" i="0">
                <a:solidFill>
                  <a:schemeClr val="tx1"/>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5" name="Picture 14" descr="A picture containing loudspeaker&#10;&#10;Description automatically generated">
            <a:extLst>
              <a:ext uri="{FF2B5EF4-FFF2-40B4-BE49-F238E27FC236}">
                <a16:creationId xmlns:a16="http://schemas.microsoft.com/office/drawing/2014/main" id="{0E43FFBE-2F32-4AB6-A7CD-4A319635A54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82200" y="-730064"/>
            <a:ext cx="2852077" cy="2610810"/>
          </a:xfrm>
          <a:prstGeom prst="rect">
            <a:avLst/>
          </a:prstGeom>
        </p:spPr>
      </p:pic>
      <p:sp>
        <p:nvSpPr>
          <p:cNvPr id="14" name="Rectangle 13">
            <a:extLst>
              <a:ext uri="{FF2B5EF4-FFF2-40B4-BE49-F238E27FC236}">
                <a16:creationId xmlns:a16="http://schemas.microsoft.com/office/drawing/2014/main" id="{CB8A99BA-E634-27B2-0BB9-74BF3480355D}"/>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96378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_Photo_Office">
    <p:spTree>
      <p:nvGrpSpPr>
        <p:cNvPr id="1" name=""/>
        <p:cNvGrpSpPr/>
        <p:nvPr/>
      </p:nvGrpSpPr>
      <p:grpSpPr>
        <a:xfrm>
          <a:off x="0" y="0"/>
          <a:ext cx="0" cy="0"/>
          <a:chOff x="0" y="0"/>
          <a:chExt cx="0" cy="0"/>
        </a:xfrm>
      </p:grpSpPr>
      <p:pic>
        <p:nvPicPr>
          <p:cNvPr id="6" name="Picture 4" descr="A picture containing text, indoor, floor, furniture&#10;&#10;Description automatically generated">
            <a:extLst>
              <a:ext uri="{FF2B5EF4-FFF2-40B4-BE49-F238E27FC236}">
                <a16:creationId xmlns:a16="http://schemas.microsoft.com/office/drawing/2014/main" id="{F452FAE9-AD49-4C1F-9238-7272DF457D0D}"/>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l="-2" r="-100"/>
          <a:stretch/>
        </p:blipFill>
        <p:spPr>
          <a:xfrm>
            <a:off x="0" y="1371388"/>
            <a:ext cx="12204000" cy="2772000"/>
          </a:xfrm>
          <a:prstGeom prst="rect">
            <a:avLst/>
          </a:prstGeom>
        </p:spPr>
      </p:pic>
      <p:sp>
        <p:nvSpPr>
          <p:cNvPr id="8" name="Title 1">
            <a:extLst>
              <a:ext uri="{FF2B5EF4-FFF2-40B4-BE49-F238E27FC236}">
                <a16:creationId xmlns:a16="http://schemas.microsoft.com/office/drawing/2014/main" id="{55B8322C-D5B6-47E9-B6E1-346923EE7C22}"/>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dirty="0"/>
              <a:t>Click to insert title here</a:t>
            </a:r>
            <a:br>
              <a:rPr lang="en-US" dirty="0"/>
            </a:br>
            <a:r>
              <a:rPr lang="en-US" dirty="0"/>
              <a:t>(two lines max)</a:t>
            </a:r>
          </a:p>
        </p:txBody>
      </p:sp>
      <p:sp>
        <p:nvSpPr>
          <p:cNvPr id="9" name="Espace réservé du texte 18">
            <a:extLst>
              <a:ext uri="{FF2B5EF4-FFF2-40B4-BE49-F238E27FC236}">
                <a16:creationId xmlns:a16="http://schemas.microsoft.com/office/drawing/2014/main" id="{39F3FF0C-29FC-4067-8687-B221182DE4AE}"/>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latin typeface="Avenir Next LT Pro" panose="020B0504020202020204" pitchFamily="34" charset="77"/>
                <a:ea typeface="Roboto Light"/>
                <a:cs typeface="Arial"/>
              </a:rPr>
              <a:t>Click to insert subtitle (one line max)</a:t>
            </a:r>
          </a:p>
        </p:txBody>
      </p:sp>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descr="A picture containing text&#10;&#10;Description automatically generated">
            <a:extLst>
              <a:ext uri="{FF2B5EF4-FFF2-40B4-BE49-F238E27FC236}">
                <a16:creationId xmlns:a16="http://schemas.microsoft.com/office/drawing/2014/main" id="{E81043A0-F04A-83F8-EF89-554028B730C3}"/>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888534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_Photo_Office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 floor, building, room&#10;&#10;Description automatically generated">
            <a:extLst>
              <a:ext uri="{FF2B5EF4-FFF2-40B4-BE49-F238E27FC236}">
                <a16:creationId xmlns:a16="http://schemas.microsoft.com/office/drawing/2014/main" id="{DA377D79-C353-754A-87D0-194BD3E8EBAF}"/>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pic>
        <p:nvPicPr>
          <p:cNvPr id="8" name="Picture 7" descr="A picture containing text&#10;&#10;Description automatically generated">
            <a:extLst>
              <a:ext uri="{FF2B5EF4-FFF2-40B4-BE49-F238E27FC236}">
                <a16:creationId xmlns:a16="http://schemas.microsoft.com/office/drawing/2014/main" id="{E60EB811-6C97-3B9F-B63E-4FD1D4804808}"/>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45480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_Photo_Office3">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space réservé pour une image  5">
            <a:extLst>
              <a:ext uri="{FF2B5EF4-FFF2-40B4-BE49-F238E27FC236}">
                <a16:creationId xmlns:a16="http://schemas.microsoft.com/office/drawing/2014/main" id="{D992B93C-A20D-4BBA-8DEA-60352C663A5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3" name="Picture 2" descr="A picture containing indoor, floor, white, furniture&#10;&#10;Description automatically generated">
            <a:extLst>
              <a:ext uri="{FF2B5EF4-FFF2-40B4-BE49-F238E27FC236}">
                <a16:creationId xmlns:a16="http://schemas.microsoft.com/office/drawing/2014/main" id="{1685875D-9D01-6E40-8927-9E75811AE156}"/>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78022796-266A-7B7A-4798-309CDC68764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413276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hoto Right">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ABB7766A-0B99-3543-A3B8-094A21E1A19B}"/>
              </a:ext>
            </a:extLst>
          </p:cNvPr>
          <p:cNvSpPr>
            <a:spLocks noGrp="1"/>
          </p:cNvSpPr>
          <p:nvPr>
            <p:ph type="pic" sz="quarter" idx="11"/>
          </p:nvPr>
        </p:nvSpPr>
        <p:spPr>
          <a:xfrm>
            <a:off x="7331825" y="0"/>
            <a:ext cx="4880258" cy="6858000"/>
          </a:xfrm>
        </p:spPr>
        <p:txBody>
          <a:bodyPr/>
          <a:lstStyle>
            <a:lvl1pPr marL="0" indent="0">
              <a:buNone/>
              <a:defRPr/>
            </a:lvl1pPr>
          </a:lstStyle>
          <a:p>
            <a:r>
              <a:rPr lang="en-US"/>
              <a:t>Click icon to add picture</a:t>
            </a:r>
            <a:endParaRPr lang="fr-FR"/>
          </a:p>
        </p:txBody>
      </p:sp>
      <p:sp>
        <p:nvSpPr>
          <p:cNvPr id="17" name="Titre 16">
            <a:extLst>
              <a:ext uri="{FF2B5EF4-FFF2-40B4-BE49-F238E27FC236}">
                <a16:creationId xmlns:a16="http://schemas.microsoft.com/office/drawing/2014/main" id="{E861C677-01AD-0542-851A-A8CEC029D0DE}"/>
              </a:ext>
            </a:extLst>
          </p:cNvPr>
          <p:cNvSpPr>
            <a:spLocks noGrp="1"/>
          </p:cNvSpPr>
          <p:nvPr>
            <p:ph type="title" hasCustomPrompt="1"/>
          </p:nvPr>
        </p:nvSpPr>
        <p:spPr>
          <a:xfrm>
            <a:off x="1127624" y="3274755"/>
            <a:ext cx="4968611" cy="859258"/>
          </a:xfrm>
        </p:spPr>
        <p:txBody>
          <a:bodyPr/>
          <a:lstStyle>
            <a:lvl1pPr>
              <a:defRPr>
                <a:solidFill>
                  <a:srgbClr val="495965"/>
                </a:solidFill>
              </a:defRPr>
            </a:lvl1pPr>
          </a:lstStyle>
          <a:p>
            <a:r>
              <a:rPr lang="en-US"/>
              <a:t>Click to insert title (two lines max)</a:t>
            </a:r>
            <a:endParaRPr lang="fr-FR"/>
          </a:p>
        </p:txBody>
      </p:sp>
      <p:sp>
        <p:nvSpPr>
          <p:cNvPr id="19" name="Espace réservé du texte 18">
            <a:extLst>
              <a:ext uri="{FF2B5EF4-FFF2-40B4-BE49-F238E27FC236}">
                <a16:creationId xmlns:a16="http://schemas.microsoft.com/office/drawing/2014/main" id="{C236EB42-FC2C-4949-B906-2867B540949E}"/>
              </a:ext>
            </a:extLst>
          </p:cNvPr>
          <p:cNvSpPr>
            <a:spLocks noGrp="1"/>
          </p:cNvSpPr>
          <p:nvPr>
            <p:ph type="body" sz="quarter" idx="12" hasCustomPrompt="1"/>
          </p:nvPr>
        </p:nvSpPr>
        <p:spPr>
          <a:xfrm>
            <a:off x="1127389" y="4518696"/>
            <a:ext cx="4968611" cy="129190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rgbClr val="007239"/>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 </a:t>
            </a:r>
          </a:p>
        </p:txBody>
      </p:sp>
      <p:sp>
        <p:nvSpPr>
          <p:cNvPr id="10" name="Oval 9">
            <a:extLst>
              <a:ext uri="{FF2B5EF4-FFF2-40B4-BE49-F238E27FC236}">
                <a16:creationId xmlns:a16="http://schemas.microsoft.com/office/drawing/2014/main" id="{DCF6622C-C804-4351-A55D-4541F68AEB9F}"/>
              </a:ext>
            </a:extLst>
          </p:cNvPr>
          <p:cNvSpPr/>
          <p:nvPr userDrawn="1"/>
        </p:nvSpPr>
        <p:spPr>
          <a:xfrm>
            <a:off x="-1345969" y="4855747"/>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C7FBDDA2-A675-4764-BB81-1F646DBB2875}"/>
              </a:ext>
            </a:extLst>
          </p:cNvPr>
          <p:cNvSpPr/>
          <p:nvPr userDrawn="1"/>
        </p:nvSpPr>
        <p:spPr>
          <a:xfrm>
            <a:off x="-203876" y="5610017"/>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8A1D4F1-CCB0-3FA9-76ED-E4A48BD35F25}"/>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493831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_Photo_Healthcar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icture containing indoor, wall, ceiling, appliance&#10;&#10;Description automatically generated">
            <a:extLst>
              <a:ext uri="{FF2B5EF4-FFF2-40B4-BE49-F238E27FC236}">
                <a16:creationId xmlns:a16="http://schemas.microsoft.com/office/drawing/2014/main" id="{596382B9-47A9-124D-AB6D-33850C9CFC0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371388"/>
            <a:ext cx="12192000" cy="2755900"/>
          </a:xfrm>
          <a:prstGeom prst="rect">
            <a:avLst/>
          </a:prstGeom>
        </p:spPr>
      </p:pic>
      <p:sp>
        <p:nvSpPr>
          <p:cNvPr id="12" name="Title 1">
            <a:extLst>
              <a:ext uri="{FF2B5EF4-FFF2-40B4-BE49-F238E27FC236}">
                <a16:creationId xmlns:a16="http://schemas.microsoft.com/office/drawing/2014/main" id="{A919BE2A-20CB-4B5E-980E-B2FB5DFAAE78}"/>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031D3027-AD19-4C43-9378-6A3B86D66759}"/>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8" name="Picture 7" descr="A picture containing text&#10;&#10;Description automatically generated">
            <a:extLst>
              <a:ext uri="{FF2B5EF4-FFF2-40B4-BE49-F238E27FC236}">
                <a16:creationId xmlns:a16="http://schemas.microsoft.com/office/drawing/2014/main" id="{21111F96-AFC9-C695-45E6-945EB8234DFA}"/>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636193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_Photo_Healthcare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indoor, window, white, furniture&#10;&#10;Description automatically generated">
            <a:extLst>
              <a:ext uri="{FF2B5EF4-FFF2-40B4-BE49-F238E27FC236}">
                <a16:creationId xmlns:a16="http://schemas.microsoft.com/office/drawing/2014/main" id="{244D6216-15BF-9443-A76B-C04C72E6DE8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429741"/>
            <a:ext cx="12192000" cy="2755900"/>
          </a:xfrm>
          <a:prstGeom prst="rect">
            <a:avLst/>
          </a:prstGeom>
        </p:spPr>
      </p:pic>
      <p:sp>
        <p:nvSpPr>
          <p:cNvPr id="12" name="Title 1">
            <a:extLst>
              <a:ext uri="{FF2B5EF4-FFF2-40B4-BE49-F238E27FC236}">
                <a16:creationId xmlns:a16="http://schemas.microsoft.com/office/drawing/2014/main" id="{14E023CD-DE28-4D71-B370-4812F4EBDD21}"/>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3" name="Espace réservé du texte 18">
            <a:extLst>
              <a:ext uri="{FF2B5EF4-FFF2-40B4-BE49-F238E27FC236}">
                <a16:creationId xmlns:a16="http://schemas.microsoft.com/office/drawing/2014/main" id="{61FD6232-C712-4DEF-B92D-9B9528C5DCC4}"/>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88191D1D-05E5-4A6A-9C35-316BEA6800D1}"/>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FAEFC339-649A-28CF-E2A4-D58087025050}"/>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27289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_Photo_Commercia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icture containing text&#10;&#10;Description automatically generated">
            <a:extLst>
              <a:ext uri="{FF2B5EF4-FFF2-40B4-BE49-F238E27FC236}">
                <a16:creationId xmlns:a16="http://schemas.microsoft.com/office/drawing/2014/main" id="{4641DAA1-1389-2C45-8622-E22E5AA4675D}"/>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381204"/>
            <a:ext cx="12192000" cy="2755900"/>
          </a:xfrm>
          <a:prstGeom prst="rect">
            <a:avLst/>
          </a:prstGeom>
        </p:spPr>
      </p:pic>
      <p:sp>
        <p:nvSpPr>
          <p:cNvPr id="12" name="Title 1">
            <a:extLst>
              <a:ext uri="{FF2B5EF4-FFF2-40B4-BE49-F238E27FC236}">
                <a16:creationId xmlns:a16="http://schemas.microsoft.com/office/drawing/2014/main" id="{9BE973D8-F9B0-402B-AAD3-C23E25BD266E}"/>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0E5B5D52-DD68-4505-9B5F-058531108B5F}"/>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A8B85FBD-E330-43D5-9796-036A724DA351}"/>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37F39B03-91CD-28A2-9B0E-B89857FEED47}"/>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70153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_Photo_Bridg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picture containing building, bridge&#10;&#10;Description automatically generated">
            <a:extLst>
              <a:ext uri="{FF2B5EF4-FFF2-40B4-BE49-F238E27FC236}">
                <a16:creationId xmlns:a16="http://schemas.microsoft.com/office/drawing/2014/main" id="{8C4A2212-726E-C045-BB85-8C6937991384}"/>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366270"/>
            <a:ext cx="12192000" cy="2755900"/>
          </a:xfrm>
          <a:prstGeom prst="rect">
            <a:avLst/>
          </a:prstGeom>
        </p:spPr>
      </p:pic>
      <p:sp>
        <p:nvSpPr>
          <p:cNvPr id="12" name="Title 1">
            <a:extLst>
              <a:ext uri="{FF2B5EF4-FFF2-40B4-BE49-F238E27FC236}">
                <a16:creationId xmlns:a16="http://schemas.microsoft.com/office/drawing/2014/main" id="{C00E17A5-B351-42B0-AF55-4B5D7C2B2BB1}"/>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3" name="Espace réservé du texte 18">
            <a:extLst>
              <a:ext uri="{FF2B5EF4-FFF2-40B4-BE49-F238E27FC236}">
                <a16:creationId xmlns:a16="http://schemas.microsoft.com/office/drawing/2014/main" id="{5872DFCB-F002-4B5E-80A7-7E2081D8C904}"/>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8" name="Picture 7" descr="A picture containing text&#10;&#10;Description automatically generated">
            <a:extLst>
              <a:ext uri="{FF2B5EF4-FFF2-40B4-BE49-F238E27FC236}">
                <a16:creationId xmlns:a16="http://schemas.microsoft.com/office/drawing/2014/main" id="{C97E6EB1-5FD5-B637-CD50-CC30CB149826}"/>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01221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_Photo_Highway">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93504C-99A0-4024-84B6-C53006D2965E}"/>
              </a:ext>
            </a:extLst>
          </p:cNvPr>
          <p:cNvPicPr>
            <a:picLocks/>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51236"/>
            <a:ext cx="12192000" cy="2776049"/>
          </a:xfrm>
          <a:prstGeom prst="rect">
            <a:avLst/>
          </a:prstGeom>
        </p:spPr>
      </p:pic>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E1350C2E-FA37-4CEF-A063-13FFF26D1F2A}"/>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6" name="Espace réservé du texte 18">
            <a:extLst>
              <a:ext uri="{FF2B5EF4-FFF2-40B4-BE49-F238E27FC236}">
                <a16:creationId xmlns:a16="http://schemas.microsoft.com/office/drawing/2014/main" id="{C8B74A2B-94E2-4C44-AA3F-1EE8FDBC5C98}"/>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8" name="Picture 7" descr="A picture containing text&#10;&#10;Description automatically generated">
            <a:extLst>
              <a:ext uri="{FF2B5EF4-FFF2-40B4-BE49-F238E27FC236}">
                <a16:creationId xmlns:a16="http://schemas.microsoft.com/office/drawing/2014/main" id="{573EB658-67AA-6D49-7DF3-61B13A7A604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585518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_Photo_Parkin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993504C-99A0-4024-84B6-C53006D2965E}"/>
              </a:ext>
            </a:extLst>
          </p:cNvPr>
          <p:cNvPicPr>
            <a:picLocks/>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51236"/>
            <a:ext cx="12192000" cy="2776049"/>
          </a:xfrm>
          <a:prstGeom prst="rect">
            <a:avLst/>
          </a:prstGeom>
        </p:spPr>
      </p:pic>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E1350C2E-FA37-4CEF-A063-13FFF26D1F2A}"/>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6" name="Espace réservé du texte 18">
            <a:extLst>
              <a:ext uri="{FF2B5EF4-FFF2-40B4-BE49-F238E27FC236}">
                <a16:creationId xmlns:a16="http://schemas.microsoft.com/office/drawing/2014/main" id="{C8B74A2B-94E2-4C44-AA3F-1EE8FDBC5C98}"/>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F3CF25B0-F780-42A0-9CC6-F72446F62C30}"/>
              </a:ext>
            </a:extLst>
          </p:cNvPr>
          <p:cNvSpPr>
            <a:spLocks noGrp="1"/>
          </p:cNvSpPr>
          <p:nvPr>
            <p:ph type="ftr" sz="quarter" idx="15"/>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4" name="Picture 3" descr="A picture containing night&#10;&#10;Description automatically generated">
            <a:extLst>
              <a:ext uri="{FF2B5EF4-FFF2-40B4-BE49-F238E27FC236}">
                <a16:creationId xmlns:a16="http://schemas.microsoft.com/office/drawing/2014/main" id="{CF34D431-9D2A-4979-AA1A-5BC1BA38452C}"/>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13648" y="1351237"/>
            <a:ext cx="12205648" cy="2776048"/>
          </a:xfrm>
          <a:prstGeom prst="rect">
            <a:avLst/>
          </a:prstGeom>
        </p:spPr>
      </p:pic>
      <p:pic>
        <p:nvPicPr>
          <p:cNvPr id="9" name="Picture 8" descr="A picture containing text&#10;&#10;Description automatically generated">
            <a:extLst>
              <a:ext uri="{FF2B5EF4-FFF2-40B4-BE49-F238E27FC236}">
                <a16:creationId xmlns:a16="http://schemas.microsoft.com/office/drawing/2014/main" id="{A73AE587-9360-5697-D030-9BC1E86D8A12}"/>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716960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_Photo_Warehous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text, building, library, traveling&#10;&#10;Description automatically generated">
            <a:extLst>
              <a:ext uri="{FF2B5EF4-FFF2-40B4-BE49-F238E27FC236}">
                <a16:creationId xmlns:a16="http://schemas.microsoft.com/office/drawing/2014/main" id="{EFA147CC-140A-D543-8E19-BDAC53BB966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371386"/>
            <a:ext cx="12192000" cy="2755900"/>
          </a:xfrm>
          <a:prstGeom prst="rect">
            <a:avLst/>
          </a:prstGeom>
        </p:spPr>
      </p:pic>
      <p:sp>
        <p:nvSpPr>
          <p:cNvPr id="12" name="Title 1">
            <a:extLst>
              <a:ext uri="{FF2B5EF4-FFF2-40B4-BE49-F238E27FC236}">
                <a16:creationId xmlns:a16="http://schemas.microsoft.com/office/drawing/2014/main" id="{E5D0B7F4-9728-44BB-9C4B-83DAFB781D5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3" name="Espace réservé du texte 18">
            <a:extLst>
              <a:ext uri="{FF2B5EF4-FFF2-40B4-BE49-F238E27FC236}">
                <a16:creationId xmlns:a16="http://schemas.microsoft.com/office/drawing/2014/main" id="{4C26BC70-CE17-49D4-AEC4-AC528E02B693}"/>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A5D462A9-CE78-4931-8B5F-C2E0AAD3ADB4}"/>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76831ECD-D8C4-158D-0038-82FFC921E3AE}"/>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998324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_Photo_Warehouse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window, indoor, building, air conditioner&#10;&#10;Description automatically generated">
            <a:extLst>
              <a:ext uri="{FF2B5EF4-FFF2-40B4-BE49-F238E27FC236}">
                <a16:creationId xmlns:a16="http://schemas.microsoft.com/office/drawing/2014/main" id="{54C69C6D-72EF-FC46-8EB1-658E4520FB2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0" y="1371386"/>
            <a:ext cx="12192000" cy="2755900"/>
          </a:xfrm>
          <a:prstGeom prst="rect">
            <a:avLst/>
          </a:prstGeom>
        </p:spPr>
      </p:pic>
      <p:sp>
        <p:nvSpPr>
          <p:cNvPr id="12" name="Title 1">
            <a:extLst>
              <a:ext uri="{FF2B5EF4-FFF2-40B4-BE49-F238E27FC236}">
                <a16:creationId xmlns:a16="http://schemas.microsoft.com/office/drawing/2014/main" id="{C8CC8199-6B45-4C50-8A4E-1F5EF002DF45}"/>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3" name="Espace réservé du texte 18">
            <a:extLst>
              <a:ext uri="{FF2B5EF4-FFF2-40B4-BE49-F238E27FC236}">
                <a16:creationId xmlns:a16="http://schemas.microsoft.com/office/drawing/2014/main" id="{7EE0E7F3-588F-4DF9-9575-FFD7CA31207F}"/>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A6BE4E00-10A1-4F0C-A16C-CEBA266D2A23}"/>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83BA4B9C-D13D-4DC6-DD16-93F34047D7E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751405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_Photo_Clas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 wall, ceiling, floor&#10;&#10;Description automatically generated">
            <a:extLst>
              <a:ext uri="{FF2B5EF4-FFF2-40B4-BE49-F238E27FC236}">
                <a16:creationId xmlns:a16="http://schemas.microsoft.com/office/drawing/2014/main" id="{1349E998-3C13-774F-9CB4-4BE7B65BE66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BDE16CB9-175C-43AB-8991-1EE6C5BB9EDA}"/>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360AC414-0084-5F7C-E888-790C018870E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02062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_Photo_Class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space réservé pour une image  5">
            <a:extLst>
              <a:ext uri="{FF2B5EF4-FFF2-40B4-BE49-F238E27FC236}">
                <a16:creationId xmlns:a16="http://schemas.microsoft.com/office/drawing/2014/main" id="{D992B93C-A20D-4BBA-8DEA-60352C663A5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3" name="Picture 2" descr="A picture containing indoor, ceiling, wall, several&#10;&#10;Description automatically generated">
            <a:extLst>
              <a:ext uri="{FF2B5EF4-FFF2-40B4-BE49-F238E27FC236}">
                <a16:creationId xmlns:a16="http://schemas.microsoft.com/office/drawing/2014/main" id="{4E64F46D-016D-7646-9FFF-12F8EC0EC4F1}"/>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0" y="1365250"/>
            <a:ext cx="12192000" cy="2797424"/>
          </a:xfrm>
          <a:prstGeom prst="rect">
            <a:avLst/>
          </a:prstGeom>
        </p:spPr>
      </p:pic>
      <p:sp>
        <p:nvSpPr>
          <p:cNvPr id="2" name="Footer Placeholder 1">
            <a:extLst>
              <a:ext uri="{FF2B5EF4-FFF2-40B4-BE49-F238E27FC236}">
                <a16:creationId xmlns:a16="http://schemas.microsoft.com/office/drawing/2014/main" id="{7ED400D0-6826-4F03-A600-960EF39BD848}"/>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9" name="Picture 8" descr="A picture containing text&#10;&#10;Description automatically generated">
            <a:extLst>
              <a:ext uri="{FF2B5EF4-FFF2-40B4-BE49-F238E27FC236}">
                <a16:creationId xmlns:a16="http://schemas.microsoft.com/office/drawing/2014/main" id="{A891BFE9-3186-735F-F1A3-90220DA1376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561680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B72430-FEBC-4A99-9317-D8E49395ABFA}"/>
              </a:ext>
            </a:extLst>
          </p:cNvPr>
          <p:cNvSpPr>
            <a:spLocks noGrp="1"/>
          </p:cNvSpPr>
          <p:nvPr>
            <p:ph type="title" hasCustomPrompt="1"/>
          </p:nvPr>
        </p:nvSpPr>
        <p:spPr>
          <a:xfrm>
            <a:off x="1304190" y="1732270"/>
            <a:ext cx="5065723" cy="2521307"/>
          </a:xfrm>
        </p:spPr>
        <p:txBody>
          <a:bodyPr/>
          <a:lstStyle>
            <a:lvl1pPr>
              <a:defRPr/>
            </a:lvl1pPr>
          </a:lstStyle>
          <a:p>
            <a:r>
              <a:rPr lang="en-US"/>
              <a:t>If your title is long use this template. Can be up to four lines of text.</a:t>
            </a:r>
          </a:p>
        </p:txBody>
      </p:sp>
      <p:sp>
        <p:nvSpPr>
          <p:cNvPr id="10" name="Oval 27">
            <a:extLst>
              <a:ext uri="{FF2B5EF4-FFF2-40B4-BE49-F238E27FC236}">
                <a16:creationId xmlns:a16="http://schemas.microsoft.com/office/drawing/2014/main" id="{1012ADB5-6EF6-4E0D-B64D-1A6A0EE4CB00}"/>
              </a:ext>
            </a:extLst>
          </p:cNvPr>
          <p:cNvSpPr/>
          <p:nvPr userDrawn="1"/>
        </p:nvSpPr>
        <p:spPr>
          <a:xfrm>
            <a:off x="9105507" y="634830"/>
            <a:ext cx="5470651" cy="5469193"/>
          </a:xfrm>
          <a:prstGeom prst="ellipse">
            <a:avLst/>
          </a:prstGeom>
          <a:solidFill>
            <a:srgbClr val="EEF0F0">
              <a:alpha val="58000"/>
            </a:srgbClr>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1" name="Picture 10" descr="A picture containing loudspeaker&#10;&#10;Description automatically generated">
            <a:extLst>
              <a:ext uri="{FF2B5EF4-FFF2-40B4-BE49-F238E27FC236}">
                <a16:creationId xmlns:a16="http://schemas.microsoft.com/office/drawing/2014/main" id="{AB97050F-67F1-40E3-94FD-9127750D017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83474" y="1952940"/>
            <a:ext cx="2254251" cy="2063556"/>
          </a:xfrm>
          <a:prstGeom prst="rect">
            <a:avLst/>
          </a:prstGeom>
        </p:spPr>
      </p:pic>
      <p:sp>
        <p:nvSpPr>
          <p:cNvPr id="7" name="Oval 6">
            <a:extLst>
              <a:ext uri="{FF2B5EF4-FFF2-40B4-BE49-F238E27FC236}">
                <a16:creationId xmlns:a16="http://schemas.microsoft.com/office/drawing/2014/main" id="{EFDAE08A-F7DA-497F-879D-703C0EE8B6D1}"/>
              </a:ext>
            </a:extLst>
          </p:cNvPr>
          <p:cNvSpPr/>
          <p:nvPr userDrawn="1"/>
        </p:nvSpPr>
        <p:spPr>
          <a:xfrm>
            <a:off x="8515248" y="309695"/>
            <a:ext cx="2672960" cy="2675023"/>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space réservé du texte 18">
            <a:extLst>
              <a:ext uri="{FF2B5EF4-FFF2-40B4-BE49-F238E27FC236}">
                <a16:creationId xmlns:a16="http://schemas.microsoft.com/office/drawing/2014/main" id="{919F77CE-796A-442D-984F-5366FC99A145}"/>
              </a:ext>
            </a:extLst>
          </p:cNvPr>
          <p:cNvSpPr>
            <a:spLocks noGrp="1"/>
          </p:cNvSpPr>
          <p:nvPr>
            <p:ph type="body" sz="quarter" idx="12" hasCustomPrompt="1"/>
          </p:nvPr>
        </p:nvSpPr>
        <p:spPr>
          <a:xfrm>
            <a:off x="1304189" y="4253577"/>
            <a:ext cx="5065723" cy="129190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rgbClr val="007239"/>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 </a:t>
            </a:r>
          </a:p>
        </p:txBody>
      </p:sp>
      <p:sp>
        <p:nvSpPr>
          <p:cNvPr id="13" name="Rectangle 12">
            <a:extLst>
              <a:ext uri="{FF2B5EF4-FFF2-40B4-BE49-F238E27FC236}">
                <a16:creationId xmlns:a16="http://schemas.microsoft.com/office/drawing/2014/main" id="{64501426-F01E-7629-C2A0-92162F7DCD8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92806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_Photo_Studio">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room with tables and chairs&#10;&#10;Description automatically generated with medium confidence">
            <a:extLst>
              <a:ext uri="{FF2B5EF4-FFF2-40B4-BE49-F238E27FC236}">
                <a16:creationId xmlns:a16="http://schemas.microsoft.com/office/drawing/2014/main" id="{0C1E423A-7738-0F41-95FB-A00506736405}"/>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9458F799-8E58-47F8-8672-710DCB67FD00}"/>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45DB8F8F-0A22-2513-8E7B-01421F4AE358}"/>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4088347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_Photo_Books">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room with a table and chairs&#10;&#10;Description automatically generated with low confidence">
            <a:extLst>
              <a:ext uri="{FF2B5EF4-FFF2-40B4-BE49-F238E27FC236}">
                <a16:creationId xmlns:a16="http://schemas.microsoft.com/office/drawing/2014/main" id="{CD4849F5-F014-B140-8E7A-F526E4779751}"/>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D91CD6F4-6BD7-4166-919A-01A75D41E693}"/>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210F5BAB-CB19-C219-16B8-2DCBA7E0452F}"/>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329854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_Photo_K1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classroom with desks and chairs&#10;&#10;Description automatically generated with medium confidence">
            <a:extLst>
              <a:ext uri="{FF2B5EF4-FFF2-40B4-BE49-F238E27FC236}">
                <a16:creationId xmlns:a16="http://schemas.microsoft.com/office/drawing/2014/main" id="{2A3F837A-0930-514E-A1EC-70225E042514}"/>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B23911C4-4450-4B98-81D5-4D8561DE6097}"/>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22A041D9-8B7B-0C1E-9662-DB7E7DC0F6BC}"/>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618910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_Photo_Lobb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 floor, window, room&#10;&#10;Description automatically generated">
            <a:extLst>
              <a:ext uri="{FF2B5EF4-FFF2-40B4-BE49-F238E27FC236}">
                <a16:creationId xmlns:a16="http://schemas.microsoft.com/office/drawing/2014/main" id="{DFA13B29-2B92-574F-BBEF-1AD17724F00D}"/>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98C003B6-B15E-4207-8DD5-6E4FA7317023}"/>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7F352112-D189-B3AC-3C64-CEC14E9ECC9A}"/>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964993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_Photo_Pool">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ground, platform, station, ceiling&#10;&#10;Description automatically generated">
            <a:extLst>
              <a:ext uri="{FF2B5EF4-FFF2-40B4-BE49-F238E27FC236}">
                <a16:creationId xmlns:a16="http://schemas.microsoft.com/office/drawing/2014/main" id="{809D621E-5336-5B40-8ADA-A5DC2F943D52}"/>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9576A9CC-4869-4468-B82C-2D98BF93E906}"/>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27D1FB14-3F22-EB0A-38C7-CAF01F9253E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86228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_Photo_Distiller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 floor, window, kitchen&#10;&#10;Description automatically generated">
            <a:extLst>
              <a:ext uri="{FF2B5EF4-FFF2-40B4-BE49-F238E27FC236}">
                <a16:creationId xmlns:a16="http://schemas.microsoft.com/office/drawing/2014/main" id="{528AAC87-104E-B147-A087-4F32AF1047B6}"/>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248F0F36-39EB-4240-9E6C-6A14472AE1DD}"/>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648AE656-A8BD-F29C-EBD3-003338EDB0F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10878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_Photo_Ship">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space réservé pour une image  5">
            <a:extLst>
              <a:ext uri="{FF2B5EF4-FFF2-40B4-BE49-F238E27FC236}">
                <a16:creationId xmlns:a16="http://schemas.microsoft.com/office/drawing/2014/main" id="{D992B93C-A20D-4BBA-8DEA-60352C663A5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3" name="Picture 2" descr="A picture containing sky, road, outdoor, empty&#10;&#10;Description automatically generated">
            <a:extLst>
              <a:ext uri="{FF2B5EF4-FFF2-40B4-BE49-F238E27FC236}">
                <a16:creationId xmlns:a16="http://schemas.microsoft.com/office/drawing/2014/main" id="{A5D08A0C-71B3-7D4C-AD6A-2C0BFA79E8A9}"/>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3D6610BB-F1E4-44EE-9D6F-43CC701CEFA9}"/>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9" name="Picture 8" descr="A picture containing text&#10;&#10;Description automatically generated">
            <a:extLst>
              <a:ext uri="{FF2B5EF4-FFF2-40B4-BE49-F238E27FC236}">
                <a16:creationId xmlns:a16="http://schemas.microsoft.com/office/drawing/2014/main" id="{B0ABFAD7-27FB-69BB-8955-840F609838C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69176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_Photo_Manu">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10;&#10;Description automatically generated">
            <a:extLst>
              <a:ext uri="{FF2B5EF4-FFF2-40B4-BE49-F238E27FC236}">
                <a16:creationId xmlns:a16="http://schemas.microsoft.com/office/drawing/2014/main" id="{F9CD2422-8BD7-0A4A-AEB3-F52EBAA27A73}"/>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334174B9-D68D-43C9-9001-B998E81A7858}"/>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0DC65BE9-67DD-52D8-DFB8-B5F042A92FD3}"/>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70647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_Photo_Apartm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building, outdoor, apartment building&#10;&#10;Description automatically generated">
            <a:extLst>
              <a:ext uri="{FF2B5EF4-FFF2-40B4-BE49-F238E27FC236}">
                <a16:creationId xmlns:a16="http://schemas.microsoft.com/office/drawing/2014/main" id="{0185BB08-9BBA-ED40-93A7-0EABFF16C90D}"/>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D7AECA49-0CC1-4564-A2E6-9508588C0038}"/>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197ED287-CCE1-72B4-D609-77176E35FDC3}"/>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1755484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_Photo_Kitche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Espace réservé pour une image  5">
            <a:extLst>
              <a:ext uri="{FF2B5EF4-FFF2-40B4-BE49-F238E27FC236}">
                <a16:creationId xmlns:a16="http://schemas.microsoft.com/office/drawing/2014/main" id="{D992B93C-A20D-4BBA-8DEA-60352C663A5C}"/>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3" name="Picture 2" descr="A kitchen with white cabinets&#10;&#10;Description automatically generated with medium confidence">
            <a:extLst>
              <a:ext uri="{FF2B5EF4-FFF2-40B4-BE49-F238E27FC236}">
                <a16:creationId xmlns:a16="http://schemas.microsoft.com/office/drawing/2014/main" id="{B8716659-3DE3-B14B-AC58-1BE2E5FC1891}"/>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C3C3A5BE-867B-479B-9C7F-7BE95D661BBB}"/>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9" name="Picture 8" descr="A picture containing text&#10;&#10;Description automatically generated">
            <a:extLst>
              <a:ext uri="{FF2B5EF4-FFF2-40B4-BE49-F238E27FC236}">
                <a16:creationId xmlns:a16="http://schemas.microsoft.com/office/drawing/2014/main" id="{A215C56A-2109-EF96-2CB6-EAF81E9FA557}"/>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598679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6F37013D-F4BD-4229-ACB0-BB801AA656F4}"/>
              </a:ext>
            </a:extLst>
          </p:cNvPr>
          <p:cNvSpPr/>
          <p:nvPr userDrawn="1"/>
        </p:nvSpPr>
        <p:spPr>
          <a:xfrm>
            <a:off x="10410816" y="4145459"/>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57BD084-6612-40F9-9686-34BE30773C72}"/>
              </a:ext>
            </a:extLst>
          </p:cNvPr>
          <p:cNvSpPr/>
          <p:nvPr userDrawn="1"/>
        </p:nvSpPr>
        <p:spPr>
          <a:xfrm>
            <a:off x="8358188" y="4431445"/>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838200" y="2280746"/>
            <a:ext cx="10772607" cy="3694604"/>
          </a:xfrm>
          <a:prstGeom prst="rect">
            <a:avLst/>
          </a:prstGeom>
        </p:spPr>
        <p:txBody>
          <a:bodyPr/>
          <a:lstStyle>
            <a:lvl1pPr marL="457200" indent="-4572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marL="8001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marL="12573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marL="16573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marL="21145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F3712963-2A3C-B241-A3E1-2B9C01EE4E10}"/>
              </a:ext>
            </a:extLst>
          </p:cNvPr>
          <p:cNvSpPr>
            <a:spLocks noGrp="1"/>
          </p:cNvSpPr>
          <p:nvPr>
            <p:ph type="title"/>
          </p:nvPr>
        </p:nvSpPr>
        <p:spPr>
          <a:xfrm>
            <a:off x="838199" y="684951"/>
            <a:ext cx="10772607" cy="685909"/>
          </a:xfrm>
          <a:prstGeom prst="rect">
            <a:avLst/>
          </a:prstGeom>
        </p:spPr>
        <p:txBody>
          <a:bodyPr/>
          <a:lstStyle/>
          <a:p>
            <a:r>
              <a:rPr lang="en-US"/>
              <a:t>Click to edit Master title style</a:t>
            </a:r>
          </a:p>
        </p:txBody>
      </p:sp>
      <p:sp>
        <p:nvSpPr>
          <p:cNvPr id="11" name="Espace réservé du texte 18">
            <a:extLst>
              <a:ext uri="{FF2B5EF4-FFF2-40B4-BE49-F238E27FC236}">
                <a16:creationId xmlns:a16="http://schemas.microsoft.com/office/drawing/2014/main" id="{8E556A04-02B5-FB47-9D95-CBD27EE0741A}"/>
              </a:ext>
            </a:extLst>
          </p:cNvPr>
          <p:cNvSpPr>
            <a:spLocks noGrp="1"/>
          </p:cNvSpPr>
          <p:nvPr>
            <p:ph type="body" sz="quarter" idx="13" hasCustomPrompt="1"/>
          </p:nvPr>
        </p:nvSpPr>
        <p:spPr>
          <a:xfrm>
            <a:off x="838199" y="1370860"/>
            <a:ext cx="10772607"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pic>
        <p:nvPicPr>
          <p:cNvPr id="8" name="Picture 7" descr="Shape&#10;&#10;Description automatically generated with medium confidence">
            <a:extLst>
              <a:ext uri="{FF2B5EF4-FFF2-40B4-BE49-F238E27FC236}">
                <a16:creationId xmlns:a16="http://schemas.microsoft.com/office/drawing/2014/main" id="{4A87F4EE-0DC0-A847-9686-0F4FF133857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8193E902-BBA8-48B7-BEEF-8E55A73C14F5}"/>
              </a:ext>
            </a:extLst>
          </p:cNvPr>
          <p:cNvSpPr>
            <a:spLocks noGrp="1"/>
          </p:cNvSpPr>
          <p:nvPr>
            <p:ph type="ftr" sz="quarter" idx="14"/>
          </p:nvPr>
        </p:nvSpPr>
        <p:spPr>
          <a:xfrm>
            <a:off x="7239000" y="6356350"/>
            <a:ext cx="4114800" cy="365125"/>
          </a:xfrm>
          <a:prstGeom prst="rect">
            <a:avLst/>
          </a:prstGeom>
        </p:spPr>
        <p:txBody>
          <a:bodyPr/>
          <a:lstStyle/>
          <a:p>
            <a:pPr algn="r"/>
            <a:r>
              <a:rPr lang="en-US">
                <a:solidFill>
                  <a:schemeClr val="tx1"/>
                </a:solidFill>
                <a:ea typeface="Times New Roman" panose="02020603050405020304" pitchFamily="18" charset="0"/>
              </a:rPr>
              <a:t>Proprietary &amp; Confidential</a:t>
            </a:r>
            <a:endParaRPr lang="en-US" dirty="0">
              <a:solidFill>
                <a:schemeClr val="tx1"/>
              </a:solidFill>
            </a:endParaRPr>
          </a:p>
        </p:txBody>
      </p:sp>
      <p:sp>
        <p:nvSpPr>
          <p:cNvPr id="13" name="Rectangle 12">
            <a:extLst>
              <a:ext uri="{FF2B5EF4-FFF2-40B4-BE49-F238E27FC236}">
                <a16:creationId xmlns:a16="http://schemas.microsoft.com/office/drawing/2014/main" id="{F3CA9850-C4AA-AF6C-450E-A00008070309}"/>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782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_Photo_Kitchen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indoor, cabinet, kitchen, floor&#10;&#10;Description automatically generated">
            <a:extLst>
              <a:ext uri="{FF2B5EF4-FFF2-40B4-BE49-F238E27FC236}">
                <a16:creationId xmlns:a16="http://schemas.microsoft.com/office/drawing/2014/main" id="{2BB2307F-2F11-E340-BAF2-52DB81E3DC8F}"/>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97424"/>
          </a:xfrm>
          <a:prstGeom prst="rect">
            <a:avLst/>
          </a:prstGeom>
        </p:spPr>
      </p:pic>
      <p:sp>
        <p:nvSpPr>
          <p:cNvPr id="2" name="Footer Placeholder 1">
            <a:extLst>
              <a:ext uri="{FF2B5EF4-FFF2-40B4-BE49-F238E27FC236}">
                <a16:creationId xmlns:a16="http://schemas.microsoft.com/office/drawing/2014/main" id="{F93874F7-B661-449F-B432-BF7ADD4E8CB6}"/>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C7585282-93D5-AC62-6D57-00111175E5D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2108798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_Photo_Resi">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15" name="Picture 14" descr="A picture containing grass, outdoor, house, building&#10;&#10;Description automatically generated">
            <a:extLst>
              <a:ext uri="{FF2B5EF4-FFF2-40B4-BE49-F238E27FC236}">
                <a16:creationId xmlns:a16="http://schemas.microsoft.com/office/drawing/2014/main" id="{A2361D06-6695-F940-9949-9B1BD9A885E6}"/>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79762"/>
            <a:ext cx="12192000" cy="2768400"/>
          </a:xfrm>
          <a:prstGeom prst="rect">
            <a:avLst/>
          </a:prstGeom>
        </p:spPr>
      </p:pic>
      <p:sp>
        <p:nvSpPr>
          <p:cNvPr id="2" name="Footer Placeholder 1">
            <a:extLst>
              <a:ext uri="{FF2B5EF4-FFF2-40B4-BE49-F238E27FC236}">
                <a16:creationId xmlns:a16="http://schemas.microsoft.com/office/drawing/2014/main" id="{B4F0B7CF-8693-47D5-88D8-B11F6060DA1D}"/>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D597034D-A739-3287-CEDB-9F9F0C53A9D5}"/>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468398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_Photo_Resi2">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15" name="Picture 14" descr="A row of houses&#10;&#10;Description automatically generated with medium confidence">
            <a:extLst>
              <a:ext uri="{FF2B5EF4-FFF2-40B4-BE49-F238E27FC236}">
                <a16:creationId xmlns:a16="http://schemas.microsoft.com/office/drawing/2014/main" id="{A7344BE8-73AC-6944-B68A-027CB89FF43D}"/>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993E6897-60FC-4C59-BD84-FA130EC3EE51}"/>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8" name="Picture 7" descr="A picture containing text&#10;&#10;Description automatically generated">
            <a:extLst>
              <a:ext uri="{FF2B5EF4-FFF2-40B4-BE49-F238E27FC236}">
                <a16:creationId xmlns:a16="http://schemas.microsoft.com/office/drawing/2014/main" id="{F1488D86-3553-69B9-B4A9-12A05FD70F86}"/>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412005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_Photo_OfficeP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9" name="Picture 8" descr="A picture containing text, sky, outdoor, resort&#10;&#10;Description automatically generated">
            <a:extLst>
              <a:ext uri="{FF2B5EF4-FFF2-40B4-BE49-F238E27FC236}">
                <a16:creationId xmlns:a16="http://schemas.microsoft.com/office/drawing/2014/main" id="{42B23F03-0690-2146-9736-27158A9AEBB8}"/>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0" y="1365250"/>
            <a:ext cx="12192000" cy="2768400"/>
          </a:xfrm>
          <a:prstGeom prst="rect">
            <a:avLst/>
          </a:prstGeom>
        </p:spPr>
      </p:pic>
      <p:sp>
        <p:nvSpPr>
          <p:cNvPr id="2" name="Footer Placeholder 1">
            <a:extLst>
              <a:ext uri="{FF2B5EF4-FFF2-40B4-BE49-F238E27FC236}">
                <a16:creationId xmlns:a16="http://schemas.microsoft.com/office/drawing/2014/main" id="{1FD93793-448D-45A3-8644-453D0355CB10}"/>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12" name="Picture 11" descr="A picture containing text&#10;&#10;Description automatically generated">
            <a:extLst>
              <a:ext uri="{FF2B5EF4-FFF2-40B4-BE49-F238E27FC236}">
                <a16:creationId xmlns:a16="http://schemas.microsoft.com/office/drawing/2014/main" id="{EEA9A3A9-7D09-2059-2E66-CDB09D7FFFBB}"/>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400251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_Photo_OfficePar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EEC0126B-2D0E-49FE-9BFF-639A50BF4733}"/>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4" name="Espace réservé du texte 18">
            <a:extLst>
              <a:ext uri="{FF2B5EF4-FFF2-40B4-BE49-F238E27FC236}">
                <a16:creationId xmlns:a16="http://schemas.microsoft.com/office/drawing/2014/main" id="{FC1372AD-3ADB-4E39-8C9A-EADC9CAADC51}"/>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sp>
        <p:nvSpPr>
          <p:cNvPr id="2" name="Footer Placeholder 1">
            <a:extLst>
              <a:ext uri="{FF2B5EF4-FFF2-40B4-BE49-F238E27FC236}">
                <a16:creationId xmlns:a16="http://schemas.microsoft.com/office/drawing/2014/main" id="{1FD93793-448D-45A3-8644-453D0355CB10}"/>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pic>
        <p:nvPicPr>
          <p:cNvPr id="12" name="Picture 11" descr="A picture containing text&#10;&#10;Description automatically generated">
            <a:extLst>
              <a:ext uri="{FF2B5EF4-FFF2-40B4-BE49-F238E27FC236}">
                <a16:creationId xmlns:a16="http://schemas.microsoft.com/office/drawing/2014/main" id="{EEA9A3A9-7D09-2059-2E66-CDB09D7FFFBB}"/>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pic>
        <p:nvPicPr>
          <p:cNvPr id="11" name="Picture 10" descr="A group of people walking in a building&#10;&#10;Description automatically generated with low confidence">
            <a:extLst>
              <a:ext uri="{FF2B5EF4-FFF2-40B4-BE49-F238E27FC236}">
                <a16:creationId xmlns:a16="http://schemas.microsoft.com/office/drawing/2014/main" id="{386CD814-1AB5-F5BE-4A65-342F496FCA68}"/>
              </a:ext>
            </a:extLst>
          </p:cNvPr>
          <p:cNvPicPr>
            <a:picLocks noChangeAspect="1"/>
          </p:cNvPicPr>
          <p:nvPr userDrawn="1"/>
        </p:nvPicPr>
        <p:blipFill rotWithShape="1">
          <a:blip r:embed="rId4" cstate="screen">
            <a:extLst>
              <a:ext uri="{28A0092B-C50C-407E-A947-70E740481C1C}">
                <a14:useLocalDpi xmlns:a14="http://schemas.microsoft.com/office/drawing/2010/main" val="0"/>
              </a:ext>
            </a:extLst>
          </a:blip>
          <a:srcRect/>
          <a:stretch/>
        </p:blipFill>
        <p:spPr>
          <a:xfrm>
            <a:off x="-1" y="1365250"/>
            <a:ext cx="12191999" cy="2768400"/>
          </a:xfrm>
          <a:prstGeom prst="rect">
            <a:avLst/>
          </a:prstGeom>
        </p:spPr>
      </p:pic>
    </p:spTree>
    <p:custDataLst>
      <p:tags r:id="rId1"/>
    </p:custDataLst>
    <p:extLst>
      <p:ext uri="{BB962C8B-B14F-4D97-AF65-F5344CB8AC3E}">
        <p14:creationId xmlns:p14="http://schemas.microsoft.com/office/powerpoint/2010/main" val="427593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_Photo_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9471F63-DFD5-43C7-B429-E8938F97141E}"/>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Espace réservé pour une image  13">
            <a:extLst>
              <a:ext uri="{FF2B5EF4-FFF2-40B4-BE49-F238E27FC236}">
                <a16:creationId xmlns:a16="http://schemas.microsoft.com/office/drawing/2014/main" id="{C9B85BCE-9D22-478B-A26F-3492386D17B4}"/>
              </a:ext>
            </a:extLst>
          </p:cNvPr>
          <p:cNvSpPr>
            <a:spLocks noGrp="1"/>
          </p:cNvSpPr>
          <p:nvPr>
            <p:ph type="pic" sz="quarter" idx="14"/>
          </p:nvPr>
        </p:nvSpPr>
        <p:spPr>
          <a:xfrm>
            <a:off x="0" y="1365250"/>
            <a:ext cx="12192000" cy="2768763"/>
          </a:xfrm>
        </p:spPr>
        <p:txBody>
          <a:bodyPr/>
          <a:lstStyle>
            <a:lvl1pPr marL="0" indent="0">
              <a:buNone/>
              <a:defRPr/>
            </a:lvl1pPr>
          </a:lstStyle>
          <a:p>
            <a:r>
              <a:rPr lang="en-US"/>
              <a:t>Click icon to add picture</a:t>
            </a:r>
            <a:endParaRPr lang="fr-FR"/>
          </a:p>
        </p:txBody>
      </p:sp>
      <p:sp>
        <p:nvSpPr>
          <p:cNvPr id="15" name="Title 1">
            <a:extLst>
              <a:ext uri="{FF2B5EF4-FFF2-40B4-BE49-F238E27FC236}">
                <a16:creationId xmlns:a16="http://schemas.microsoft.com/office/drawing/2014/main" id="{E1350C2E-FA37-4CEF-A063-13FFF26D1F2A}"/>
              </a:ext>
            </a:extLst>
          </p:cNvPr>
          <p:cNvSpPr>
            <a:spLocks noGrp="1"/>
          </p:cNvSpPr>
          <p:nvPr>
            <p:ph type="title" hasCustomPrompt="1"/>
          </p:nvPr>
        </p:nvSpPr>
        <p:spPr>
          <a:xfrm>
            <a:off x="838200" y="4431278"/>
            <a:ext cx="10515600" cy="1325563"/>
          </a:xfrm>
          <a:prstGeom prst="rect">
            <a:avLst/>
          </a:prstGeom>
        </p:spPr>
        <p:txBody>
          <a:bodyPr/>
          <a:lstStyle>
            <a:lvl1pPr>
              <a:defRPr/>
            </a:lvl1pPr>
          </a:lstStyle>
          <a:p>
            <a:r>
              <a:rPr lang="en-US"/>
              <a:t>Click to insert title here</a:t>
            </a:r>
            <a:br>
              <a:rPr lang="en-US"/>
            </a:br>
            <a:r>
              <a:rPr lang="en-US"/>
              <a:t>(two lines max)</a:t>
            </a:r>
          </a:p>
        </p:txBody>
      </p:sp>
      <p:sp>
        <p:nvSpPr>
          <p:cNvPr id="16" name="Espace réservé du texte 18">
            <a:extLst>
              <a:ext uri="{FF2B5EF4-FFF2-40B4-BE49-F238E27FC236}">
                <a16:creationId xmlns:a16="http://schemas.microsoft.com/office/drawing/2014/main" id="{C8B74A2B-94E2-4C44-AA3F-1EE8FDBC5C98}"/>
              </a:ext>
            </a:extLst>
          </p:cNvPr>
          <p:cNvSpPr>
            <a:spLocks noGrp="1"/>
          </p:cNvSpPr>
          <p:nvPr>
            <p:ph type="body" sz="quarter" idx="13" hasCustomPrompt="1"/>
          </p:nvPr>
        </p:nvSpPr>
        <p:spPr>
          <a:xfrm>
            <a:off x="838200" y="5785865"/>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Click to insert subtitle (one line max)</a:t>
            </a:r>
          </a:p>
        </p:txBody>
      </p:sp>
      <p:pic>
        <p:nvPicPr>
          <p:cNvPr id="12" name="Picture 11" descr="A picture containing text&#10;&#10;Description automatically generated">
            <a:extLst>
              <a:ext uri="{FF2B5EF4-FFF2-40B4-BE49-F238E27FC236}">
                <a16:creationId xmlns:a16="http://schemas.microsoft.com/office/drawing/2014/main" id="{8342E4C4-9717-F89B-9E81-0405923F8AEE}"/>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378795" y="183997"/>
            <a:ext cx="1761970" cy="246676"/>
          </a:xfrm>
          <a:prstGeom prst="rect">
            <a:avLst/>
          </a:prstGeom>
        </p:spPr>
      </p:pic>
    </p:spTree>
    <p:custDataLst>
      <p:tags r:id="rId1"/>
    </p:custDataLst>
    <p:extLst>
      <p:ext uri="{BB962C8B-B14F-4D97-AF65-F5344CB8AC3E}">
        <p14:creationId xmlns:p14="http://schemas.microsoft.com/office/powerpoint/2010/main" val="3430466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Photo Right">
    <p:spTree>
      <p:nvGrpSpPr>
        <p:cNvPr id="1" name=""/>
        <p:cNvGrpSpPr/>
        <p:nvPr/>
      </p:nvGrpSpPr>
      <p:grpSpPr>
        <a:xfrm>
          <a:off x="0" y="0"/>
          <a:ext cx="0" cy="0"/>
          <a:chOff x="0" y="0"/>
          <a:chExt cx="0" cy="0"/>
        </a:xfrm>
      </p:grpSpPr>
      <p:sp>
        <p:nvSpPr>
          <p:cNvPr id="14" name="Espace réservé pour une image  13">
            <a:extLst>
              <a:ext uri="{FF2B5EF4-FFF2-40B4-BE49-F238E27FC236}">
                <a16:creationId xmlns:a16="http://schemas.microsoft.com/office/drawing/2014/main" id="{ABB7766A-0B99-3543-A3B8-094A21E1A19B}"/>
              </a:ext>
            </a:extLst>
          </p:cNvPr>
          <p:cNvSpPr>
            <a:spLocks noGrp="1"/>
          </p:cNvSpPr>
          <p:nvPr>
            <p:ph type="pic" sz="quarter" idx="11"/>
          </p:nvPr>
        </p:nvSpPr>
        <p:spPr>
          <a:xfrm>
            <a:off x="7331825" y="8313"/>
            <a:ext cx="4880258" cy="6858000"/>
          </a:xfrm>
        </p:spPr>
        <p:txBody>
          <a:bodyPr/>
          <a:lstStyle>
            <a:lvl1pPr marL="0" indent="0">
              <a:buNone/>
              <a:defRPr/>
            </a:lvl1pPr>
          </a:lstStyle>
          <a:p>
            <a:r>
              <a:rPr lang="en-US"/>
              <a:t>Click icon to add picture</a:t>
            </a:r>
            <a:endParaRPr lang="fr-FR"/>
          </a:p>
        </p:txBody>
      </p:sp>
      <p:sp>
        <p:nvSpPr>
          <p:cNvPr id="17" name="Titre 16">
            <a:extLst>
              <a:ext uri="{FF2B5EF4-FFF2-40B4-BE49-F238E27FC236}">
                <a16:creationId xmlns:a16="http://schemas.microsoft.com/office/drawing/2014/main" id="{E861C677-01AD-0542-851A-A8CEC029D0DE}"/>
              </a:ext>
            </a:extLst>
          </p:cNvPr>
          <p:cNvSpPr>
            <a:spLocks noGrp="1"/>
          </p:cNvSpPr>
          <p:nvPr>
            <p:ph type="title" hasCustomPrompt="1"/>
          </p:nvPr>
        </p:nvSpPr>
        <p:spPr>
          <a:xfrm>
            <a:off x="1127624" y="3274755"/>
            <a:ext cx="4968611" cy="859258"/>
          </a:xfrm>
        </p:spPr>
        <p:txBody>
          <a:bodyPr/>
          <a:lstStyle>
            <a:lvl1pPr>
              <a:defRPr>
                <a:solidFill>
                  <a:srgbClr val="495965"/>
                </a:solidFill>
              </a:defRPr>
            </a:lvl1pPr>
          </a:lstStyle>
          <a:p>
            <a:r>
              <a:rPr lang="en-US"/>
              <a:t>Click to insert title (two lines max)</a:t>
            </a:r>
            <a:endParaRPr lang="fr-FR"/>
          </a:p>
        </p:txBody>
      </p:sp>
      <p:sp>
        <p:nvSpPr>
          <p:cNvPr id="19" name="Espace réservé du texte 18">
            <a:extLst>
              <a:ext uri="{FF2B5EF4-FFF2-40B4-BE49-F238E27FC236}">
                <a16:creationId xmlns:a16="http://schemas.microsoft.com/office/drawing/2014/main" id="{C236EB42-FC2C-4949-B906-2867B540949E}"/>
              </a:ext>
            </a:extLst>
          </p:cNvPr>
          <p:cNvSpPr>
            <a:spLocks noGrp="1"/>
          </p:cNvSpPr>
          <p:nvPr>
            <p:ph type="body" sz="quarter" idx="12" hasCustomPrompt="1"/>
          </p:nvPr>
        </p:nvSpPr>
        <p:spPr>
          <a:xfrm>
            <a:off x="1127389" y="4518696"/>
            <a:ext cx="4968611" cy="1291900"/>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rgbClr val="007239"/>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 </a:t>
            </a:r>
          </a:p>
        </p:txBody>
      </p:sp>
      <p:sp>
        <p:nvSpPr>
          <p:cNvPr id="13" name="Rectangle 12">
            <a:extLst>
              <a:ext uri="{FF2B5EF4-FFF2-40B4-BE49-F238E27FC236}">
                <a16:creationId xmlns:a16="http://schemas.microsoft.com/office/drawing/2014/main" id="{EA24434D-99B1-4DBF-B1B6-1BC0B35CBC3A}"/>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7890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p:bg>
      <p:bgPr>
        <a:solidFill>
          <a:schemeClr val="tx1"/>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6A5E78F-FD5F-41C1-8CD2-C8903C7C5892}"/>
              </a:ext>
            </a:extLst>
          </p:cNvPr>
          <p:cNvSpPr txBox="1"/>
          <p:nvPr userDrawn="1"/>
        </p:nvSpPr>
        <p:spPr>
          <a:xfrm>
            <a:off x="1654628" y="2736502"/>
            <a:ext cx="8882743"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u="none" strike="noStrike">
                <a:solidFill>
                  <a:schemeClr val="bg1"/>
                </a:solidFill>
                <a:effectLst/>
                <a:latin typeface="Arial" panose="020B0604020202020204" pitchFamily="34" charset="0"/>
                <a:ea typeface="Roboto Light" panose="02000000000000000000" pitchFamily="2" charset="0"/>
              </a:rPr>
              <a:t>We use technology to solve problem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u="none" strike="noStrike">
                <a:solidFill>
                  <a:schemeClr val="bg1"/>
                </a:solidFill>
                <a:effectLst/>
                <a:latin typeface="Arial" panose="020B0604020202020204" pitchFamily="34" charset="0"/>
                <a:ea typeface="Roboto Light" panose="02000000000000000000" pitchFamily="2" charset="0"/>
              </a:rPr>
              <a:t>in spaces, light and more things to come…</a:t>
            </a:r>
            <a:endParaRPr lang="en-US" sz="2800">
              <a:solidFill>
                <a:schemeClr val="bg1"/>
              </a:solidFill>
              <a:latin typeface="Arial" panose="020B0604020202020204" pitchFamily="34" charset="0"/>
              <a:ea typeface="Roboto Light" panose="02000000000000000000"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a:solidFill>
                  <a:schemeClr val="bg1"/>
                </a:solidFill>
                <a:latin typeface="Arial"/>
                <a:ea typeface="Roboto Light"/>
                <a:cs typeface="Arial"/>
              </a:rPr>
              <a:t>for</a:t>
            </a:r>
            <a:r>
              <a:rPr lang="en-US" sz="2800" u="none" strike="noStrike">
                <a:solidFill>
                  <a:schemeClr val="bg1"/>
                </a:solidFill>
                <a:effectLst/>
                <a:latin typeface="Arial"/>
                <a:ea typeface="Roboto Light"/>
                <a:cs typeface="Arial"/>
              </a:rPr>
              <a:t> our customers, our communities</a:t>
            </a:r>
            <a:r>
              <a:rPr lang="en-US" sz="2800">
                <a:solidFill>
                  <a:schemeClr val="bg1"/>
                </a:solidFill>
                <a:latin typeface="Arial"/>
                <a:ea typeface="Roboto Light"/>
                <a:cs typeface="Arial"/>
              </a:rPr>
              <a:t>,</a:t>
            </a:r>
            <a:r>
              <a:rPr lang="en-US" sz="2800" u="none" strike="noStrike">
                <a:solidFill>
                  <a:schemeClr val="bg1"/>
                </a:solidFill>
                <a:effectLst/>
                <a:latin typeface="Arial"/>
                <a:ea typeface="Roboto Light"/>
                <a:cs typeface="Arial"/>
              </a:rPr>
              <a:t> and our planet.</a:t>
            </a:r>
            <a:r>
              <a:rPr lang="en-US" sz="2800">
                <a:solidFill>
                  <a:schemeClr val="bg1"/>
                </a:solidFill>
                <a:effectLst/>
                <a:latin typeface="Arial"/>
                <a:ea typeface="Roboto Light"/>
                <a:cs typeface="Arial"/>
              </a:rPr>
              <a:t>​</a:t>
            </a:r>
            <a:endParaRPr lang="en-US" sz="2800" u="none" strike="noStrike" kern="1200" cap="none" spc="0" normalizeH="0" baseline="0" noProof="0">
              <a:ln>
                <a:noFill/>
              </a:ln>
              <a:solidFill>
                <a:schemeClr val="bg1"/>
              </a:solidFill>
              <a:effectLst/>
              <a:uLnTx/>
              <a:uFillTx/>
              <a:latin typeface="Arial"/>
              <a:ea typeface="Roboto Light"/>
              <a:cs typeface="Arial"/>
            </a:endParaRPr>
          </a:p>
        </p:txBody>
      </p:sp>
      <p:sp>
        <p:nvSpPr>
          <p:cNvPr id="7" name="TextBox 6">
            <a:extLst>
              <a:ext uri="{FF2B5EF4-FFF2-40B4-BE49-F238E27FC236}">
                <a16:creationId xmlns:a16="http://schemas.microsoft.com/office/drawing/2014/main" id="{226874B7-793C-4171-A642-461251A315C3}"/>
              </a:ext>
            </a:extLst>
          </p:cNvPr>
          <p:cNvSpPr txBox="1"/>
          <p:nvPr userDrawn="1"/>
        </p:nvSpPr>
        <p:spPr>
          <a:xfrm>
            <a:off x="231519" y="219445"/>
            <a:ext cx="7207448" cy="1579401"/>
          </a:xfrm>
          <a:custGeom>
            <a:avLst/>
            <a:gdLst/>
            <a:ahLst/>
            <a:cxnLst/>
            <a:rect l="l" t="t" r="r" b="b"/>
            <a:pathLst>
              <a:path w="7207448" h="1579401">
                <a:moveTo>
                  <a:pt x="610223" y="89490"/>
                </a:moveTo>
                <a:lnTo>
                  <a:pt x="254880" y="1042025"/>
                </a:lnTo>
                <a:lnTo>
                  <a:pt x="965566" y="1042025"/>
                </a:lnTo>
                <a:close/>
                <a:moveTo>
                  <a:pt x="5991225" y="21115"/>
                </a:moveTo>
                <a:lnTo>
                  <a:pt x="6067239" y="21115"/>
                </a:lnTo>
                <a:lnTo>
                  <a:pt x="6599336" y="922725"/>
                </a:lnTo>
                <a:lnTo>
                  <a:pt x="7137769" y="21115"/>
                </a:lnTo>
                <a:lnTo>
                  <a:pt x="7207448" y="21115"/>
                </a:lnTo>
                <a:lnTo>
                  <a:pt x="6627842" y="974457"/>
                </a:lnTo>
                <a:lnTo>
                  <a:pt x="6627842" y="1558286"/>
                </a:lnTo>
                <a:lnTo>
                  <a:pt x="6570831" y="1558286"/>
                </a:lnTo>
                <a:lnTo>
                  <a:pt x="6570831" y="974457"/>
                </a:lnTo>
                <a:close/>
                <a:moveTo>
                  <a:pt x="4719051" y="21115"/>
                </a:moveTo>
                <a:lnTo>
                  <a:pt x="5278598" y="21115"/>
                </a:lnTo>
                <a:lnTo>
                  <a:pt x="5335609" y="21115"/>
                </a:lnTo>
                <a:lnTo>
                  <a:pt x="5895156" y="21115"/>
                </a:lnTo>
                <a:lnTo>
                  <a:pt x="5895156" y="78125"/>
                </a:lnTo>
                <a:lnTo>
                  <a:pt x="5335609" y="78125"/>
                </a:lnTo>
                <a:lnTo>
                  <a:pt x="5335609" y="1558286"/>
                </a:lnTo>
                <a:lnTo>
                  <a:pt x="5278598" y="1558286"/>
                </a:lnTo>
                <a:lnTo>
                  <a:pt x="5278598" y="78125"/>
                </a:lnTo>
                <a:lnTo>
                  <a:pt x="4719051" y="78125"/>
                </a:lnTo>
                <a:close/>
                <a:moveTo>
                  <a:pt x="4352390" y="21115"/>
                </a:moveTo>
                <a:lnTo>
                  <a:pt x="4409401" y="21115"/>
                </a:lnTo>
                <a:lnTo>
                  <a:pt x="4409401" y="1558286"/>
                </a:lnTo>
                <a:lnTo>
                  <a:pt x="4352390" y="1558286"/>
                </a:lnTo>
                <a:close/>
                <a:moveTo>
                  <a:pt x="2856049" y="21115"/>
                </a:moveTo>
                <a:lnTo>
                  <a:pt x="2913059" y="21115"/>
                </a:lnTo>
                <a:lnTo>
                  <a:pt x="2913059" y="1063140"/>
                </a:lnTo>
                <a:cubicBezTo>
                  <a:pt x="2913059" y="1161676"/>
                  <a:pt x="2933646" y="1245256"/>
                  <a:pt x="2974821" y="1313880"/>
                </a:cubicBezTo>
                <a:cubicBezTo>
                  <a:pt x="3015995" y="1382504"/>
                  <a:pt x="3071950" y="1434411"/>
                  <a:pt x="3142685" y="1469603"/>
                </a:cubicBezTo>
                <a:cubicBezTo>
                  <a:pt x="3213420" y="1504795"/>
                  <a:pt x="3293129" y="1522391"/>
                  <a:pt x="3381812" y="1522391"/>
                </a:cubicBezTo>
                <a:cubicBezTo>
                  <a:pt x="3470496" y="1522391"/>
                  <a:pt x="3550204" y="1504795"/>
                  <a:pt x="3620939" y="1469603"/>
                </a:cubicBezTo>
                <a:cubicBezTo>
                  <a:pt x="3691675" y="1434411"/>
                  <a:pt x="3747453" y="1382504"/>
                  <a:pt x="3788276" y="1313880"/>
                </a:cubicBezTo>
                <a:cubicBezTo>
                  <a:pt x="3829098" y="1245256"/>
                  <a:pt x="3849509" y="1161676"/>
                  <a:pt x="3849509" y="1063140"/>
                </a:cubicBezTo>
                <a:lnTo>
                  <a:pt x="3849509" y="21115"/>
                </a:lnTo>
                <a:lnTo>
                  <a:pt x="3906520" y="21115"/>
                </a:lnTo>
                <a:lnTo>
                  <a:pt x="3906520" y="1063140"/>
                </a:lnTo>
                <a:cubicBezTo>
                  <a:pt x="3906520" y="1177864"/>
                  <a:pt x="3883645" y="1273586"/>
                  <a:pt x="3837896" y="1350303"/>
                </a:cubicBezTo>
                <a:cubicBezTo>
                  <a:pt x="3792147" y="1427021"/>
                  <a:pt x="3729682" y="1484384"/>
                  <a:pt x="3650500" y="1522391"/>
                </a:cubicBezTo>
                <a:cubicBezTo>
                  <a:pt x="3571319" y="1560398"/>
                  <a:pt x="3481756" y="1579401"/>
                  <a:pt x="3381812" y="1579401"/>
                </a:cubicBezTo>
                <a:cubicBezTo>
                  <a:pt x="3281868" y="1579401"/>
                  <a:pt x="3192305" y="1560398"/>
                  <a:pt x="3113124" y="1522391"/>
                </a:cubicBezTo>
                <a:cubicBezTo>
                  <a:pt x="3033943" y="1484384"/>
                  <a:pt x="2971302" y="1427021"/>
                  <a:pt x="2925201" y="1350303"/>
                </a:cubicBezTo>
                <a:cubicBezTo>
                  <a:pt x="2879100" y="1273586"/>
                  <a:pt x="2856049" y="1177864"/>
                  <a:pt x="2856049" y="1063140"/>
                </a:cubicBezTo>
                <a:close/>
                <a:moveTo>
                  <a:pt x="575383" y="21115"/>
                </a:moveTo>
                <a:lnTo>
                  <a:pt x="591220" y="21115"/>
                </a:lnTo>
                <a:lnTo>
                  <a:pt x="630282" y="21115"/>
                </a:lnTo>
                <a:lnTo>
                  <a:pt x="645063" y="21115"/>
                </a:lnTo>
                <a:lnTo>
                  <a:pt x="1220447" y="1558286"/>
                </a:lnTo>
                <a:lnTo>
                  <a:pt x="1158157" y="1558286"/>
                </a:lnTo>
                <a:lnTo>
                  <a:pt x="986834" y="1099035"/>
                </a:lnTo>
                <a:lnTo>
                  <a:pt x="233613" y="1099035"/>
                </a:lnTo>
                <a:lnTo>
                  <a:pt x="62289" y="1558286"/>
                </a:lnTo>
                <a:lnTo>
                  <a:pt x="0" y="1558286"/>
                </a:lnTo>
                <a:close/>
                <a:moveTo>
                  <a:pt x="1968968" y="0"/>
                </a:moveTo>
                <a:cubicBezTo>
                  <a:pt x="2071728" y="0"/>
                  <a:pt x="2162346" y="17947"/>
                  <a:pt x="2240824" y="53843"/>
                </a:cubicBezTo>
                <a:cubicBezTo>
                  <a:pt x="2319301" y="89738"/>
                  <a:pt x="2382294" y="143934"/>
                  <a:pt x="2429803" y="216428"/>
                </a:cubicBezTo>
                <a:cubicBezTo>
                  <a:pt x="2477312" y="288923"/>
                  <a:pt x="2506345" y="380070"/>
                  <a:pt x="2516902" y="489868"/>
                </a:cubicBezTo>
                <a:lnTo>
                  <a:pt x="2459892" y="489868"/>
                </a:lnTo>
                <a:cubicBezTo>
                  <a:pt x="2449334" y="395554"/>
                  <a:pt x="2423820" y="316373"/>
                  <a:pt x="2383350" y="252324"/>
                </a:cubicBezTo>
                <a:cubicBezTo>
                  <a:pt x="2342880" y="188275"/>
                  <a:pt x="2287981" y="139711"/>
                  <a:pt x="2218653" y="106630"/>
                </a:cubicBezTo>
                <a:cubicBezTo>
                  <a:pt x="2149325" y="73550"/>
                  <a:pt x="2066097" y="57010"/>
                  <a:pt x="1968968" y="57010"/>
                </a:cubicBezTo>
                <a:cubicBezTo>
                  <a:pt x="1894362" y="57010"/>
                  <a:pt x="1826442" y="71615"/>
                  <a:pt x="1765209" y="100824"/>
                </a:cubicBezTo>
                <a:cubicBezTo>
                  <a:pt x="1703975" y="130033"/>
                  <a:pt x="1651364" y="171735"/>
                  <a:pt x="1607374" y="225930"/>
                </a:cubicBezTo>
                <a:cubicBezTo>
                  <a:pt x="1563385" y="280125"/>
                  <a:pt x="1529425" y="344878"/>
                  <a:pt x="1505494" y="420188"/>
                </a:cubicBezTo>
                <a:cubicBezTo>
                  <a:pt x="1481564" y="495498"/>
                  <a:pt x="1469599" y="579606"/>
                  <a:pt x="1469599" y="672512"/>
                </a:cubicBezTo>
                <a:lnTo>
                  <a:pt x="1469599" y="904777"/>
                </a:lnTo>
                <a:cubicBezTo>
                  <a:pt x="1469599" y="997683"/>
                  <a:pt x="1481564" y="1082143"/>
                  <a:pt x="1505494" y="1158157"/>
                </a:cubicBezTo>
                <a:cubicBezTo>
                  <a:pt x="1529425" y="1234171"/>
                  <a:pt x="1563385" y="1299276"/>
                  <a:pt x="1607374" y="1353471"/>
                </a:cubicBezTo>
                <a:cubicBezTo>
                  <a:pt x="1651364" y="1407666"/>
                  <a:pt x="1703975" y="1449368"/>
                  <a:pt x="1765209" y="1478577"/>
                </a:cubicBezTo>
                <a:cubicBezTo>
                  <a:pt x="1826442" y="1507786"/>
                  <a:pt x="1894362" y="1522391"/>
                  <a:pt x="1968968" y="1522391"/>
                </a:cubicBezTo>
                <a:cubicBezTo>
                  <a:pt x="2063986" y="1522391"/>
                  <a:pt x="2146334" y="1507082"/>
                  <a:pt x="2216014" y="1476466"/>
                </a:cubicBezTo>
                <a:cubicBezTo>
                  <a:pt x="2285693" y="1445849"/>
                  <a:pt x="2341120" y="1398340"/>
                  <a:pt x="2382294" y="1333939"/>
                </a:cubicBezTo>
                <a:cubicBezTo>
                  <a:pt x="2423468" y="1269539"/>
                  <a:pt x="2449334" y="1187366"/>
                  <a:pt x="2459892" y="1087422"/>
                </a:cubicBezTo>
                <a:lnTo>
                  <a:pt x="2516902" y="1087422"/>
                </a:lnTo>
                <a:cubicBezTo>
                  <a:pt x="2506345" y="1197923"/>
                  <a:pt x="2477312" y="1289598"/>
                  <a:pt x="2429803" y="1362445"/>
                </a:cubicBezTo>
                <a:cubicBezTo>
                  <a:pt x="2382294" y="1435291"/>
                  <a:pt x="2319301" y="1489662"/>
                  <a:pt x="2240824" y="1525558"/>
                </a:cubicBezTo>
                <a:cubicBezTo>
                  <a:pt x="2162346" y="1561453"/>
                  <a:pt x="2071728" y="1579401"/>
                  <a:pt x="1968968" y="1579401"/>
                </a:cubicBezTo>
                <a:cubicBezTo>
                  <a:pt x="1884508" y="1579401"/>
                  <a:pt x="1808142" y="1563213"/>
                  <a:pt x="1739871" y="1530837"/>
                </a:cubicBezTo>
                <a:cubicBezTo>
                  <a:pt x="1671599" y="1498460"/>
                  <a:pt x="1613005" y="1452359"/>
                  <a:pt x="1564088" y="1392533"/>
                </a:cubicBezTo>
                <a:cubicBezTo>
                  <a:pt x="1515172" y="1332708"/>
                  <a:pt x="1477693" y="1261444"/>
                  <a:pt x="1451651" y="1178744"/>
                </a:cubicBezTo>
                <a:cubicBezTo>
                  <a:pt x="1425609" y="1096044"/>
                  <a:pt x="1412588" y="1004721"/>
                  <a:pt x="1412588" y="904777"/>
                </a:cubicBezTo>
                <a:lnTo>
                  <a:pt x="1412588" y="674624"/>
                </a:lnTo>
                <a:cubicBezTo>
                  <a:pt x="1412588" y="573976"/>
                  <a:pt x="1425609" y="482477"/>
                  <a:pt x="1451651" y="400129"/>
                </a:cubicBezTo>
                <a:cubicBezTo>
                  <a:pt x="1477693" y="317780"/>
                  <a:pt x="1515172" y="246693"/>
                  <a:pt x="1564088" y="186867"/>
                </a:cubicBezTo>
                <a:cubicBezTo>
                  <a:pt x="1613005" y="127042"/>
                  <a:pt x="1671599" y="80940"/>
                  <a:pt x="1739871" y="48564"/>
                </a:cubicBezTo>
                <a:cubicBezTo>
                  <a:pt x="1808142" y="16188"/>
                  <a:pt x="1884508" y="0"/>
                  <a:pt x="1968968" y="0"/>
                </a:cubicBezTo>
                <a:close/>
              </a:path>
            </a:pathLst>
          </a:custGeom>
          <a:solidFill>
            <a:srgbClr val="5A6E7A"/>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US" sz="17000" b="0" i="0" dirty="0">
              <a:solidFill>
                <a:srgbClr val="5A6E7A"/>
              </a:solidFill>
              <a:latin typeface="Avenir Next LT Pro" panose="020B0504020202020204" pitchFamily="34" charset="0"/>
              <a:ea typeface="Roboto Thin" panose="02000000000000000000" pitchFamily="2" charset="0"/>
            </a:endParaRPr>
          </a:p>
        </p:txBody>
      </p:sp>
      <p:pic>
        <p:nvPicPr>
          <p:cNvPr id="5" name="Picture 4" descr="Logo&#10;&#10;Description automatically generated">
            <a:extLst>
              <a:ext uri="{FF2B5EF4-FFF2-40B4-BE49-F238E27FC236}">
                <a16:creationId xmlns:a16="http://schemas.microsoft.com/office/drawing/2014/main" id="{73CC309C-A9FF-4DBA-83BF-4191E28DF5B6}"/>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9437" y="6448706"/>
            <a:ext cx="1171138" cy="187056"/>
          </a:xfrm>
          <a:prstGeom prst="rect">
            <a:avLst/>
          </a:prstGeom>
        </p:spPr>
      </p:pic>
      <p:sp>
        <p:nvSpPr>
          <p:cNvPr id="10" name="Freeform: Shape 9">
            <a:extLst>
              <a:ext uri="{FF2B5EF4-FFF2-40B4-BE49-F238E27FC236}">
                <a16:creationId xmlns:a16="http://schemas.microsoft.com/office/drawing/2014/main" id="{BA2E2A9D-41FA-436B-B9EC-004AE487D417}"/>
              </a:ext>
            </a:extLst>
          </p:cNvPr>
          <p:cNvSpPr/>
          <p:nvPr userDrawn="1"/>
        </p:nvSpPr>
        <p:spPr>
          <a:xfrm>
            <a:off x="5041373" y="5310556"/>
            <a:ext cx="6996372" cy="1391543"/>
          </a:xfrm>
          <a:custGeom>
            <a:avLst/>
            <a:gdLst/>
            <a:ahLst/>
            <a:cxnLst/>
            <a:rect l="l" t="t" r="r" b="b"/>
            <a:pathLst>
              <a:path w="6996372" h="1391543">
                <a:moveTo>
                  <a:pt x="50229" y="704143"/>
                </a:moveTo>
                <a:lnTo>
                  <a:pt x="50229" y="1322710"/>
                </a:lnTo>
                <a:lnTo>
                  <a:pt x="441833" y="1322710"/>
                </a:lnTo>
                <a:cubicBezTo>
                  <a:pt x="518107" y="1322710"/>
                  <a:pt x="583685" y="1309997"/>
                  <a:pt x="638565" y="1284573"/>
                </a:cubicBezTo>
                <a:cubicBezTo>
                  <a:pt x="693445" y="1259148"/>
                  <a:pt x="735768" y="1222406"/>
                  <a:pt x="765534" y="1174347"/>
                </a:cubicBezTo>
                <a:cubicBezTo>
                  <a:pt x="795300" y="1126288"/>
                  <a:pt x="810183" y="1068772"/>
                  <a:pt x="810183" y="1001799"/>
                </a:cubicBezTo>
                <a:cubicBezTo>
                  <a:pt x="810183" y="949709"/>
                  <a:pt x="797005" y="901030"/>
                  <a:pt x="770650" y="855761"/>
                </a:cubicBezTo>
                <a:cubicBezTo>
                  <a:pt x="744295" y="810493"/>
                  <a:pt x="704453" y="773906"/>
                  <a:pt x="651122" y="746001"/>
                </a:cubicBezTo>
                <a:cubicBezTo>
                  <a:pt x="597792" y="718095"/>
                  <a:pt x="531130" y="704143"/>
                  <a:pt x="451135" y="704143"/>
                </a:cubicBezTo>
                <a:lnTo>
                  <a:pt x="231613" y="704143"/>
                </a:lnTo>
                <a:close/>
                <a:moveTo>
                  <a:pt x="2782602" y="78846"/>
                </a:moveTo>
                <a:lnTo>
                  <a:pt x="2469524" y="918083"/>
                </a:lnTo>
                <a:lnTo>
                  <a:pt x="3095679" y="918083"/>
                </a:lnTo>
                <a:close/>
                <a:moveTo>
                  <a:pt x="4936553" y="68833"/>
                </a:moveTo>
                <a:lnTo>
                  <a:pt x="4936553" y="1322710"/>
                </a:lnTo>
                <a:lnTo>
                  <a:pt x="5261185" y="1322710"/>
                </a:lnTo>
                <a:cubicBezTo>
                  <a:pt x="5358543" y="1322710"/>
                  <a:pt x="5445515" y="1299455"/>
                  <a:pt x="5522099" y="1252947"/>
                </a:cubicBezTo>
                <a:cubicBezTo>
                  <a:pt x="5598683" y="1206438"/>
                  <a:pt x="5659145" y="1142256"/>
                  <a:pt x="5703483" y="1060400"/>
                </a:cubicBezTo>
                <a:cubicBezTo>
                  <a:pt x="5747822" y="978545"/>
                  <a:pt x="5769991" y="884597"/>
                  <a:pt x="5769991" y="778557"/>
                </a:cubicBezTo>
                <a:lnTo>
                  <a:pt x="5769991" y="610195"/>
                </a:lnTo>
                <a:cubicBezTo>
                  <a:pt x="5769991" y="531440"/>
                  <a:pt x="5757279" y="459042"/>
                  <a:pt x="5731853" y="392999"/>
                </a:cubicBezTo>
                <a:cubicBezTo>
                  <a:pt x="5706429" y="326957"/>
                  <a:pt x="5670773" y="269751"/>
                  <a:pt x="5624883" y="221382"/>
                </a:cubicBezTo>
                <a:cubicBezTo>
                  <a:pt x="5578995" y="173012"/>
                  <a:pt x="5525045" y="135495"/>
                  <a:pt x="5463033" y="108830"/>
                </a:cubicBezTo>
                <a:cubicBezTo>
                  <a:pt x="5401021" y="82165"/>
                  <a:pt x="5333739" y="68833"/>
                  <a:pt x="5261185" y="68833"/>
                </a:cubicBezTo>
                <a:close/>
                <a:moveTo>
                  <a:pt x="1198103" y="68833"/>
                </a:moveTo>
                <a:lnTo>
                  <a:pt x="1198103" y="743210"/>
                </a:lnTo>
                <a:lnTo>
                  <a:pt x="1625054" y="743210"/>
                </a:lnTo>
                <a:cubicBezTo>
                  <a:pt x="1702568" y="743210"/>
                  <a:pt x="1767061" y="727087"/>
                  <a:pt x="1818530" y="694841"/>
                </a:cubicBezTo>
                <a:cubicBezTo>
                  <a:pt x="1870000" y="662595"/>
                  <a:pt x="1908757" y="620892"/>
                  <a:pt x="1934802" y="569732"/>
                </a:cubicBezTo>
                <a:cubicBezTo>
                  <a:pt x="1960847" y="518573"/>
                  <a:pt x="1973870" y="465088"/>
                  <a:pt x="1973870" y="409277"/>
                </a:cubicBezTo>
                <a:cubicBezTo>
                  <a:pt x="1973870" y="337964"/>
                  <a:pt x="1957746" y="277037"/>
                  <a:pt x="1925501" y="226498"/>
                </a:cubicBezTo>
                <a:cubicBezTo>
                  <a:pt x="1893254" y="175958"/>
                  <a:pt x="1847521" y="137046"/>
                  <a:pt x="1788300" y="109761"/>
                </a:cubicBezTo>
                <a:cubicBezTo>
                  <a:pt x="1729078" y="82475"/>
                  <a:pt x="1659470" y="68833"/>
                  <a:pt x="1579475" y="68833"/>
                </a:cubicBezTo>
                <a:close/>
                <a:moveTo>
                  <a:pt x="50229" y="68833"/>
                </a:moveTo>
                <a:lnTo>
                  <a:pt x="50229" y="653913"/>
                </a:lnTo>
                <a:lnTo>
                  <a:pt x="233474" y="653913"/>
                </a:lnTo>
                <a:lnTo>
                  <a:pt x="374860" y="653913"/>
                </a:lnTo>
                <a:cubicBezTo>
                  <a:pt x="456716" y="653913"/>
                  <a:pt x="525394" y="643371"/>
                  <a:pt x="580894" y="622287"/>
                </a:cubicBezTo>
                <a:cubicBezTo>
                  <a:pt x="636395" y="601203"/>
                  <a:pt x="678098" y="568957"/>
                  <a:pt x="706003" y="525549"/>
                </a:cubicBezTo>
                <a:cubicBezTo>
                  <a:pt x="733908" y="482141"/>
                  <a:pt x="747861" y="427571"/>
                  <a:pt x="747861" y="361838"/>
                </a:cubicBezTo>
                <a:cubicBezTo>
                  <a:pt x="747861" y="296726"/>
                  <a:pt x="733133" y="242466"/>
                  <a:pt x="703677" y="199057"/>
                </a:cubicBezTo>
                <a:cubicBezTo>
                  <a:pt x="674222" y="155649"/>
                  <a:pt x="630504" y="123093"/>
                  <a:pt x="572523" y="101389"/>
                </a:cubicBezTo>
                <a:cubicBezTo>
                  <a:pt x="514542" y="79685"/>
                  <a:pt x="442453" y="68833"/>
                  <a:pt x="356257" y="68833"/>
                </a:cubicBezTo>
                <a:close/>
                <a:moveTo>
                  <a:pt x="4886324" y="18603"/>
                </a:moveTo>
                <a:lnTo>
                  <a:pt x="4925391" y="18603"/>
                </a:lnTo>
                <a:lnTo>
                  <a:pt x="4936553" y="18603"/>
                </a:lnTo>
                <a:lnTo>
                  <a:pt x="5261185" y="18603"/>
                </a:lnTo>
                <a:cubicBezTo>
                  <a:pt x="5341180" y="18603"/>
                  <a:pt x="5415129" y="32866"/>
                  <a:pt x="5483031" y="61391"/>
                </a:cubicBezTo>
                <a:cubicBezTo>
                  <a:pt x="5550935" y="89917"/>
                  <a:pt x="5610156" y="130535"/>
                  <a:pt x="5660695" y="183244"/>
                </a:cubicBezTo>
                <a:cubicBezTo>
                  <a:pt x="5711235" y="235954"/>
                  <a:pt x="5750457" y="298741"/>
                  <a:pt x="5778363" y="371605"/>
                </a:cubicBezTo>
                <a:cubicBezTo>
                  <a:pt x="5806268" y="444469"/>
                  <a:pt x="5820221" y="524929"/>
                  <a:pt x="5820221" y="612986"/>
                </a:cubicBezTo>
                <a:lnTo>
                  <a:pt x="5820221" y="778557"/>
                </a:lnTo>
                <a:cubicBezTo>
                  <a:pt x="5820221" y="866614"/>
                  <a:pt x="5806268" y="947074"/>
                  <a:pt x="5778363" y="1019938"/>
                </a:cubicBezTo>
                <a:cubicBezTo>
                  <a:pt x="5750457" y="1092801"/>
                  <a:pt x="5711235" y="1155588"/>
                  <a:pt x="5660695" y="1208298"/>
                </a:cubicBezTo>
                <a:cubicBezTo>
                  <a:pt x="5610156" y="1261008"/>
                  <a:pt x="5550935" y="1301626"/>
                  <a:pt x="5483031" y="1330151"/>
                </a:cubicBezTo>
                <a:cubicBezTo>
                  <a:pt x="5415129" y="1358676"/>
                  <a:pt x="5341180" y="1372939"/>
                  <a:pt x="5261185" y="1372939"/>
                </a:cubicBezTo>
                <a:lnTo>
                  <a:pt x="4936553" y="1372939"/>
                </a:lnTo>
                <a:lnTo>
                  <a:pt x="4930973" y="1372939"/>
                </a:lnTo>
                <a:lnTo>
                  <a:pt x="4886324" y="1372939"/>
                </a:lnTo>
                <a:close/>
                <a:moveTo>
                  <a:pt x="3533774" y="18603"/>
                </a:moveTo>
                <a:lnTo>
                  <a:pt x="3584934" y="18603"/>
                </a:lnTo>
                <a:lnTo>
                  <a:pt x="4459299" y="1284573"/>
                </a:lnTo>
                <a:lnTo>
                  <a:pt x="4459299" y="18603"/>
                </a:lnTo>
                <a:lnTo>
                  <a:pt x="4509529" y="18603"/>
                </a:lnTo>
                <a:lnTo>
                  <a:pt x="4509529" y="1372939"/>
                </a:lnTo>
                <a:lnTo>
                  <a:pt x="4459299" y="1372939"/>
                </a:lnTo>
                <a:lnTo>
                  <a:pt x="3584934" y="104179"/>
                </a:lnTo>
                <a:lnTo>
                  <a:pt x="3584934" y="1372939"/>
                </a:lnTo>
                <a:lnTo>
                  <a:pt x="3533774" y="1372939"/>
                </a:lnTo>
                <a:close/>
                <a:moveTo>
                  <a:pt x="2751906" y="18603"/>
                </a:moveTo>
                <a:lnTo>
                  <a:pt x="2765858" y="18603"/>
                </a:lnTo>
                <a:lnTo>
                  <a:pt x="2800275" y="18603"/>
                </a:lnTo>
                <a:lnTo>
                  <a:pt x="2813297" y="18603"/>
                </a:lnTo>
                <a:lnTo>
                  <a:pt x="3320243" y="1372939"/>
                </a:lnTo>
                <a:lnTo>
                  <a:pt x="3265363" y="1372939"/>
                </a:lnTo>
                <a:lnTo>
                  <a:pt x="3114417" y="968313"/>
                </a:lnTo>
                <a:lnTo>
                  <a:pt x="2450786" y="968313"/>
                </a:lnTo>
                <a:lnTo>
                  <a:pt x="2299841" y="1372939"/>
                </a:lnTo>
                <a:lnTo>
                  <a:pt x="2244960" y="1372939"/>
                </a:lnTo>
                <a:close/>
                <a:moveTo>
                  <a:pt x="1147874" y="18603"/>
                </a:moveTo>
                <a:lnTo>
                  <a:pt x="1579475" y="18603"/>
                </a:lnTo>
                <a:cubicBezTo>
                  <a:pt x="1665672" y="18603"/>
                  <a:pt x="1742256" y="33641"/>
                  <a:pt x="1809229" y="63717"/>
                </a:cubicBezTo>
                <a:cubicBezTo>
                  <a:pt x="1876201" y="93793"/>
                  <a:pt x="1928756" y="137821"/>
                  <a:pt x="1966893" y="195802"/>
                </a:cubicBezTo>
                <a:cubicBezTo>
                  <a:pt x="2005030" y="253783"/>
                  <a:pt x="2024099" y="324941"/>
                  <a:pt x="2024099" y="409277"/>
                </a:cubicBezTo>
                <a:cubicBezTo>
                  <a:pt x="2024099" y="475010"/>
                  <a:pt x="2009836" y="534386"/>
                  <a:pt x="1981311" y="587406"/>
                </a:cubicBezTo>
                <a:cubicBezTo>
                  <a:pt x="1952786" y="640426"/>
                  <a:pt x="1914648" y="683989"/>
                  <a:pt x="1866899" y="718095"/>
                </a:cubicBezTo>
                <a:cubicBezTo>
                  <a:pt x="1831088" y="743675"/>
                  <a:pt x="1792137" y="762104"/>
                  <a:pt x="1750046" y="773383"/>
                </a:cubicBezTo>
                <a:lnTo>
                  <a:pt x="1718954" y="779794"/>
                </a:lnTo>
                <a:lnTo>
                  <a:pt x="2080840" y="1359917"/>
                </a:lnTo>
                <a:lnTo>
                  <a:pt x="2080840" y="1372939"/>
                </a:lnTo>
                <a:lnTo>
                  <a:pt x="2027820" y="1372939"/>
                </a:lnTo>
                <a:lnTo>
                  <a:pt x="1667664" y="793440"/>
                </a:lnTo>
                <a:lnTo>
                  <a:pt x="1198103" y="793440"/>
                </a:lnTo>
                <a:lnTo>
                  <a:pt x="1198103" y="1372939"/>
                </a:lnTo>
                <a:lnTo>
                  <a:pt x="1147874" y="1372939"/>
                </a:lnTo>
                <a:close/>
                <a:moveTo>
                  <a:pt x="0" y="18603"/>
                </a:moveTo>
                <a:lnTo>
                  <a:pt x="356257" y="18603"/>
                </a:lnTo>
                <a:cubicBezTo>
                  <a:pt x="424470" y="18603"/>
                  <a:pt x="485861" y="25425"/>
                  <a:pt x="540432" y="39067"/>
                </a:cubicBezTo>
                <a:cubicBezTo>
                  <a:pt x="595002" y="52710"/>
                  <a:pt x="641511" y="73794"/>
                  <a:pt x="679958" y="102319"/>
                </a:cubicBezTo>
                <a:cubicBezTo>
                  <a:pt x="718405" y="130844"/>
                  <a:pt x="747861" y="166966"/>
                  <a:pt x="768325" y="210685"/>
                </a:cubicBezTo>
                <a:cubicBezTo>
                  <a:pt x="788789" y="254403"/>
                  <a:pt x="799020" y="306028"/>
                  <a:pt x="799020" y="365559"/>
                </a:cubicBezTo>
                <a:cubicBezTo>
                  <a:pt x="799020" y="421369"/>
                  <a:pt x="788633" y="471599"/>
                  <a:pt x="767860" y="516247"/>
                </a:cubicBezTo>
                <a:cubicBezTo>
                  <a:pt x="747086" y="560896"/>
                  <a:pt x="716855" y="597173"/>
                  <a:pt x="677167" y="625078"/>
                </a:cubicBezTo>
                <a:cubicBezTo>
                  <a:pt x="647402" y="646007"/>
                  <a:pt x="612404" y="660832"/>
                  <a:pt x="572174" y="669552"/>
                </a:cubicBezTo>
                <a:lnTo>
                  <a:pt x="558718" y="671695"/>
                </a:lnTo>
                <a:lnTo>
                  <a:pt x="599817" y="678970"/>
                </a:lnTo>
                <a:cubicBezTo>
                  <a:pt x="640455" y="688621"/>
                  <a:pt x="677865" y="705073"/>
                  <a:pt x="712049" y="728327"/>
                </a:cubicBezTo>
                <a:cubicBezTo>
                  <a:pt x="757628" y="759333"/>
                  <a:pt x="793749" y="798556"/>
                  <a:pt x="820415" y="845995"/>
                </a:cubicBezTo>
                <a:cubicBezTo>
                  <a:pt x="847079" y="893434"/>
                  <a:pt x="860412" y="944748"/>
                  <a:pt x="860412" y="999939"/>
                </a:cubicBezTo>
                <a:cubicBezTo>
                  <a:pt x="860412" y="1079934"/>
                  <a:pt x="842584" y="1147682"/>
                  <a:pt x="806927" y="1203182"/>
                </a:cubicBezTo>
                <a:cubicBezTo>
                  <a:pt x="771270" y="1258683"/>
                  <a:pt x="722126" y="1300851"/>
                  <a:pt x="659494" y="1329686"/>
                </a:cubicBezTo>
                <a:cubicBezTo>
                  <a:pt x="596862" y="1358521"/>
                  <a:pt x="524309" y="1372939"/>
                  <a:pt x="441833" y="1372939"/>
                </a:cubicBezTo>
                <a:lnTo>
                  <a:pt x="50229" y="1372939"/>
                </a:lnTo>
                <a:lnTo>
                  <a:pt x="28835" y="1372939"/>
                </a:lnTo>
                <a:lnTo>
                  <a:pt x="0" y="1372939"/>
                </a:lnTo>
                <a:close/>
                <a:moveTo>
                  <a:pt x="6530354" y="0"/>
                </a:moveTo>
                <a:cubicBezTo>
                  <a:pt x="6618410" y="0"/>
                  <a:pt x="6696235" y="16743"/>
                  <a:pt x="6763828" y="50229"/>
                </a:cubicBezTo>
                <a:cubicBezTo>
                  <a:pt x="6831421" y="83716"/>
                  <a:pt x="6884596" y="130379"/>
                  <a:pt x="6923353" y="190221"/>
                </a:cubicBezTo>
                <a:cubicBezTo>
                  <a:pt x="6962110" y="250062"/>
                  <a:pt x="6981489" y="319980"/>
                  <a:pt x="6981489" y="399975"/>
                </a:cubicBezTo>
                <a:lnTo>
                  <a:pt x="6931259" y="399975"/>
                </a:lnTo>
                <a:cubicBezTo>
                  <a:pt x="6931259" y="333003"/>
                  <a:pt x="6914517" y="273161"/>
                  <a:pt x="6881030" y="220451"/>
                </a:cubicBezTo>
                <a:cubicBezTo>
                  <a:pt x="6847543" y="167742"/>
                  <a:pt x="6800881" y="126194"/>
                  <a:pt x="6741039" y="95808"/>
                </a:cubicBezTo>
                <a:cubicBezTo>
                  <a:pt x="6681197" y="65422"/>
                  <a:pt x="6610969" y="50229"/>
                  <a:pt x="6530354" y="50229"/>
                </a:cubicBezTo>
                <a:cubicBezTo>
                  <a:pt x="6445397" y="50229"/>
                  <a:pt x="6373154" y="63252"/>
                  <a:pt x="6313623" y="89297"/>
                </a:cubicBezTo>
                <a:cubicBezTo>
                  <a:pt x="6254091" y="115342"/>
                  <a:pt x="6208823" y="149603"/>
                  <a:pt x="6177817" y="192081"/>
                </a:cubicBezTo>
                <a:cubicBezTo>
                  <a:pt x="6146811" y="234559"/>
                  <a:pt x="6131309" y="280293"/>
                  <a:pt x="6131309" y="329282"/>
                </a:cubicBezTo>
                <a:cubicBezTo>
                  <a:pt x="6131309" y="365249"/>
                  <a:pt x="6137665" y="398735"/>
                  <a:pt x="6150377" y="429741"/>
                </a:cubicBezTo>
                <a:cubicBezTo>
                  <a:pt x="6163089" y="460747"/>
                  <a:pt x="6184639" y="489427"/>
                  <a:pt x="6215024" y="515782"/>
                </a:cubicBezTo>
                <a:cubicBezTo>
                  <a:pt x="6245409" y="542137"/>
                  <a:pt x="6287267" y="566942"/>
                  <a:pt x="6340598" y="590196"/>
                </a:cubicBezTo>
                <a:cubicBezTo>
                  <a:pt x="6393929" y="613451"/>
                  <a:pt x="6460901" y="635620"/>
                  <a:pt x="6541516" y="656704"/>
                </a:cubicBezTo>
                <a:cubicBezTo>
                  <a:pt x="6608489" y="674067"/>
                  <a:pt x="6669725" y="693601"/>
                  <a:pt x="6725225" y="715305"/>
                </a:cubicBezTo>
                <a:cubicBezTo>
                  <a:pt x="6780725" y="737009"/>
                  <a:pt x="6828785" y="762744"/>
                  <a:pt x="6869403" y="792510"/>
                </a:cubicBezTo>
                <a:cubicBezTo>
                  <a:pt x="6910020" y="822275"/>
                  <a:pt x="6941337" y="857777"/>
                  <a:pt x="6963351" y="899015"/>
                </a:cubicBezTo>
                <a:cubicBezTo>
                  <a:pt x="6985365" y="940252"/>
                  <a:pt x="6996372" y="989397"/>
                  <a:pt x="6996372" y="1046448"/>
                </a:cubicBezTo>
                <a:cubicBezTo>
                  <a:pt x="6996372" y="1101638"/>
                  <a:pt x="6984434" y="1150627"/>
                  <a:pt x="6960560" y="1193415"/>
                </a:cubicBezTo>
                <a:cubicBezTo>
                  <a:pt x="6936686" y="1236203"/>
                  <a:pt x="6903665" y="1272325"/>
                  <a:pt x="6861497" y="1301781"/>
                </a:cubicBezTo>
                <a:cubicBezTo>
                  <a:pt x="6819328" y="1331236"/>
                  <a:pt x="6770494" y="1353560"/>
                  <a:pt x="6714993" y="1368753"/>
                </a:cubicBezTo>
                <a:cubicBezTo>
                  <a:pt x="6659493" y="1383946"/>
                  <a:pt x="6600117" y="1391543"/>
                  <a:pt x="6536865" y="1391543"/>
                </a:cubicBezTo>
                <a:cubicBezTo>
                  <a:pt x="6479194" y="1391543"/>
                  <a:pt x="6420903" y="1384721"/>
                  <a:pt x="6361992" y="1371079"/>
                </a:cubicBezTo>
                <a:cubicBezTo>
                  <a:pt x="6303081" y="1357436"/>
                  <a:pt x="6249131" y="1335267"/>
                  <a:pt x="6200141" y="1304571"/>
                </a:cubicBezTo>
                <a:cubicBezTo>
                  <a:pt x="6151153" y="1273875"/>
                  <a:pt x="6111775" y="1232793"/>
                  <a:pt x="6082009" y="1181323"/>
                </a:cubicBezTo>
                <a:cubicBezTo>
                  <a:pt x="6052243" y="1129853"/>
                  <a:pt x="6037361" y="1066291"/>
                  <a:pt x="6037361" y="990637"/>
                </a:cubicBezTo>
                <a:lnTo>
                  <a:pt x="6087590" y="990637"/>
                </a:lnTo>
                <a:cubicBezTo>
                  <a:pt x="6087590" y="1058230"/>
                  <a:pt x="6101543" y="1114660"/>
                  <a:pt x="6129448" y="1159929"/>
                </a:cubicBezTo>
                <a:cubicBezTo>
                  <a:pt x="6157353" y="1205198"/>
                  <a:pt x="6193785" y="1241009"/>
                  <a:pt x="6238743" y="1267364"/>
                </a:cubicBezTo>
                <a:cubicBezTo>
                  <a:pt x="6283703" y="1293719"/>
                  <a:pt x="6332381" y="1312633"/>
                  <a:pt x="6384781" y="1324105"/>
                </a:cubicBezTo>
                <a:cubicBezTo>
                  <a:pt x="6437181" y="1335577"/>
                  <a:pt x="6487876" y="1341313"/>
                  <a:pt x="6536865" y="1341313"/>
                </a:cubicBezTo>
                <a:cubicBezTo>
                  <a:pt x="6616241" y="1341313"/>
                  <a:pt x="6686623" y="1328911"/>
                  <a:pt x="6748015" y="1304106"/>
                </a:cubicBezTo>
                <a:cubicBezTo>
                  <a:pt x="6809407" y="1279301"/>
                  <a:pt x="6857621" y="1244885"/>
                  <a:pt x="6892657" y="1200857"/>
                </a:cubicBezTo>
                <a:cubicBezTo>
                  <a:pt x="6927693" y="1156828"/>
                  <a:pt x="6945212" y="1105979"/>
                  <a:pt x="6945212" y="1048308"/>
                </a:cubicBezTo>
                <a:cubicBezTo>
                  <a:pt x="6945212" y="1005520"/>
                  <a:pt x="6937771" y="967383"/>
                  <a:pt x="6922888" y="933896"/>
                </a:cubicBezTo>
                <a:cubicBezTo>
                  <a:pt x="6908005" y="900410"/>
                  <a:pt x="6884131" y="870334"/>
                  <a:pt x="6851265" y="843669"/>
                </a:cubicBezTo>
                <a:cubicBezTo>
                  <a:pt x="6818398" y="817004"/>
                  <a:pt x="6775455" y="792510"/>
                  <a:pt x="6722435" y="770185"/>
                </a:cubicBezTo>
                <a:cubicBezTo>
                  <a:pt x="6669415" y="747861"/>
                  <a:pt x="6604457" y="726157"/>
                  <a:pt x="6527563" y="705073"/>
                </a:cubicBezTo>
                <a:cubicBezTo>
                  <a:pt x="6458731" y="686469"/>
                  <a:pt x="6396719" y="666471"/>
                  <a:pt x="6341528" y="645077"/>
                </a:cubicBezTo>
                <a:cubicBezTo>
                  <a:pt x="6286337" y="623683"/>
                  <a:pt x="6239363" y="599033"/>
                  <a:pt x="6200607" y="571128"/>
                </a:cubicBezTo>
                <a:cubicBezTo>
                  <a:pt x="6161849" y="543222"/>
                  <a:pt x="6132239" y="509891"/>
                  <a:pt x="6111775" y="471134"/>
                </a:cubicBezTo>
                <a:cubicBezTo>
                  <a:pt x="6091311" y="432376"/>
                  <a:pt x="6081079" y="385713"/>
                  <a:pt x="6081079" y="331142"/>
                </a:cubicBezTo>
                <a:cubicBezTo>
                  <a:pt x="6081079" y="279673"/>
                  <a:pt x="6092395" y="233474"/>
                  <a:pt x="6115031" y="192546"/>
                </a:cubicBezTo>
                <a:cubicBezTo>
                  <a:pt x="6137665" y="151618"/>
                  <a:pt x="6169291" y="116892"/>
                  <a:pt x="6209908" y="88366"/>
                </a:cubicBezTo>
                <a:cubicBezTo>
                  <a:pt x="6250525" y="59841"/>
                  <a:pt x="6298121" y="37982"/>
                  <a:pt x="6352690" y="22789"/>
                </a:cubicBezTo>
                <a:cubicBezTo>
                  <a:pt x="6407260" y="7596"/>
                  <a:pt x="6466482" y="0"/>
                  <a:pt x="6530354" y="0"/>
                </a:cubicBezTo>
                <a:close/>
              </a:path>
            </a:pathLst>
          </a:custGeom>
          <a:solidFill>
            <a:srgbClr val="5A6E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2560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A99C273A-AF83-4B04-8C5F-72EB445A9BE1}"/>
              </a:ext>
            </a:extLst>
          </p:cNvPr>
          <p:cNvSpPr>
            <a:spLocks noGrp="1"/>
          </p:cNvSpPr>
          <p:nvPr>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cxnSp>
        <p:nvCxnSpPr>
          <p:cNvPr id="5" name="Straight Connector 4">
            <a:extLst>
              <a:ext uri="{FF2B5EF4-FFF2-40B4-BE49-F238E27FC236}">
                <a16:creationId xmlns:a16="http://schemas.microsoft.com/office/drawing/2014/main" id="{939E21BE-5B5F-4D8F-8C6C-A37002D72F34}"/>
              </a:ext>
            </a:extLst>
          </p:cNvPr>
          <p:cNvCxnSpPr>
            <a:cxnSpLocks/>
          </p:cNvCxnSpPr>
          <p:nvPr userDrawn="1"/>
        </p:nvCxnSpPr>
        <p:spPr>
          <a:xfrm>
            <a:off x="4669771" y="723207"/>
            <a:ext cx="0" cy="5411586"/>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1CF2A6EF-3D9E-413B-8CF4-E62CBD133ACB}"/>
              </a:ext>
            </a:extLst>
          </p:cNvPr>
          <p:cNvSpPr>
            <a:spLocks noGrp="1"/>
          </p:cNvSpPr>
          <p:nvPr>
            <p:ph type="body" sz="quarter" idx="11" hasCustomPrompt="1"/>
          </p:nvPr>
        </p:nvSpPr>
        <p:spPr>
          <a:xfrm>
            <a:off x="5577841" y="1554458"/>
            <a:ext cx="5704069" cy="3749085"/>
          </a:xfrm>
        </p:spPr>
        <p:txBody>
          <a:bodyPr anchor="ctr">
            <a:normAutofit/>
          </a:bodyPr>
          <a:lstStyle>
            <a:lvl1pPr marL="457200" indent="-457200">
              <a:buFont typeface="+mj-lt"/>
              <a:buAutoNum type="arabicPeriod"/>
              <a:defRPr sz="2400"/>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agenda item here</a:t>
            </a:r>
          </a:p>
          <a:p>
            <a:pPr lvl="0"/>
            <a:r>
              <a:rPr lang="en-US" dirty="0"/>
              <a:t>Insert agenda item here</a:t>
            </a:r>
          </a:p>
          <a:p>
            <a:pPr lvl="0"/>
            <a:r>
              <a:rPr lang="en-US" dirty="0"/>
              <a:t>Insert agenda item here</a:t>
            </a:r>
          </a:p>
          <a:p>
            <a:pPr lvl="0"/>
            <a:r>
              <a:rPr lang="en-US" dirty="0"/>
              <a:t>Insert agenda item here</a:t>
            </a:r>
          </a:p>
        </p:txBody>
      </p:sp>
      <p:sp>
        <p:nvSpPr>
          <p:cNvPr id="4" name="TextBox 3">
            <a:extLst>
              <a:ext uri="{FF2B5EF4-FFF2-40B4-BE49-F238E27FC236}">
                <a16:creationId xmlns:a16="http://schemas.microsoft.com/office/drawing/2014/main" id="{A7C73667-C327-4A4C-B054-4C4EF25AC57B}"/>
              </a:ext>
            </a:extLst>
          </p:cNvPr>
          <p:cNvSpPr txBox="1"/>
          <p:nvPr userDrawn="1"/>
        </p:nvSpPr>
        <p:spPr>
          <a:xfrm>
            <a:off x="1728068" y="3044280"/>
            <a:ext cx="2266390" cy="769441"/>
          </a:xfrm>
          <a:prstGeom prst="rect">
            <a:avLst/>
          </a:prstGeom>
          <a:noFill/>
        </p:spPr>
        <p:txBody>
          <a:bodyPr wrap="square" rtlCol="0" anchor="ctr">
            <a:spAutoFit/>
          </a:bodyPr>
          <a:lstStyle/>
          <a:p>
            <a:r>
              <a:rPr lang="en-US" sz="4400" dirty="0">
                <a:latin typeface="+mj-lt"/>
              </a:rPr>
              <a:t>Agenda</a:t>
            </a:r>
          </a:p>
        </p:txBody>
      </p:sp>
      <p:sp>
        <p:nvSpPr>
          <p:cNvPr id="6" name="Rectangle 5">
            <a:extLst>
              <a:ext uri="{FF2B5EF4-FFF2-40B4-BE49-F238E27FC236}">
                <a16:creationId xmlns:a16="http://schemas.microsoft.com/office/drawing/2014/main" id="{672E5E5E-3A09-3546-399E-0BE5C18DBD75}"/>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8251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YI Leade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Shape&#10;&#10;Description automatically generated with medium confidence">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29637F5A-5E72-407E-88E1-6146AB2BB8C3}"/>
              </a:ext>
            </a:extLst>
          </p:cNvPr>
          <p:cNvSpPr>
            <a:spLocks noGrp="1"/>
          </p:cNvSpPr>
          <p:nvPr>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
        <p:nvSpPr>
          <p:cNvPr id="46" name="Titre 13">
            <a:extLst>
              <a:ext uri="{FF2B5EF4-FFF2-40B4-BE49-F238E27FC236}">
                <a16:creationId xmlns:a16="http://schemas.microsoft.com/office/drawing/2014/main" id="{C5CC3BE7-3744-455A-A35B-15BA8087FB03}"/>
              </a:ext>
            </a:extLst>
          </p:cNvPr>
          <p:cNvSpPr>
            <a:spLocks noGrp="1"/>
          </p:cNvSpPr>
          <p:nvPr>
            <p:ph type="title" hasCustomPrompt="1"/>
          </p:nvPr>
        </p:nvSpPr>
        <p:spPr>
          <a:xfrm>
            <a:off x="838200" y="677041"/>
            <a:ext cx="10515600" cy="701731"/>
          </a:xfrm>
        </p:spPr>
        <p:txBody>
          <a:bodyPr>
            <a:spAutoFit/>
          </a:bodyPr>
          <a:lstStyle/>
          <a:p>
            <a:r>
              <a:rPr lang="en-US" dirty="0"/>
              <a:t>Our AYI Leadership Team</a:t>
            </a:r>
            <a:endParaRPr lang="fr-FR" dirty="0"/>
          </a:p>
        </p:txBody>
      </p:sp>
      <p:grpSp>
        <p:nvGrpSpPr>
          <p:cNvPr id="86" name="Group 85">
            <a:extLst>
              <a:ext uri="{FF2B5EF4-FFF2-40B4-BE49-F238E27FC236}">
                <a16:creationId xmlns:a16="http://schemas.microsoft.com/office/drawing/2014/main" id="{A6042F3D-3688-42EF-B5D4-631C533BC348}"/>
              </a:ext>
            </a:extLst>
          </p:cNvPr>
          <p:cNvGrpSpPr/>
          <p:nvPr userDrawn="1"/>
        </p:nvGrpSpPr>
        <p:grpSpPr>
          <a:xfrm>
            <a:off x="1517415" y="4032326"/>
            <a:ext cx="1568664" cy="1498079"/>
            <a:chOff x="1466139" y="4032326"/>
            <a:chExt cx="1568664" cy="1498079"/>
          </a:xfrm>
        </p:grpSpPr>
        <p:sp>
          <p:nvSpPr>
            <p:cNvPr id="87" name="Oval 86">
              <a:extLst>
                <a:ext uri="{FF2B5EF4-FFF2-40B4-BE49-F238E27FC236}">
                  <a16:creationId xmlns:a16="http://schemas.microsoft.com/office/drawing/2014/main" id="{66A0A28E-4557-4C4D-9CD2-871EACED4DC1}"/>
                </a:ext>
              </a:extLst>
            </p:cNvPr>
            <p:cNvSpPr/>
            <p:nvPr/>
          </p:nvSpPr>
          <p:spPr>
            <a:xfrm>
              <a:off x="1478747" y="4038114"/>
              <a:ext cx="1543449" cy="1492291"/>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8" name="Picture 6">
              <a:extLst>
                <a:ext uri="{FF2B5EF4-FFF2-40B4-BE49-F238E27FC236}">
                  <a16:creationId xmlns:a16="http://schemas.microsoft.com/office/drawing/2014/main" id="{7F37CD9B-B928-46CA-B69D-4EBCC3641C83}"/>
                </a:ext>
              </a:extLst>
            </p:cNvPr>
            <p:cNvPicPr>
              <a:picLocks noChangeAspect="1" noChangeArrowheads="1"/>
            </p:cNvPicPr>
            <p:nvPr/>
          </p:nvPicPr>
          <p:blipFill rotWithShape="1">
            <a:blip r:embed="rId3" cstate="screen">
              <a:extLst>
                <a:ext uri="{28A0092B-C50C-407E-A947-70E740481C1C}">
                  <a14:useLocalDpi xmlns:a14="http://schemas.microsoft.com/office/drawing/2010/main" val="0"/>
                </a:ext>
              </a:extLst>
            </a:blip>
            <a:srcRect/>
            <a:stretch/>
          </p:blipFill>
          <p:spPr bwMode="auto">
            <a:xfrm>
              <a:off x="1466139" y="4032326"/>
              <a:ext cx="1568664" cy="1492290"/>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89" name="Group 88">
            <a:extLst>
              <a:ext uri="{FF2B5EF4-FFF2-40B4-BE49-F238E27FC236}">
                <a16:creationId xmlns:a16="http://schemas.microsoft.com/office/drawing/2014/main" id="{F724212A-CE5A-4247-8AE0-4D10817E181B}"/>
              </a:ext>
            </a:extLst>
          </p:cNvPr>
          <p:cNvGrpSpPr/>
          <p:nvPr userDrawn="1"/>
        </p:nvGrpSpPr>
        <p:grpSpPr>
          <a:xfrm>
            <a:off x="1545546" y="1521126"/>
            <a:ext cx="1552280" cy="1498680"/>
            <a:chOff x="1545546" y="1521126"/>
            <a:chExt cx="1552280" cy="1498680"/>
          </a:xfrm>
        </p:grpSpPr>
        <p:sp>
          <p:nvSpPr>
            <p:cNvPr id="90" name="Oval 89">
              <a:extLst>
                <a:ext uri="{FF2B5EF4-FFF2-40B4-BE49-F238E27FC236}">
                  <a16:creationId xmlns:a16="http://schemas.microsoft.com/office/drawing/2014/main" id="{01E2F69E-9031-4C7D-8DEC-646B405C8721}"/>
                </a:ext>
              </a:extLst>
            </p:cNvPr>
            <p:cNvSpPr/>
            <p:nvPr/>
          </p:nvSpPr>
          <p:spPr>
            <a:xfrm>
              <a:off x="1545546" y="1526915"/>
              <a:ext cx="1543449" cy="1491127"/>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1" name="Picture 4">
              <a:extLst>
                <a:ext uri="{FF2B5EF4-FFF2-40B4-BE49-F238E27FC236}">
                  <a16:creationId xmlns:a16="http://schemas.microsoft.com/office/drawing/2014/main" id="{6478D41D-60C5-47DC-A678-4399D4CBA274}"/>
                </a:ext>
              </a:extLst>
            </p:cNvPr>
            <p:cNvPicPr>
              <a:picLocks noChangeAspect="1" noChangeArrowheads="1"/>
            </p:cNvPicPr>
            <p:nvPr/>
          </p:nvPicPr>
          <p:blipFill rotWithShape="1">
            <a:blip r:embed="rId4" cstate="screen">
              <a:extLst>
                <a:ext uri="{28A0092B-C50C-407E-A947-70E740481C1C}">
                  <a14:useLocalDpi xmlns:a14="http://schemas.microsoft.com/office/drawing/2010/main" val="0"/>
                </a:ext>
              </a:extLst>
            </a:blip>
            <a:srcRect t="-6724"/>
            <a:stretch/>
          </p:blipFill>
          <p:spPr bwMode="auto">
            <a:xfrm>
              <a:off x="1545546" y="1521126"/>
              <a:ext cx="1552280" cy="1498680"/>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BFCCBE6-63B4-44B8-9BE1-F6867E777F85}"/>
              </a:ext>
            </a:extLst>
          </p:cNvPr>
          <p:cNvGrpSpPr/>
          <p:nvPr userDrawn="1"/>
        </p:nvGrpSpPr>
        <p:grpSpPr>
          <a:xfrm>
            <a:off x="4015006" y="1526915"/>
            <a:ext cx="1580731" cy="1491127"/>
            <a:chOff x="4015006" y="1526915"/>
            <a:chExt cx="1580731" cy="1491127"/>
          </a:xfrm>
        </p:grpSpPr>
        <p:sp>
          <p:nvSpPr>
            <p:cNvPr id="93" name="Oval 92">
              <a:extLst>
                <a:ext uri="{FF2B5EF4-FFF2-40B4-BE49-F238E27FC236}">
                  <a16:creationId xmlns:a16="http://schemas.microsoft.com/office/drawing/2014/main" id="{9EBDE169-7B58-4586-87FB-EE4CAB9DB02F}"/>
                </a:ext>
              </a:extLst>
            </p:cNvPr>
            <p:cNvSpPr/>
            <p:nvPr/>
          </p:nvSpPr>
          <p:spPr>
            <a:xfrm>
              <a:off x="4033314" y="1526915"/>
              <a:ext cx="1543449" cy="1491127"/>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Picture 8">
              <a:extLst>
                <a:ext uri="{FF2B5EF4-FFF2-40B4-BE49-F238E27FC236}">
                  <a16:creationId xmlns:a16="http://schemas.microsoft.com/office/drawing/2014/main" id="{79A3BACA-FA38-42EB-AC45-9C920BEB1F1C}"/>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p:blipFill>
          <p:spPr bwMode="auto">
            <a:xfrm>
              <a:off x="4015006" y="1670193"/>
              <a:ext cx="1580731" cy="1334347"/>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95" name="Groupe 6">
            <a:extLst>
              <a:ext uri="{FF2B5EF4-FFF2-40B4-BE49-F238E27FC236}">
                <a16:creationId xmlns:a16="http://schemas.microsoft.com/office/drawing/2014/main" id="{96A6A4EC-5024-4A1B-AD77-B89FB09A432B}"/>
              </a:ext>
            </a:extLst>
          </p:cNvPr>
          <p:cNvGrpSpPr/>
          <p:nvPr userDrawn="1"/>
        </p:nvGrpSpPr>
        <p:grpSpPr>
          <a:xfrm>
            <a:off x="6572664" y="1521127"/>
            <a:ext cx="1543449" cy="1498680"/>
            <a:chOff x="7020239" y="1673527"/>
            <a:chExt cx="1543449" cy="1498680"/>
          </a:xfrm>
        </p:grpSpPr>
        <p:sp>
          <p:nvSpPr>
            <p:cNvPr id="96" name="Oval 95">
              <a:extLst>
                <a:ext uri="{FF2B5EF4-FFF2-40B4-BE49-F238E27FC236}">
                  <a16:creationId xmlns:a16="http://schemas.microsoft.com/office/drawing/2014/main" id="{A03769A3-C26B-4683-BA80-F7561342A7A4}"/>
                </a:ext>
              </a:extLst>
            </p:cNvPr>
            <p:cNvSpPr/>
            <p:nvPr/>
          </p:nvSpPr>
          <p:spPr>
            <a:xfrm>
              <a:off x="7020239" y="1681079"/>
              <a:ext cx="1543449" cy="1491127"/>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7" name="Picture 10">
              <a:extLst>
                <a:ext uri="{FF2B5EF4-FFF2-40B4-BE49-F238E27FC236}">
                  <a16:creationId xmlns:a16="http://schemas.microsoft.com/office/drawing/2014/main" id="{1A01D887-8E3A-4BA1-BB6A-03E3B984A5ED}"/>
                </a:ext>
              </a:extLst>
            </p:cNvPr>
            <p:cNvPicPr>
              <a:picLocks noChangeAspect="1" noChangeArrowheads="1"/>
            </p:cNvPicPr>
            <p:nvPr/>
          </p:nvPicPr>
          <p:blipFill rotWithShape="1">
            <a:blip r:embed="rId6" cstate="screen">
              <a:extLst>
                <a:ext uri="{28A0092B-C50C-407E-A947-70E740481C1C}">
                  <a14:useLocalDpi xmlns:a14="http://schemas.microsoft.com/office/drawing/2010/main" val="0"/>
                </a:ext>
              </a:extLst>
            </a:blip>
            <a:srcRect t="-4814"/>
            <a:stretch/>
          </p:blipFill>
          <p:spPr bwMode="auto">
            <a:xfrm>
              <a:off x="7020239" y="1673527"/>
              <a:ext cx="1534769" cy="1498680"/>
            </a:xfrm>
            <a:prstGeom prst="ellipse">
              <a:avLst/>
            </a:prstGeom>
            <a:noFill/>
            <a:extLst>
              <a:ext uri="{909E8E84-426E-40DD-AFC4-6F175D3DCCD1}">
                <a14:hiddenFill xmlns:a14="http://schemas.microsoft.com/office/drawing/2010/main">
                  <a:solidFill>
                    <a:srgbClr val="FFFFFF"/>
                  </a:solidFill>
                </a14:hiddenFill>
              </a:ext>
            </a:extLst>
          </p:spPr>
        </p:pic>
      </p:grpSp>
      <p:grpSp>
        <p:nvGrpSpPr>
          <p:cNvPr id="98" name="Groupe 7">
            <a:extLst>
              <a:ext uri="{FF2B5EF4-FFF2-40B4-BE49-F238E27FC236}">
                <a16:creationId xmlns:a16="http://schemas.microsoft.com/office/drawing/2014/main" id="{FFEECF6B-B442-4F70-A557-FF0958B05AD3}"/>
              </a:ext>
            </a:extLst>
          </p:cNvPr>
          <p:cNvGrpSpPr/>
          <p:nvPr userDrawn="1"/>
        </p:nvGrpSpPr>
        <p:grpSpPr>
          <a:xfrm>
            <a:off x="9099458" y="1528679"/>
            <a:ext cx="1543450" cy="1498680"/>
            <a:chOff x="9093908" y="1681079"/>
            <a:chExt cx="1543450" cy="1498680"/>
          </a:xfrm>
        </p:grpSpPr>
        <p:sp>
          <p:nvSpPr>
            <p:cNvPr id="99" name="Oval 98">
              <a:extLst>
                <a:ext uri="{FF2B5EF4-FFF2-40B4-BE49-F238E27FC236}">
                  <a16:creationId xmlns:a16="http://schemas.microsoft.com/office/drawing/2014/main" id="{43484F62-7B87-44EE-BCF7-D105DF88A3C7}"/>
                </a:ext>
              </a:extLst>
            </p:cNvPr>
            <p:cNvSpPr/>
            <p:nvPr/>
          </p:nvSpPr>
          <p:spPr>
            <a:xfrm>
              <a:off x="9093909" y="1681079"/>
              <a:ext cx="1543449" cy="1491127"/>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12">
              <a:extLst>
                <a:ext uri="{FF2B5EF4-FFF2-40B4-BE49-F238E27FC236}">
                  <a16:creationId xmlns:a16="http://schemas.microsoft.com/office/drawing/2014/main" id="{25112AEC-DD60-4228-B3BC-9C3BDF746F73}"/>
                </a:ext>
              </a:extLst>
            </p:cNvPr>
            <p:cNvPicPr>
              <a:picLocks noChangeAspect="1" noChangeArrowheads="1"/>
            </p:cNvPicPr>
            <p:nvPr/>
          </p:nvPicPr>
          <p:blipFill rotWithShape="1">
            <a:blip r:embed="rId7" cstate="screen">
              <a:extLst>
                <a:ext uri="{28A0092B-C50C-407E-A947-70E740481C1C}">
                  <a14:useLocalDpi xmlns:a14="http://schemas.microsoft.com/office/drawing/2010/main" val="0"/>
                </a:ext>
              </a:extLst>
            </a:blip>
            <a:srcRect t="-9753"/>
            <a:stretch/>
          </p:blipFill>
          <p:spPr bwMode="auto">
            <a:xfrm>
              <a:off x="9093908" y="1681079"/>
              <a:ext cx="1543449" cy="1498680"/>
            </a:xfrm>
            <a:prstGeom prst="flowChartConnector">
              <a:avLst/>
            </a:prstGeom>
            <a:noFill/>
            <a:extLst>
              <a:ext uri="{909E8E84-426E-40DD-AFC4-6F175D3DCCD1}">
                <a14:hiddenFill xmlns:a14="http://schemas.microsoft.com/office/drawing/2010/main">
                  <a:solidFill>
                    <a:srgbClr val="FFFFFF"/>
                  </a:solidFill>
                </a14:hiddenFill>
              </a:ext>
            </a:extLst>
          </p:spPr>
        </p:pic>
      </p:grpSp>
      <p:sp>
        <p:nvSpPr>
          <p:cNvPr id="101" name="TextBox 100">
            <a:extLst>
              <a:ext uri="{FF2B5EF4-FFF2-40B4-BE49-F238E27FC236}">
                <a16:creationId xmlns:a16="http://schemas.microsoft.com/office/drawing/2014/main" id="{844168BD-B11E-49B9-BEBA-486516911E36}"/>
              </a:ext>
            </a:extLst>
          </p:cNvPr>
          <p:cNvSpPr txBox="1"/>
          <p:nvPr userDrawn="1"/>
        </p:nvSpPr>
        <p:spPr>
          <a:xfrm>
            <a:off x="3964945" y="3141904"/>
            <a:ext cx="1720209" cy="553998"/>
          </a:xfrm>
          <a:prstGeom prst="rect">
            <a:avLst/>
          </a:prstGeom>
          <a:noFill/>
        </p:spPr>
        <p:txBody>
          <a:bodyPr wrap="square">
            <a:spAutoFit/>
          </a:bodyPr>
          <a:lstStyle/>
          <a:p>
            <a:pPr algn="ctr"/>
            <a:r>
              <a:rPr lang="en-US" sz="1000">
                <a:solidFill>
                  <a:srgbClr val="007239"/>
                </a:solidFill>
                <a:latin typeface="Arial" panose="020B0604020202020204" pitchFamily="34" charset="0"/>
                <a:ea typeface="Roboto" panose="02000000000000000000" pitchFamily="2" charset="0"/>
              </a:rPr>
              <a:t>Karen J. Holcom</a:t>
            </a:r>
          </a:p>
          <a:p>
            <a:pPr algn="ctr"/>
            <a:r>
              <a:rPr lang="en-US" sz="1000">
                <a:solidFill>
                  <a:srgbClr val="333333"/>
                </a:solidFill>
                <a:effectLst/>
                <a:latin typeface="Arial" panose="020B0604020202020204" pitchFamily="34" charset="0"/>
              </a:rPr>
              <a:t>Senior Vice President</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and Chief Financial Officer</a:t>
            </a:r>
          </a:p>
        </p:txBody>
      </p:sp>
      <p:sp>
        <p:nvSpPr>
          <p:cNvPr id="102" name="TextBox 101">
            <a:extLst>
              <a:ext uri="{FF2B5EF4-FFF2-40B4-BE49-F238E27FC236}">
                <a16:creationId xmlns:a16="http://schemas.microsoft.com/office/drawing/2014/main" id="{51CDC297-9AAB-4399-8A28-5D49226463B2}"/>
              </a:ext>
            </a:extLst>
          </p:cNvPr>
          <p:cNvSpPr txBox="1"/>
          <p:nvPr userDrawn="1"/>
        </p:nvSpPr>
        <p:spPr>
          <a:xfrm>
            <a:off x="6546495" y="3141904"/>
            <a:ext cx="1569617"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Barry R. Goldman</a:t>
            </a:r>
          </a:p>
          <a:p>
            <a:pPr algn="ctr"/>
            <a:r>
              <a:rPr lang="en-US" sz="1000">
                <a:solidFill>
                  <a:srgbClr val="333333"/>
                </a:solidFill>
                <a:effectLst/>
                <a:latin typeface="Arial" panose="020B0604020202020204" pitchFamily="34" charset="0"/>
              </a:rPr>
              <a:t>Senior Vice President and General Counsel</a:t>
            </a:r>
          </a:p>
        </p:txBody>
      </p:sp>
      <p:sp>
        <p:nvSpPr>
          <p:cNvPr id="103" name="TextBox 102">
            <a:extLst>
              <a:ext uri="{FF2B5EF4-FFF2-40B4-BE49-F238E27FC236}">
                <a16:creationId xmlns:a16="http://schemas.microsoft.com/office/drawing/2014/main" id="{FA47A251-9FB5-4409-AACA-01D9D8080BE0}"/>
              </a:ext>
            </a:extLst>
          </p:cNvPr>
          <p:cNvSpPr txBox="1"/>
          <p:nvPr userDrawn="1"/>
        </p:nvSpPr>
        <p:spPr>
          <a:xfrm>
            <a:off x="8873086" y="3141904"/>
            <a:ext cx="1996193"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Dianne S. Mills</a:t>
            </a:r>
          </a:p>
          <a:p>
            <a:pPr algn="ctr"/>
            <a:r>
              <a:rPr lang="en-US" sz="1000">
                <a:solidFill>
                  <a:srgbClr val="333333"/>
                </a:solidFill>
                <a:effectLst/>
                <a:latin typeface="Arial" panose="020B0604020202020204" pitchFamily="34" charset="0"/>
              </a:rPr>
              <a:t>Senior Vice President and</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Chief Human Resources Officer</a:t>
            </a:r>
          </a:p>
        </p:txBody>
      </p:sp>
      <p:sp>
        <p:nvSpPr>
          <p:cNvPr id="104" name="TextBox 103">
            <a:extLst>
              <a:ext uri="{FF2B5EF4-FFF2-40B4-BE49-F238E27FC236}">
                <a16:creationId xmlns:a16="http://schemas.microsoft.com/office/drawing/2014/main" id="{BF960E38-747D-478E-A7EC-308EE871AC40}"/>
              </a:ext>
            </a:extLst>
          </p:cNvPr>
          <p:cNvSpPr txBox="1"/>
          <p:nvPr userDrawn="1"/>
        </p:nvSpPr>
        <p:spPr>
          <a:xfrm>
            <a:off x="1464951" y="3141904"/>
            <a:ext cx="1720209"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Neil M. Ashe</a:t>
            </a:r>
          </a:p>
          <a:p>
            <a:pPr algn="ctr"/>
            <a:r>
              <a:rPr lang="en-US" sz="1000">
                <a:solidFill>
                  <a:srgbClr val="333333"/>
                </a:solidFill>
                <a:effectLst/>
                <a:latin typeface="Arial" panose="020B0604020202020204" pitchFamily="34" charset="0"/>
              </a:rPr>
              <a:t>Chairman, President</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and Chief Executive Officer</a:t>
            </a:r>
          </a:p>
        </p:txBody>
      </p:sp>
      <p:sp>
        <p:nvSpPr>
          <p:cNvPr id="105" name="TextBox 104">
            <a:extLst>
              <a:ext uri="{FF2B5EF4-FFF2-40B4-BE49-F238E27FC236}">
                <a16:creationId xmlns:a16="http://schemas.microsoft.com/office/drawing/2014/main" id="{570131A3-9566-4843-B0BA-5E0B2833911A}"/>
              </a:ext>
            </a:extLst>
          </p:cNvPr>
          <p:cNvSpPr txBox="1"/>
          <p:nvPr userDrawn="1"/>
        </p:nvSpPr>
        <p:spPr>
          <a:xfrm>
            <a:off x="1359968" y="5684658"/>
            <a:ext cx="1877986"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Tyler H. Moon</a:t>
            </a:r>
          </a:p>
          <a:p>
            <a:pPr algn="ctr"/>
            <a:r>
              <a:rPr lang="en-US" sz="1000">
                <a:solidFill>
                  <a:srgbClr val="333333"/>
                </a:solidFill>
                <a:effectLst/>
                <a:latin typeface="Arial" panose="020B0604020202020204" pitchFamily="34" charset="0"/>
              </a:rPr>
              <a:t>Senior Vice President</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and Chief Operating Officer</a:t>
            </a:r>
          </a:p>
        </p:txBody>
      </p:sp>
      <p:sp>
        <p:nvSpPr>
          <p:cNvPr id="106" name="TextBox 105">
            <a:extLst>
              <a:ext uri="{FF2B5EF4-FFF2-40B4-BE49-F238E27FC236}">
                <a16:creationId xmlns:a16="http://schemas.microsoft.com/office/drawing/2014/main" id="{D4670F46-51D4-4374-8C43-84252525AD2D}"/>
              </a:ext>
            </a:extLst>
          </p:cNvPr>
          <p:cNvSpPr txBox="1"/>
          <p:nvPr userDrawn="1"/>
        </p:nvSpPr>
        <p:spPr>
          <a:xfrm>
            <a:off x="3770894" y="5675001"/>
            <a:ext cx="2068287"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Candace Steele Flippin, DM</a:t>
            </a:r>
          </a:p>
          <a:p>
            <a:pPr algn="ctr"/>
            <a:r>
              <a:rPr lang="en-US" sz="1000">
                <a:solidFill>
                  <a:srgbClr val="333333"/>
                </a:solidFill>
                <a:effectLst/>
                <a:latin typeface="Arial" panose="020B0604020202020204" pitchFamily="34" charset="0"/>
              </a:rPr>
              <a:t>Senior Vice President and</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Chief Communications Officer</a:t>
            </a:r>
          </a:p>
        </p:txBody>
      </p:sp>
      <p:grpSp>
        <p:nvGrpSpPr>
          <p:cNvPr id="107" name="Group 106">
            <a:extLst>
              <a:ext uri="{FF2B5EF4-FFF2-40B4-BE49-F238E27FC236}">
                <a16:creationId xmlns:a16="http://schemas.microsoft.com/office/drawing/2014/main" id="{2FF2951F-E76A-4D77-B912-74F797DC87DA}"/>
              </a:ext>
            </a:extLst>
          </p:cNvPr>
          <p:cNvGrpSpPr/>
          <p:nvPr userDrawn="1"/>
        </p:nvGrpSpPr>
        <p:grpSpPr>
          <a:xfrm>
            <a:off x="4024273" y="4047855"/>
            <a:ext cx="1570324" cy="1469687"/>
            <a:chOff x="4007181" y="4116223"/>
            <a:chExt cx="1570324" cy="1469687"/>
          </a:xfrm>
        </p:grpSpPr>
        <p:sp>
          <p:nvSpPr>
            <p:cNvPr id="108" name="Oval 107">
              <a:extLst>
                <a:ext uri="{FF2B5EF4-FFF2-40B4-BE49-F238E27FC236}">
                  <a16:creationId xmlns:a16="http://schemas.microsoft.com/office/drawing/2014/main" id="{6223C065-BF12-4F15-B3EF-3342654E3D94}"/>
                </a:ext>
              </a:extLst>
            </p:cNvPr>
            <p:cNvSpPr/>
            <p:nvPr/>
          </p:nvSpPr>
          <p:spPr>
            <a:xfrm>
              <a:off x="4007181" y="4116223"/>
              <a:ext cx="1570324" cy="1454950"/>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9" name="Picture 16">
              <a:extLst>
                <a:ext uri="{FF2B5EF4-FFF2-40B4-BE49-F238E27FC236}">
                  <a16:creationId xmlns:a16="http://schemas.microsoft.com/office/drawing/2014/main" id="{059A2F19-39F8-446B-A32B-02A0AA09B750}"/>
                </a:ext>
              </a:extLst>
            </p:cNvPr>
            <p:cNvPicPr>
              <a:picLocks noChangeAspect="1" noChangeArrowheads="1"/>
            </p:cNvPicPr>
            <p:nvPr/>
          </p:nvPicPr>
          <p:blipFill rotWithShape="1">
            <a:blip r:embed="rId8" cstate="screen">
              <a:extLst>
                <a:ext uri="{28A0092B-C50C-407E-A947-70E740481C1C}">
                  <a14:useLocalDpi xmlns:a14="http://schemas.microsoft.com/office/drawing/2010/main" val="0"/>
                </a:ext>
              </a:extLst>
            </a:blip>
            <a:srcRect/>
            <a:stretch/>
          </p:blipFill>
          <p:spPr bwMode="auto">
            <a:xfrm>
              <a:off x="4047199" y="4246607"/>
              <a:ext cx="1495309" cy="1339303"/>
            </a:xfrm>
            <a:prstGeom prst="flowChartConnector">
              <a:avLst/>
            </a:prstGeom>
            <a:noFill/>
            <a:extLst>
              <a:ext uri="{909E8E84-426E-40DD-AFC4-6F175D3DCCD1}">
                <a14:hiddenFill xmlns:a14="http://schemas.microsoft.com/office/drawing/2010/main">
                  <a:solidFill>
                    <a:srgbClr val="FFFFFF"/>
                  </a:solidFill>
                </a14:hiddenFill>
              </a:ext>
            </a:extLst>
          </p:spPr>
        </p:pic>
      </p:grpSp>
      <p:grpSp>
        <p:nvGrpSpPr>
          <p:cNvPr id="110" name="Group 109">
            <a:extLst>
              <a:ext uri="{FF2B5EF4-FFF2-40B4-BE49-F238E27FC236}">
                <a16:creationId xmlns:a16="http://schemas.microsoft.com/office/drawing/2014/main" id="{45712A08-3C70-483E-8862-B3AAE483F65B}"/>
              </a:ext>
            </a:extLst>
          </p:cNvPr>
          <p:cNvGrpSpPr/>
          <p:nvPr userDrawn="1"/>
        </p:nvGrpSpPr>
        <p:grpSpPr>
          <a:xfrm>
            <a:off x="8987878" y="4045104"/>
            <a:ext cx="1768182" cy="2183895"/>
            <a:chOff x="8987878" y="4045104"/>
            <a:chExt cx="1768182" cy="2183895"/>
          </a:xfrm>
        </p:grpSpPr>
        <p:sp>
          <p:nvSpPr>
            <p:cNvPr id="111" name="TextBox 110">
              <a:extLst>
                <a:ext uri="{FF2B5EF4-FFF2-40B4-BE49-F238E27FC236}">
                  <a16:creationId xmlns:a16="http://schemas.microsoft.com/office/drawing/2014/main" id="{4CCDA74B-072B-49F3-A95B-FC9C815B6421}"/>
                </a:ext>
              </a:extLst>
            </p:cNvPr>
            <p:cNvSpPr txBox="1"/>
            <p:nvPr/>
          </p:nvSpPr>
          <p:spPr>
            <a:xfrm>
              <a:off x="8987878" y="5675001"/>
              <a:ext cx="1768182"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Peter Han</a:t>
              </a:r>
            </a:p>
            <a:p>
              <a:pPr algn="ctr"/>
              <a:r>
                <a:rPr lang="en-US" sz="1000">
                  <a:solidFill>
                    <a:srgbClr val="333333"/>
                  </a:solidFill>
                  <a:effectLst/>
                  <a:latin typeface="Arial" panose="020B0604020202020204" pitchFamily="34" charset="0"/>
                </a:rPr>
                <a:t>President</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Intelligent Spaces Business</a:t>
              </a:r>
            </a:p>
          </p:txBody>
        </p:sp>
        <p:grpSp>
          <p:nvGrpSpPr>
            <p:cNvPr id="112" name="Groupe 12">
              <a:extLst>
                <a:ext uri="{FF2B5EF4-FFF2-40B4-BE49-F238E27FC236}">
                  <a16:creationId xmlns:a16="http://schemas.microsoft.com/office/drawing/2014/main" id="{387FD871-5458-49E6-B616-D4A2AFE55BF8}"/>
                </a:ext>
              </a:extLst>
            </p:cNvPr>
            <p:cNvGrpSpPr/>
            <p:nvPr/>
          </p:nvGrpSpPr>
          <p:grpSpPr>
            <a:xfrm>
              <a:off x="9099458" y="4045104"/>
              <a:ext cx="1543450" cy="1500431"/>
              <a:chOff x="9085319" y="4223142"/>
              <a:chExt cx="1543450" cy="1500431"/>
            </a:xfrm>
          </p:grpSpPr>
          <p:sp>
            <p:nvSpPr>
              <p:cNvPr id="113" name="Oval 112">
                <a:extLst>
                  <a:ext uri="{FF2B5EF4-FFF2-40B4-BE49-F238E27FC236}">
                    <a16:creationId xmlns:a16="http://schemas.microsoft.com/office/drawing/2014/main" id="{8D2AC0CD-C1FA-4E3D-AACC-31AD9F3660D8}"/>
                  </a:ext>
                </a:extLst>
              </p:cNvPr>
              <p:cNvSpPr/>
              <p:nvPr/>
            </p:nvSpPr>
            <p:spPr>
              <a:xfrm>
                <a:off x="9085320" y="4223142"/>
                <a:ext cx="1543449" cy="1492291"/>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4" name="Picture 24">
                <a:extLst>
                  <a:ext uri="{FF2B5EF4-FFF2-40B4-BE49-F238E27FC236}">
                    <a16:creationId xmlns:a16="http://schemas.microsoft.com/office/drawing/2014/main" id="{8B6CC63D-CE6B-404F-BA35-285B3D3D0F67}"/>
                  </a:ext>
                </a:extLst>
              </p:cNvPr>
              <p:cNvPicPr>
                <a:picLocks noChangeAspect="1" noChangeArrowheads="1"/>
              </p:cNvPicPr>
              <p:nvPr/>
            </p:nvPicPr>
            <p:blipFill rotWithShape="1">
              <a:blip r:embed="rId9" cstate="screen">
                <a:extLst>
                  <a:ext uri="{28A0092B-C50C-407E-A947-70E740481C1C}">
                    <a14:useLocalDpi xmlns:a14="http://schemas.microsoft.com/office/drawing/2010/main" val="0"/>
                  </a:ext>
                </a:extLst>
              </a:blip>
              <a:srcRect t="-8683"/>
              <a:stretch/>
            </p:blipFill>
            <p:spPr bwMode="auto">
              <a:xfrm>
                <a:off x="9085319" y="4223142"/>
                <a:ext cx="1543449" cy="1500431"/>
              </a:xfrm>
              <a:prstGeom prst="flowChartConnector">
                <a:avLst/>
              </a:prstGeom>
              <a:noFill/>
              <a:extLst>
                <a:ext uri="{909E8E84-426E-40DD-AFC4-6F175D3DCCD1}">
                  <a14:hiddenFill xmlns:a14="http://schemas.microsoft.com/office/drawing/2010/main">
                    <a:solidFill>
                      <a:srgbClr val="FFFFFF"/>
                    </a:solidFill>
                  </a14:hiddenFill>
                </a:ext>
              </a:extLst>
            </p:spPr>
          </p:pic>
        </p:grpSp>
      </p:grpSp>
      <p:grpSp>
        <p:nvGrpSpPr>
          <p:cNvPr id="115" name="Group 114">
            <a:extLst>
              <a:ext uri="{FF2B5EF4-FFF2-40B4-BE49-F238E27FC236}">
                <a16:creationId xmlns:a16="http://schemas.microsoft.com/office/drawing/2014/main" id="{C381040B-529C-4E88-B934-6DF51C9AA25D}"/>
              </a:ext>
            </a:extLst>
          </p:cNvPr>
          <p:cNvGrpSpPr/>
          <p:nvPr userDrawn="1"/>
        </p:nvGrpSpPr>
        <p:grpSpPr>
          <a:xfrm>
            <a:off x="6600269" y="4048213"/>
            <a:ext cx="1460673" cy="1463608"/>
            <a:chOff x="6600269" y="4142219"/>
            <a:chExt cx="1460673" cy="1463608"/>
          </a:xfrm>
        </p:grpSpPr>
        <p:sp>
          <p:nvSpPr>
            <p:cNvPr id="116" name="object 22">
              <a:extLst>
                <a:ext uri="{FF2B5EF4-FFF2-40B4-BE49-F238E27FC236}">
                  <a16:creationId xmlns:a16="http://schemas.microsoft.com/office/drawing/2014/main" id="{500007E6-D53C-471B-83FC-17EE919F88C9}"/>
                </a:ext>
              </a:extLst>
            </p:cNvPr>
            <p:cNvSpPr/>
            <p:nvPr/>
          </p:nvSpPr>
          <p:spPr>
            <a:xfrm>
              <a:off x="6610516" y="4170092"/>
              <a:ext cx="1440180" cy="1435735"/>
            </a:xfrm>
            <a:custGeom>
              <a:avLst/>
              <a:gdLst/>
              <a:ahLst/>
              <a:cxnLst/>
              <a:rect l="l" t="t" r="r" b="b"/>
              <a:pathLst>
                <a:path w="1440180" h="1435735">
                  <a:moveTo>
                    <a:pt x="719327" y="1435608"/>
                  </a:moveTo>
                  <a:lnTo>
                    <a:pt x="672146" y="1434080"/>
                  </a:lnTo>
                  <a:lnTo>
                    <a:pt x="625762" y="1429560"/>
                  </a:lnTo>
                  <a:lnTo>
                    <a:pt x="580273" y="1422143"/>
                  </a:lnTo>
                  <a:lnTo>
                    <a:pt x="535774" y="1411923"/>
                  </a:lnTo>
                  <a:lnTo>
                    <a:pt x="492361" y="1398995"/>
                  </a:lnTo>
                  <a:lnTo>
                    <a:pt x="450130" y="1383454"/>
                  </a:lnTo>
                  <a:lnTo>
                    <a:pt x="409178" y="1365395"/>
                  </a:lnTo>
                  <a:lnTo>
                    <a:pt x="369599" y="1344913"/>
                  </a:lnTo>
                  <a:lnTo>
                    <a:pt x="331491" y="1322102"/>
                  </a:lnTo>
                  <a:lnTo>
                    <a:pt x="294948" y="1297058"/>
                  </a:lnTo>
                  <a:lnTo>
                    <a:pt x="260068" y="1269874"/>
                  </a:lnTo>
                  <a:lnTo>
                    <a:pt x="226945" y="1240646"/>
                  </a:lnTo>
                  <a:lnTo>
                    <a:pt x="195677" y="1209469"/>
                  </a:lnTo>
                  <a:lnTo>
                    <a:pt x="166358" y="1176438"/>
                  </a:lnTo>
                  <a:lnTo>
                    <a:pt x="139086" y="1141646"/>
                  </a:lnTo>
                  <a:lnTo>
                    <a:pt x="113955" y="1105190"/>
                  </a:lnTo>
                  <a:lnTo>
                    <a:pt x="91062" y="1067163"/>
                  </a:lnTo>
                  <a:lnTo>
                    <a:pt x="70503" y="1027662"/>
                  </a:lnTo>
                  <a:lnTo>
                    <a:pt x="52374" y="986779"/>
                  </a:lnTo>
                  <a:lnTo>
                    <a:pt x="36771" y="944611"/>
                  </a:lnTo>
                  <a:lnTo>
                    <a:pt x="23789" y="901252"/>
                  </a:lnTo>
                  <a:lnTo>
                    <a:pt x="13525" y="856797"/>
                  </a:lnTo>
                  <a:lnTo>
                    <a:pt x="6075" y="811341"/>
                  </a:lnTo>
                  <a:lnTo>
                    <a:pt x="1534" y="764978"/>
                  </a:lnTo>
                  <a:lnTo>
                    <a:pt x="0" y="717804"/>
                  </a:lnTo>
                  <a:lnTo>
                    <a:pt x="1534" y="670629"/>
                  </a:lnTo>
                  <a:lnTo>
                    <a:pt x="6075" y="624266"/>
                  </a:lnTo>
                  <a:lnTo>
                    <a:pt x="13525" y="578810"/>
                  </a:lnTo>
                  <a:lnTo>
                    <a:pt x="23789" y="534355"/>
                  </a:lnTo>
                  <a:lnTo>
                    <a:pt x="36771" y="490996"/>
                  </a:lnTo>
                  <a:lnTo>
                    <a:pt x="52374" y="448828"/>
                  </a:lnTo>
                  <a:lnTo>
                    <a:pt x="70503" y="407945"/>
                  </a:lnTo>
                  <a:lnTo>
                    <a:pt x="91062" y="368444"/>
                  </a:lnTo>
                  <a:lnTo>
                    <a:pt x="113955" y="330417"/>
                  </a:lnTo>
                  <a:lnTo>
                    <a:pt x="139086" y="293961"/>
                  </a:lnTo>
                  <a:lnTo>
                    <a:pt x="166358" y="259169"/>
                  </a:lnTo>
                  <a:lnTo>
                    <a:pt x="195677" y="226138"/>
                  </a:lnTo>
                  <a:lnTo>
                    <a:pt x="226945" y="194961"/>
                  </a:lnTo>
                  <a:lnTo>
                    <a:pt x="260068" y="165733"/>
                  </a:lnTo>
                  <a:lnTo>
                    <a:pt x="294948" y="138549"/>
                  </a:lnTo>
                  <a:lnTo>
                    <a:pt x="331491" y="113505"/>
                  </a:lnTo>
                  <a:lnTo>
                    <a:pt x="369599" y="90694"/>
                  </a:lnTo>
                  <a:lnTo>
                    <a:pt x="409178" y="70212"/>
                  </a:lnTo>
                  <a:lnTo>
                    <a:pt x="450130" y="52153"/>
                  </a:lnTo>
                  <a:lnTo>
                    <a:pt x="492361" y="36612"/>
                  </a:lnTo>
                  <a:lnTo>
                    <a:pt x="535774" y="23684"/>
                  </a:lnTo>
                  <a:lnTo>
                    <a:pt x="580273" y="13464"/>
                  </a:lnTo>
                  <a:lnTo>
                    <a:pt x="625762" y="6047"/>
                  </a:lnTo>
                  <a:lnTo>
                    <a:pt x="672146" y="1527"/>
                  </a:lnTo>
                  <a:lnTo>
                    <a:pt x="719327" y="0"/>
                  </a:lnTo>
                  <a:lnTo>
                    <a:pt x="766685" y="1527"/>
                  </a:lnTo>
                  <a:lnTo>
                    <a:pt x="813230" y="6047"/>
                  </a:lnTo>
                  <a:lnTo>
                    <a:pt x="858867" y="13464"/>
                  </a:lnTo>
                  <a:lnTo>
                    <a:pt x="903502" y="23684"/>
                  </a:lnTo>
                  <a:lnTo>
                    <a:pt x="947037" y="36612"/>
                  </a:lnTo>
                  <a:lnTo>
                    <a:pt x="989379" y="52153"/>
                  </a:lnTo>
                  <a:lnTo>
                    <a:pt x="1030432" y="70212"/>
                  </a:lnTo>
                  <a:lnTo>
                    <a:pt x="1070100" y="90694"/>
                  </a:lnTo>
                  <a:lnTo>
                    <a:pt x="1108289" y="113505"/>
                  </a:lnTo>
                  <a:lnTo>
                    <a:pt x="1144901" y="138549"/>
                  </a:lnTo>
                  <a:lnTo>
                    <a:pt x="1179843" y="165733"/>
                  </a:lnTo>
                  <a:lnTo>
                    <a:pt x="1213019" y="194961"/>
                  </a:lnTo>
                  <a:lnTo>
                    <a:pt x="1244333" y="226138"/>
                  </a:lnTo>
                  <a:lnTo>
                    <a:pt x="1273691" y="259169"/>
                  </a:lnTo>
                  <a:lnTo>
                    <a:pt x="1300996" y="293961"/>
                  </a:lnTo>
                  <a:lnTo>
                    <a:pt x="1326153" y="330417"/>
                  </a:lnTo>
                  <a:lnTo>
                    <a:pt x="1349067" y="368444"/>
                  </a:lnTo>
                  <a:lnTo>
                    <a:pt x="1369642" y="407945"/>
                  </a:lnTo>
                  <a:lnTo>
                    <a:pt x="1387784" y="448828"/>
                  </a:lnTo>
                  <a:lnTo>
                    <a:pt x="1403396" y="490996"/>
                  </a:lnTo>
                  <a:lnTo>
                    <a:pt x="1416384" y="534355"/>
                  </a:lnTo>
                  <a:lnTo>
                    <a:pt x="1426651" y="578810"/>
                  </a:lnTo>
                  <a:lnTo>
                    <a:pt x="1434103" y="624266"/>
                  </a:lnTo>
                  <a:lnTo>
                    <a:pt x="1438645" y="670629"/>
                  </a:lnTo>
                  <a:lnTo>
                    <a:pt x="1440179" y="717804"/>
                  </a:lnTo>
                  <a:lnTo>
                    <a:pt x="1438645" y="764978"/>
                  </a:lnTo>
                  <a:lnTo>
                    <a:pt x="1434103" y="811341"/>
                  </a:lnTo>
                  <a:lnTo>
                    <a:pt x="1426651" y="856797"/>
                  </a:lnTo>
                  <a:lnTo>
                    <a:pt x="1416384" y="901252"/>
                  </a:lnTo>
                  <a:lnTo>
                    <a:pt x="1403396" y="944611"/>
                  </a:lnTo>
                  <a:lnTo>
                    <a:pt x="1387784" y="986779"/>
                  </a:lnTo>
                  <a:lnTo>
                    <a:pt x="1369642" y="1027662"/>
                  </a:lnTo>
                  <a:lnTo>
                    <a:pt x="1349067" y="1067163"/>
                  </a:lnTo>
                  <a:lnTo>
                    <a:pt x="1326153" y="1105190"/>
                  </a:lnTo>
                  <a:lnTo>
                    <a:pt x="1300996" y="1141646"/>
                  </a:lnTo>
                  <a:lnTo>
                    <a:pt x="1273691" y="1176438"/>
                  </a:lnTo>
                  <a:lnTo>
                    <a:pt x="1244333" y="1209469"/>
                  </a:lnTo>
                  <a:lnTo>
                    <a:pt x="1213019" y="1240646"/>
                  </a:lnTo>
                  <a:lnTo>
                    <a:pt x="1179843" y="1269874"/>
                  </a:lnTo>
                  <a:lnTo>
                    <a:pt x="1144901" y="1297058"/>
                  </a:lnTo>
                  <a:lnTo>
                    <a:pt x="1108289" y="1322102"/>
                  </a:lnTo>
                  <a:lnTo>
                    <a:pt x="1070100" y="1344913"/>
                  </a:lnTo>
                  <a:lnTo>
                    <a:pt x="1030432" y="1365395"/>
                  </a:lnTo>
                  <a:lnTo>
                    <a:pt x="989379" y="1383454"/>
                  </a:lnTo>
                  <a:lnTo>
                    <a:pt x="947037" y="1398995"/>
                  </a:lnTo>
                  <a:lnTo>
                    <a:pt x="903502" y="1411923"/>
                  </a:lnTo>
                  <a:lnTo>
                    <a:pt x="858867" y="1422143"/>
                  </a:lnTo>
                  <a:lnTo>
                    <a:pt x="813230" y="1429560"/>
                  </a:lnTo>
                  <a:lnTo>
                    <a:pt x="766685" y="1434080"/>
                  </a:lnTo>
                  <a:lnTo>
                    <a:pt x="719327" y="1435608"/>
                  </a:lnTo>
                  <a:close/>
                </a:path>
              </a:pathLst>
            </a:custGeom>
            <a:solidFill>
              <a:srgbClr val="EDEFEF"/>
            </a:solidFill>
          </p:spPr>
          <p:txBody>
            <a:bodyPr wrap="square" lIns="0" tIns="0" rIns="0" bIns="0" rtlCol="0"/>
            <a:lstStyle/>
            <a:p>
              <a:endParaRPr/>
            </a:p>
          </p:txBody>
        </p:sp>
        <p:pic>
          <p:nvPicPr>
            <p:cNvPr id="117" name="object 23">
              <a:extLst>
                <a:ext uri="{FF2B5EF4-FFF2-40B4-BE49-F238E27FC236}">
                  <a16:creationId xmlns:a16="http://schemas.microsoft.com/office/drawing/2014/main" id="{9E13047F-987C-499C-8269-8A1D44D41FF1}"/>
                </a:ext>
              </a:extLst>
            </p:cNvPr>
            <p:cNvPicPr/>
            <p:nvPr/>
          </p:nvPicPr>
          <p:blipFill rotWithShape="1">
            <a:blip r:embed="rId10" cstate="print"/>
            <a:srcRect l="2594" t="2368" r="2769" b="2401"/>
            <a:stretch/>
          </p:blipFill>
          <p:spPr>
            <a:xfrm>
              <a:off x="6600269" y="4142219"/>
              <a:ext cx="1460673" cy="1454950"/>
            </a:xfrm>
            <a:prstGeom prst="ellipse">
              <a:avLst/>
            </a:prstGeom>
          </p:spPr>
        </p:pic>
      </p:grpSp>
      <p:sp>
        <p:nvSpPr>
          <p:cNvPr id="118" name="TextBox 117">
            <a:extLst>
              <a:ext uri="{FF2B5EF4-FFF2-40B4-BE49-F238E27FC236}">
                <a16:creationId xmlns:a16="http://schemas.microsoft.com/office/drawing/2014/main" id="{C1355F1D-21D1-4BCC-A1B7-2287AA4DE147}"/>
              </a:ext>
            </a:extLst>
          </p:cNvPr>
          <p:cNvSpPr txBox="1"/>
          <p:nvPr userDrawn="1"/>
        </p:nvSpPr>
        <p:spPr>
          <a:xfrm>
            <a:off x="6367530" y="5675001"/>
            <a:ext cx="1935189" cy="707886"/>
          </a:xfrm>
          <a:prstGeom prst="rect">
            <a:avLst/>
          </a:prstGeom>
          <a:noFill/>
        </p:spPr>
        <p:txBody>
          <a:bodyPr wrap="square">
            <a:spAutoFit/>
          </a:bodyPr>
          <a:lstStyle/>
          <a:p>
            <a:pPr algn="ctr"/>
            <a:r>
              <a:rPr lang="en-US" sz="1000" dirty="0">
                <a:solidFill>
                  <a:srgbClr val="007239"/>
                </a:solidFill>
                <a:effectLst/>
                <a:latin typeface="Arial" panose="020B0604020202020204" pitchFamily="34" charset="0"/>
              </a:rPr>
              <a:t>Trevor S. Palmer</a:t>
            </a:r>
          </a:p>
          <a:p>
            <a:pPr algn="ctr"/>
            <a:r>
              <a:rPr lang="en-US" sz="1000" dirty="0">
                <a:solidFill>
                  <a:srgbClr val="333333"/>
                </a:solidFill>
                <a:effectLst/>
                <a:latin typeface="Arial" panose="020B0604020202020204" pitchFamily="34" charset="0"/>
              </a:rPr>
              <a:t>President</a:t>
            </a:r>
            <a:br>
              <a:rPr lang="en-US" sz="1000" dirty="0">
                <a:solidFill>
                  <a:srgbClr val="333333"/>
                </a:solidFill>
                <a:effectLst/>
                <a:latin typeface="Arial" panose="020B0604020202020204" pitchFamily="34" charset="0"/>
              </a:rPr>
            </a:br>
            <a:r>
              <a:rPr lang="en-US" sz="1000" dirty="0">
                <a:solidFill>
                  <a:srgbClr val="333333"/>
                </a:solidFill>
                <a:effectLst/>
                <a:latin typeface="Arial" panose="020B0604020202020204" pitchFamily="34" charset="0"/>
              </a:rPr>
              <a:t>Acuity Brands Lighting and Controls Business</a:t>
            </a:r>
          </a:p>
        </p:txBody>
      </p:sp>
    </p:spTree>
    <p:extLst>
      <p:ext uri="{BB962C8B-B14F-4D97-AF65-F5344CB8AC3E}">
        <p14:creationId xmlns:p14="http://schemas.microsoft.com/office/powerpoint/2010/main" val="63061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12" name="Oval 11">
            <a:extLst>
              <a:ext uri="{FF2B5EF4-FFF2-40B4-BE49-F238E27FC236}">
                <a16:creationId xmlns:a16="http://schemas.microsoft.com/office/drawing/2014/main" id="{6728ED71-D650-44F6-92E8-1DC394417287}"/>
              </a:ext>
            </a:extLst>
          </p:cNvPr>
          <p:cNvSpPr/>
          <p:nvPr userDrawn="1"/>
        </p:nvSpPr>
        <p:spPr>
          <a:xfrm>
            <a:off x="8619713" y="44562"/>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A picture containing loudspeaker&#10;&#10;Description automatically generated">
            <a:extLst>
              <a:ext uri="{FF2B5EF4-FFF2-40B4-BE49-F238E27FC236}">
                <a16:creationId xmlns:a16="http://schemas.microsoft.com/office/drawing/2014/main" id="{243AC94B-1EA9-4C92-B82D-0F89C06AA9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215894" y="-579820"/>
            <a:ext cx="2640340" cy="2416985"/>
          </a:xfrm>
          <a:prstGeom prst="rect">
            <a:avLst/>
          </a:prstGeom>
        </p:spPr>
      </p:pic>
      <p:sp>
        <p:nvSpPr>
          <p:cNvPr id="10" name="Rectangle 9">
            <a:extLst>
              <a:ext uri="{FF2B5EF4-FFF2-40B4-BE49-F238E27FC236}">
                <a16:creationId xmlns:a16="http://schemas.microsoft.com/office/drawing/2014/main" id="{30334CD0-D38F-CABC-9FBF-867235633EEB}"/>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54947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ABL Leade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Shape&#10;&#10;Description automatically generated with medium confidence">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0F384E7B-7D41-4D16-B99B-D5071286FB05}"/>
              </a:ext>
            </a:extLst>
          </p:cNvPr>
          <p:cNvSpPr>
            <a:spLocks noGrp="1"/>
          </p:cNvSpPr>
          <p:nvPr>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
        <p:nvSpPr>
          <p:cNvPr id="86" name="Titre 13">
            <a:extLst>
              <a:ext uri="{FF2B5EF4-FFF2-40B4-BE49-F238E27FC236}">
                <a16:creationId xmlns:a16="http://schemas.microsoft.com/office/drawing/2014/main" id="{4753E00B-8ED4-4FC9-B6E5-F05C60A1024F}"/>
              </a:ext>
            </a:extLst>
          </p:cNvPr>
          <p:cNvSpPr>
            <a:spLocks noGrp="1"/>
          </p:cNvSpPr>
          <p:nvPr>
            <p:ph type="title"/>
          </p:nvPr>
        </p:nvSpPr>
        <p:spPr>
          <a:xfrm>
            <a:off x="838200" y="684951"/>
            <a:ext cx="10515600" cy="685909"/>
          </a:xfrm>
        </p:spPr>
        <p:txBody>
          <a:bodyPr>
            <a:normAutofit fontScale="90000"/>
          </a:bodyPr>
          <a:lstStyle/>
          <a:p>
            <a:r>
              <a:rPr lang="en-US">
                <a:ea typeface="Roboto Thin" panose="02000000000000000000" pitchFamily="2" charset="0"/>
              </a:rPr>
              <a:t>Click to edit Master title style</a:t>
            </a:r>
            <a:endParaRPr lang="fr-FR"/>
          </a:p>
        </p:txBody>
      </p:sp>
      <p:grpSp>
        <p:nvGrpSpPr>
          <p:cNvPr id="87" name="Group 86">
            <a:extLst>
              <a:ext uri="{FF2B5EF4-FFF2-40B4-BE49-F238E27FC236}">
                <a16:creationId xmlns:a16="http://schemas.microsoft.com/office/drawing/2014/main" id="{B7AACFED-2949-4BEF-ACDB-E49E6B45435F}"/>
              </a:ext>
            </a:extLst>
          </p:cNvPr>
          <p:cNvGrpSpPr/>
          <p:nvPr userDrawn="1"/>
        </p:nvGrpSpPr>
        <p:grpSpPr>
          <a:xfrm>
            <a:off x="6411895" y="1751242"/>
            <a:ext cx="1554063" cy="1745884"/>
            <a:chOff x="8150664" y="1803450"/>
            <a:chExt cx="2108017" cy="2259184"/>
          </a:xfrm>
        </p:grpSpPr>
        <p:sp>
          <p:nvSpPr>
            <p:cNvPr id="88" name="object 7">
              <a:extLst>
                <a:ext uri="{FF2B5EF4-FFF2-40B4-BE49-F238E27FC236}">
                  <a16:creationId xmlns:a16="http://schemas.microsoft.com/office/drawing/2014/main" id="{2EC1A867-209A-4404-9C06-18C782FEB117}"/>
                </a:ext>
              </a:extLst>
            </p:cNvPr>
            <p:cNvSpPr txBox="1"/>
            <p:nvPr/>
          </p:nvSpPr>
          <p:spPr>
            <a:xfrm>
              <a:off x="8150664" y="3428729"/>
              <a:ext cx="2108017" cy="633905"/>
            </a:xfrm>
            <a:prstGeom prst="rect">
              <a:avLst/>
            </a:prstGeom>
          </p:spPr>
          <p:txBody>
            <a:bodyPr vert="horz" wrap="square" lIns="0" tIns="12700" rIns="0" bIns="0" rtlCol="0">
              <a:spAutoFit/>
            </a:bodyPr>
            <a:lstStyle/>
            <a:p>
              <a:pPr algn="ctr">
                <a:lnSpc>
                  <a:spcPct val="100000"/>
                </a:lnSpc>
                <a:spcBef>
                  <a:spcPts val="100"/>
                </a:spcBef>
              </a:pPr>
              <a:r>
                <a:rPr sz="1100" dirty="0">
                  <a:solidFill>
                    <a:srgbClr val="007239"/>
                  </a:solidFill>
                  <a:cs typeface="Gill Sans MT"/>
                </a:rPr>
                <a:t>George </a:t>
              </a:r>
              <a:r>
                <a:rPr sz="1100" dirty="0" err="1">
                  <a:solidFill>
                    <a:srgbClr val="007239"/>
                  </a:solidFill>
                  <a:cs typeface="Gill Sans MT"/>
                </a:rPr>
                <a:t>Mcilwraith</a:t>
              </a:r>
              <a:endParaRPr sz="1100" dirty="0">
                <a:solidFill>
                  <a:srgbClr val="007239"/>
                </a:solidFill>
                <a:cs typeface="Gill Sans MT"/>
              </a:endParaRPr>
            </a:p>
            <a:p>
              <a:pPr algn="ctr">
                <a:lnSpc>
                  <a:spcPct val="100000"/>
                </a:lnSpc>
                <a:spcBef>
                  <a:spcPts val="15"/>
                </a:spcBef>
              </a:pPr>
              <a:r>
                <a:rPr sz="1000" dirty="0">
                  <a:solidFill>
                    <a:schemeClr val="accent6"/>
                  </a:solidFill>
                  <a:cs typeface="Gill Sans MT"/>
                </a:rPr>
                <a:t>S</a:t>
              </a:r>
              <a:r>
                <a:rPr lang="en-US" sz="1000" dirty="0">
                  <a:solidFill>
                    <a:schemeClr val="accent6"/>
                  </a:solidFill>
                  <a:cs typeface="Gill Sans MT"/>
                </a:rPr>
                <a:t>enior Vice President</a:t>
              </a:r>
            </a:p>
            <a:p>
              <a:pPr algn="ctr">
                <a:lnSpc>
                  <a:spcPct val="100000"/>
                </a:lnSpc>
                <a:spcBef>
                  <a:spcPts val="15"/>
                </a:spcBef>
              </a:pPr>
              <a:r>
                <a:rPr sz="1000" dirty="0">
                  <a:solidFill>
                    <a:schemeClr val="accent6"/>
                  </a:solidFill>
                  <a:cs typeface="Gill Sans MT"/>
                </a:rPr>
                <a:t>Commercial Lighting</a:t>
              </a:r>
            </a:p>
          </p:txBody>
        </p:sp>
        <p:grpSp>
          <p:nvGrpSpPr>
            <p:cNvPr id="89" name="Group 88">
              <a:extLst>
                <a:ext uri="{FF2B5EF4-FFF2-40B4-BE49-F238E27FC236}">
                  <a16:creationId xmlns:a16="http://schemas.microsoft.com/office/drawing/2014/main" id="{9EC5492E-C00D-4F6B-B821-21E90D174AEA}"/>
                </a:ext>
              </a:extLst>
            </p:cNvPr>
            <p:cNvGrpSpPr/>
            <p:nvPr/>
          </p:nvGrpSpPr>
          <p:grpSpPr>
            <a:xfrm>
              <a:off x="8510498" y="1803450"/>
              <a:ext cx="1431739" cy="1433779"/>
              <a:chOff x="8544449" y="1634228"/>
              <a:chExt cx="1452880" cy="1454950"/>
            </a:xfrm>
          </p:grpSpPr>
          <p:sp>
            <p:nvSpPr>
              <p:cNvPr id="90" name="object 11">
                <a:extLst>
                  <a:ext uri="{FF2B5EF4-FFF2-40B4-BE49-F238E27FC236}">
                    <a16:creationId xmlns:a16="http://schemas.microsoft.com/office/drawing/2014/main" id="{3298F99B-A1B8-44A5-9288-9DD8AE72FF5D}"/>
                  </a:ext>
                </a:extLst>
              </p:cNvPr>
              <p:cNvSpPr/>
              <p:nvPr/>
            </p:nvSpPr>
            <p:spPr>
              <a:xfrm>
                <a:off x="8552761" y="1634228"/>
                <a:ext cx="1408430" cy="1403985"/>
              </a:xfrm>
              <a:custGeom>
                <a:avLst/>
                <a:gdLst/>
                <a:ahLst/>
                <a:cxnLst/>
                <a:rect l="l" t="t" r="r" b="b"/>
                <a:pathLst>
                  <a:path w="1408429" h="1403985">
                    <a:moveTo>
                      <a:pt x="704087" y="1403603"/>
                    </a:moveTo>
                    <a:lnTo>
                      <a:pt x="655909" y="1401986"/>
                    </a:lnTo>
                    <a:lnTo>
                      <a:pt x="608597" y="1397202"/>
                    </a:lnTo>
                    <a:lnTo>
                      <a:pt x="562257" y="1389358"/>
                    </a:lnTo>
                    <a:lnTo>
                      <a:pt x="516995" y="1378556"/>
                    </a:lnTo>
                    <a:lnTo>
                      <a:pt x="472916" y="1364903"/>
                    </a:lnTo>
                    <a:lnTo>
                      <a:pt x="430125" y="1348501"/>
                    </a:lnTo>
                    <a:lnTo>
                      <a:pt x="388726" y="1329457"/>
                    </a:lnTo>
                    <a:lnTo>
                      <a:pt x="348826" y="1307874"/>
                    </a:lnTo>
                    <a:lnTo>
                      <a:pt x="310529" y="1283856"/>
                    </a:lnTo>
                    <a:lnTo>
                      <a:pt x="273941" y="1257509"/>
                    </a:lnTo>
                    <a:lnTo>
                      <a:pt x="239167" y="1228937"/>
                    </a:lnTo>
                    <a:lnTo>
                      <a:pt x="206311" y="1198245"/>
                    </a:lnTo>
                    <a:lnTo>
                      <a:pt x="175479" y="1165536"/>
                    </a:lnTo>
                    <a:lnTo>
                      <a:pt x="146777" y="1130915"/>
                    </a:lnTo>
                    <a:lnTo>
                      <a:pt x="120309" y="1094487"/>
                    </a:lnTo>
                    <a:lnTo>
                      <a:pt x="96181" y="1056357"/>
                    </a:lnTo>
                    <a:lnTo>
                      <a:pt x="74497" y="1016629"/>
                    </a:lnTo>
                    <a:lnTo>
                      <a:pt x="55364" y="975407"/>
                    </a:lnTo>
                    <a:lnTo>
                      <a:pt x="38885" y="932796"/>
                    </a:lnTo>
                    <a:lnTo>
                      <a:pt x="25167" y="888901"/>
                    </a:lnTo>
                    <a:lnTo>
                      <a:pt x="14314" y="843825"/>
                    </a:lnTo>
                    <a:lnTo>
                      <a:pt x="6432" y="797674"/>
                    </a:lnTo>
                    <a:lnTo>
                      <a:pt x="1625" y="750552"/>
                    </a:lnTo>
                    <a:lnTo>
                      <a:pt x="0" y="702564"/>
                    </a:lnTo>
                    <a:lnTo>
                      <a:pt x="1625" y="654567"/>
                    </a:lnTo>
                    <a:lnTo>
                      <a:pt x="6432" y="607423"/>
                    </a:lnTo>
                    <a:lnTo>
                      <a:pt x="14314" y="561236"/>
                    </a:lnTo>
                    <a:lnTo>
                      <a:pt x="25167" y="516113"/>
                    </a:lnTo>
                    <a:lnTo>
                      <a:pt x="38885" y="472160"/>
                    </a:lnTo>
                    <a:lnTo>
                      <a:pt x="55364" y="429482"/>
                    </a:lnTo>
                    <a:lnTo>
                      <a:pt x="74497" y="388185"/>
                    </a:lnTo>
                    <a:lnTo>
                      <a:pt x="96181" y="348375"/>
                    </a:lnTo>
                    <a:lnTo>
                      <a:pt x="120309" y="310157"/>
                    </a:lnTo>
                    <a:lnTo>
                      <a:pt x="146777" y="273639"/>
                    </a:lnTo>
                    <a:lnTo>
                      <a:pt x="175479" y="238924"/>
                    </a:lnTo>
                    <a:lnTo>
                      <a:pt x="206311" y="206121"/>
                    </a:lnTo>
                    <a:lnTo>
                      <a:pt x="239167" y="175333"/>
                    </a:lnTo>
                    <a:lnTo>
                      <a:pt x="273941" y="146667"/>
                    </a:lnTo>
                    <a:lnTo>
                      <a:pt x="310529" y="120229"/>
                    </a:lnTo>
                    <a:lnTo>
                      <a:pt x="348826" y="96124"/>
                    </a:lnTo>
                    <a:lnTo>
                      <a:pt x="388726" y="74459"/>
                    </a:lnTo>
                    <a:lnTo>
                      <a:pt x="430125" y="55340"/>
                    </a:lnTo>
                    <a:lnTo>
                      <a:pt x="472916" y="38871"/>
                    </a:lnTo>
                    <a:lnTo>
                      <a:pt x="516995" y="25160"/>
                    </a:lnTo>
                    <a:lnTo>
                      <a:pt x="562257" y="14311"/>
                    </a:lnTo>
                    <a:lnTo>
                      <a:pt x="608597" y="6431"/>
                    </a:lnTo>
                    <a:lnTo>
                      <a:pt x="655909" y="1625"/>
                    </a:lnTo>
                    <a:lnTo>
                      <a:pt x="704087" y="0"/>
                    </a:lnTo>
                    <a:lnTo>
                      <a:pt x="752266" y="1625"/>
                    </a:lnTo>
                    <a:lnTo>
                      <a:pt x="799578" y="6431"/>
                    </a:lnTo>
                    <a:lnTo>
                      <a:pt x="845918" y="14311"/>
                    </a:lnTo>
                    <a:lnTo>
                      <a:pt x="891180" y="25160"/>
                    </a:lnTo>
                    <a:lnTo>
                      <a:pt x="935259" y="38871"/>
                    </a:lnTo>
                    <a:lnTo>
                      <a:pt x="978050" y="55340"/>
                    </a:lnTo>
                    <a:lnTo>
                      <a:pt x="1019449" y="74459"/>
                    </a:lnTo>
                    <a:lnTo>
                      <a:pt x="1059349" y="96124"/>
                    </a:lnTo>
                    <a:lnTo>
                      <a:pt x="1097646" y="120229"/>
                    </a:lnTo>
                    <a:lnTo>
                      <a:pt x="1134234" y="146667"/>
                    </a:lnTo>
                    <a:lnTo>
                      <a:pt x="1169008" y="175333"/>
                    </a:lnTo>
                    <a:lnTo>
                      <a:pt x="1201864" y="206121"/>
                    </a:lnTo>
                    <a:lnTo>
                      <a:pt x="1232696" y="238924"/>
                    </a:lnTo>
                    <a:lnTo>
                      <a:pt x="1261398" y="273639"/>
                    </a:lnTo>
                    <a:lnTo>
                      <a:pt x="1287866" y="310157"/>
                    </a:lnTo>
                    <a:lnTo>
                      <a:pt x="1311994" y="348375"/>
                    </a:lnTo>
                    <a:lnTo>
                      <a:pt x="1333678" y="388185"/>
                    </a:lnTo>
                    <a:lnTo>
                      <a:pt x="1352811" y="429482"/>
                    </a:lnTo>
                    <a:lnTo>
                      <a:pt x="1369290" y="472160"/>
                    </a:lnTo>
                    <a:lnTo>
                      <a:pt x="1383008" y="516113"/>
                    </a:lnTo>
                    <a:lnTo>
                      <a:pt x="1393861" y="561236"/>
                    </a:lnTo>
                    <a:lnTo>
                      <a:pt x="1401743" y="607423"/>
                    </a:lnTo>
                    <a:lnTo>
                      <a:pt x="1406550" y="654567"/>
                    </a:lnTo>
                    <a:lnTo>
                      <a:pt x="1408175" y="702564"/>
                    </a:lnTo>
                    <a:lnTo>
                      <a:pt x="1406550" y="750552"/>
                    </a:lnTo>
                    <a:lnTo>
                      <a:pt x="1401743" y="797674"/>
                    </a:lnTo>
                    <a:lnTo>
                      <a:pt x="1393861" y="843825"/>
                    </a:lnTo>
                    <a:lnTo>
                      <a:pt x="1383008" y="888901"/>
                    </a:lnTo>
                    <a:lnTo>
                      <a:pt x="1369290" y="932796"/>
                    </a:lnTo>
                    <a:lnTo>
                      <a:pt x="1352811" y="975407"/>
                    </a:lnTo>
                    <a:lnTo>
                      <a:pt x="1333678" y="1016629"/>
                    </a:lnTo>
                    <a:lnTo>
                      <a:pt x="1311994" y="1056357"/>
                    </a:lnTo>
                    <a:lnTo>
                      <a:pt x="1287866" y="1094487"/>
                    </a:lnTo>
                    <a:lnTo>
                      <a:pt x="1261398" y="1130915"/>
                    </a:lnTo>
                    <a:lnTo>
                      <a:pt x="1232696" y="1165536"/>
                    </a:lnTo>
                    <a:lnTo>
                      <a:pt x="1201864" y="1198245"/>
                    </a:lnTo>
                    <a:lnTo>
                      <a:pt x="1169008" y="1228937"/>
                    </a:lnTo>
                    <a:lnTo>
                      <a:pt x="1134234" y="1257509"/>
                    </a:lnTo>
                    <a:lnTo>
                      <a:pt x="1097646" y="1283856"/>
                    </a:lnTo>
                    <a:lnTo>
                      <a:pt x="1059349" y="1307874"/>
                    </a:lnTo>
                    <a:lnTo>
                      <a:pt x="1019449" y="1329457"/>
                    </a:lnTo>
                    <a:lnTo>
                      <a:pt x="978050" y="1348501"/>
                    </a:lnTo>
                    <a:lnTo>
                      <a:pt x="935259" y="1364903"/>
                    </a:lnTo>
                    <a:lnTo>
                      <a:pt x="891180" y="1378556"/>
                    </a:lnTo>
                    <a:lnTo>
                      <a:pt x="845918" y="1389358"/>
                    </a:lnTo>
                    <a:lnTo>
                      <a:pt x="799578" y="1397202"/>
                    </a:lnTo>
                    <a:lnTo>
                      <a:pt x="752266" y="1401986"/>
                    </a:lnTo>
                    <a:lnTo>
                      <a:pt x="704087" y="1403603"/>
                    </a:lnTo>
                    <a:close/>
                  </a:path>
                </a:pathLst>
              </a:custGeom>
              <a:solidFill>
                <a:srgbClr val="EDEFEF"/>
              </a:solidFill>
            </p:spPr>
            <p:txBody>
              <a:bodyPr wrap="square" lIns="0" tIns="0" rIns="0" bIns="0" rtlCol="0"/>
              <a:lstStyle/>
              <a:p>
                <a:endParaRPr sz="1100"/>
              </a:p>
            </p:txBody>
          </p:sp>
          <p:sp>
            <p:nvSpPr>
              <p:cNvPr id="91" name="object 12">
                <a:extLst>
                  <a:ext uri="{FF2B5EF4-FFF2-40B4-BE49-F238E27FC236}">
                    <a16:creationId xmlns:a16="http://schemas.microsoft.com/office/drawing/2014/main" id="{A9F8B88F-A602-4467-AF36-8FE765C0B612}"/>
                  </a:ext>
                </a:extLst>
              </p:cNvPr>
              <p:cNvSpPr/>
              <p:nvPr/>
            </p:nvSpPr>
            <p:spPr>
              <a:xfrm>
                <a:off x="8552761" y="1634228"/>
                <a:ext cx="1408430" cy="1403985"/>
              </a:xfrm>
              <a:custGeom>
                <a:avLst/>
                <a:gdLst/>
                <a:ahLst/>
                <a:cxnLst/>
                <a:rect l="l" t="t" r="r" b="b"/>
                <a:pathLst>
                  <a:path w="1408429" h="1403985">
                    <a:moveTo>
                      <a:pt x="0" y="702564"/>
                    </a:moveTo>
                    <a:lnTo>
                      <a:pt x="1625" y="654567"/>
                    </a:lnTo>
                    <a:lnTo>
                      <a:pt x="6432" y="607423"/>
                    </a:lnTo>
                    <a:lnTo>
                      <a:pt x="14314" y="561236"/>
                    </a:lnTo>
                    <a:lnTo>
                      <a:pt x="25167" y="516113"/>
                    </a:lnTo>
                    <a:lnTo>
                      <a:pt x="38885" y="472160"/>
                    </a:lnTo>
                    <a:lnTo>
                      <a:pt x="55364" y="429482"/>
                    </a:lnTo>
                    <a:lnTo>
                      <a:pt x="74497" y="388185"/>
                    </a:lnTo>
                    <a:lnTo>
                      <a:pt x="96181" y="348375"/>
                    </a:lnTo>
                    <a:lnTo>
                      <a:pt x="120309" y="310157"/>
                    </a:lnTo>
                    <a:lnTo>
                      <a:pt x="146777" y="273639"/>
                    </a:lnTo>
                    <a:lnTo>
                      <a:pt x="175479" y="238924"/>
                    </a:lnTo>
                    <a:lnTo>
                      <a:pt x="206311" y="206121"/>
                    </a:lnTo>
                    <a:lnTo>
                      <a:pt x="239167" y="175333"/>
                    </a:lnTo>
                    <a:lnTo>
                      <a:pt x="273941" y="146667"/>
                    </a:lnTo>
                    <a:lnTo>
                      <a:pt x="310529" y="120229"/>
                    </a:lnTo>
                    <a:lnTo>
                      <a:pt x="348826" y="96124"/>
                    </a:lnTo>
                    <a:lnTo>
                      <a:pt x="388726" y="74459"/>
                    </a:lnTo>
                    <a:lnTo>
                      <a:pt x="430125" y="55340"/>
                    </a:lnTo>
                    <a:lnTo>
                      <a:pt x="472916" y="38871"/>
                    </a:lnTo>
                    <a:lnTo>
                      <a:pt x="516995" y="25160"/>
                    </a:lnTo>
                    <a:lnTo>
                      <a:pt x="562257" y="14311"/>
                    </a:lnTo>
                    <a:lnTo>
                      <a:pt x="608597" y="6431"/>
                    </a:lnTo>
                    <a:lnTo>
                      <a:pt x="655909" y="1625"/>
                    </a:lnTo>
                    <a:lnTo>
                      <a:pt x="704087" y="0"/>
                    </a:lnTo>
                    <a:lnTo>
                      <a:pt x="752266" y="1625"/>
                    </a:lnTo>
                    <a:lnTo>
                      <a:pt x="799578" y="6431"/>
                    </a:lnTo>
                    <a:lnTo>
                      <a:pt x="845918" y="14311"/>
                    </a:lnTo>
                    <a:lnTo>
                      <a:pt x="891180" y="25160"/>
                    </a:lnTo>
                    <a:lnTo>
                      <a:pt x="935259" y="38871"/>
                    </a:lnTo>
                    <a:lnTo>
                      <a:pt x="978050" y="55340"/>
                    </a:lnTo>
                    <a:lnTo>
                      <a:pt x="1019449" y="74459"/>
                    </a:lnTo>
                    <a:lnTo>
                      <a:pt x="1059349" y="96124"/>
                    </a:lnTo>
                    <a:lnTo>
                      <a:pt x="1097646" y="120229"/>
                    </a:lnTo>
                    <a:lnTo>
                      <a:pt x="1134234" y="146667"/>
                    </a:lnTo>
                    <a:lnTo>
                      <a:pt x="1169008" y="175333"/>
                    </a:lnTo>
                    <a:lnTo>
                      <a:pt x="1201864" y="206121"/>
                    </a:lnTo>
                    <a:lnTo>
                      <a:pt x="1232696" y="238924"/>
                    </a:lnTo>
                    <a:lnTo>
                      <a:pt x="1261398" y="273639"/>
                    </a:lnTo>
                    <a:lnTo>
                      <a:pt x="1287866" y="310157"/>
                    </a:lnTo>
                    <a:lnTo>
                      <a:pt x="1311994" y="348375"/>
                    </a:lnTo>
                    <a:lnTo>
                      <a:pt x="1333678" y="388185"/>
                    </a:lnTo>
                    <a:lnTo>
                      <a:pt x="1352811" y="429482"/>
                    </a:lnTo>
                    <a:lnTo>
                      <a:pt x="1369290" y="472160"/>
                    </a:lnTo>
                    <a:lnTo>
                      <a:pt x="1383008" y="516113"/>
                    </a:lnTo>
                    <a:lnTo>
                      <a:pt x="1393861" y="561236"/>
                    </a:lnTo>
                    <a:lnTo>
                      <a:pt x="1401743" y="607423"/>
                    </a:lnTo>
                    <a:lnTo>
                      <a:pt x="1406550" y="654567"/>
                    </a:lnTo>
                    <a:lnTo>
                      <a:pt x="1408175" y="702564"/>
                    </a:lnTo>
                    <a:lnTo>
                      <a:pt x="1406550" y="750552"/>
                    </a:lnTo>
                    <a:lnTo>
                      <a:pt x="1401743" y="797674"/>
                    </a:lnTo>
                    <a:lnTo>
                      <a:pt x="1393861" y="843825"/>
                    </a:lnTo>
                    <a:lnTo>
                      <a:pt x="1383008" y="888901"/>
                    </a:lnTo>
                    <a:lnTo>
                      <a:pt x="1369290" y="932796"/>
                    </a:lnTo>
                    <a:lnTo>
                      <a:pt x="1352811" y="975407"/>
                    </a:lnTo>
                    <a:lnTo>
                      <a:pt x="1333678" y="1016629"/>
                    </a:lnTo>
                    <a:lnTo>
                      <a:pt x="1311994" y="1056357"/>
                    </a:lnTo>
                    <a:lnTo>
                      <a:pt x="1287866" y="1094487"/>
                    </a:lnTo>
                    <a:lnTo>
                      <a:pt x="1261398" y="1130915"/>
                    </a:lnTo>
                    <a:lnTo>
                      <a:pt x="1232696" y="1165536"/>
                    </a:lnTo>
                    <a:lnTo>
                      <a:pt x="1201864" y="1198245"/>
                    </a:lnTo>
                    <a:lnTo>
                      <a:pt x="1169008" y="1228937"/>
                    </a:lnTo>
                    <a:lnTo>
                      <a:pt x="1134234" y="1257509"/>
                    </a:lnTo>
                    <a:lnTo>
                      <a:pt x="1097646" y="1283856"/>
                    </a:lnTo>
                    <a:lnTo>
                      <a:pt x="1059349" y="1307874"/>
                    </a:lnTo>
                    <a:lnTo>
                      <a:pt x="1019449" y="1329457"/>
                    </a:lnTo>
                    <a:lnTo>
                      <a:pt x="978050" y="1348501"/>
                    </a:lnTo>
                    <a:lnTo>
                      <a:pt x="935259" y="1364903"/>
                    </a:lnTo>
                    <a:lnTo>
                      <a:pt x="891180" y="1378556"/>
                    </a:lnTo>
                    <a:lnTo>
                      <a:pt x="845918" y="1389358"/>
                    </a:lnTo>
                    <a:lnTo>
                      <a:pt x="799578" y="1397202"/>
                    </a:lnTo>
                    <a:lnTo>
                      <a:pt x="752266" y="1401986"/>
                    </a:lnTo>
                    <a:lnTo>
                      <a:pt x="704087" y="1403603"/>
                    </a:lnTo>
                    <a:lnTo>
                      <a:pt x="655909" y="1401986"/>
                    </a:lnTo>
                    <a:lnTo>
                      <a:pt x="608597" y="1397202"/>
                    </a:lnTo>
                    <a:lnTo>
                      <a:pt x="562257" y="1389358"/>
                    </a:lnTo>
                    <a:lnTo>
                      <a:pt x="516995" y="1378556"/>
                    </a:lnTo>
                    <a:lnTo>
                      <a:pt x="472916" y="1364903"/>
                    </a:lnTo>
                    <a:lnTo>
                      <a:pt x="430125" y="1348501"/>
                    </a:lnTo>
                    <a:lnTo>
                      <a:pt x="388726" y="1329457"/>
                    </a:lnTo>
                    <a:lnTo>
                      <a:pt x="348826" y="1307874"/>
                    </a:lnTo>
                    <a:lnTo>
                      <a:pt x="310529" y="1283856"/>
                    </a:lnTo>
                    <a:lnTo>
                      <a:pt x="273941" y="1257509"/>
                    </a:lnTo>
                    <a:lnTo>
                      <a:pt x="239167" y="1228937"/>
                    </a:lnTo>
                    <a:lnTo>
                      <a:pt x="206311" y="1198245"/>
                    </a:lnTo>
                    <a:lnTo>
                      <a:pt x="175479" y="1165536"/>
                    </a:lnTo>
                    <a:lnTo>
                      <a:pt x="146777" y="1130915"/>
                    </a:lnTo>
                    <a:lnTo>
                      <a:pt x="120309" y="1094487"/>
                    </a:lnTo>
                    <a:lnTo>
                      <a:pt x="96181" y="1056357"/>
                    </a:lnTo>
                    <a:lnTo>
                      <a:pt x="74497" y="1016629"/>
                    </a:lnTo>
                    <a:lnTo>
                      <a:pt x="55364" y="975407"/>
                    </a:lnTo>
                    <a:lnTo>
                      <a:pt x="38885" y="932796"/>
                    </a:lnTo>
                    <a:lnTo>
                      <a:pt x="25167" y="888901"/>
                    </a:lnTo>
                    <a:lnTo>
                      <a:pt x="14314" y="843825"/>
                    </a:lnTo>
                    <a:lnTo>
                      <a:pt x="6432" y="797674"/>
                    </a:lnTo>
                    <a:lnTo>
                      <a:pt x="1625" y="750552"/>
                    </a:lnTo>
                    <a:lnTo>
                      <a:pt x="0" y="702564"/>
                    </a:lnTo>
                  </a:path>
                </a:pathLst>
              </a:custGeom>
              <a:ln w="62484">
                <a:solidFill>
                  <a:srgbClr val="EDEFEF"/>
                </a:solidFill>
              </a:ln>
            </p:spPr>
            <p:txBody>
              <a:bodyPr wrap="square" lIns="0" tIns="0" rIns="0" bIns="0" rtlCol="0"/>
              <a:lstStyle/>
              <a:p>
                <a:endParaRPr sz="1100"/>
              </a:p>
            </p:txBody>
          </p:sp>
          <p:pic>
            <p:nvPicPr>
              <p:cNvPr id="92" name="object 13">
                <a:extLst>
                  <a:ext uri="{FF2B5EF4-FFF2-40B4-BE49-F238E27FC236}">
                    <a16:creationId xmlns:a16="http://schemas.microsoft.com/office/drawing/2014/main" id="{0DC4A88E-2997-4654-956D-F0D8E2BBE578}"/>
                  </a:ext>
                </a:extLst>
              </p:cNvPr>
              <p:cNvPicPr/>
              <p:nvPr/>
            </p:nvPicPr>
            <p:blipFill rotWithShape="1">
              <a:blip r:embed="rId3" cstate="print"/>
              <a:srcRect l="-20606" t="-23481" r="-31684" b="135"/>
              <a:stretch/>
            </p:blipFill>
            <p:spPr>
              <a:xfrm>
                <a:off x="8544449" y="1634228"/>
                <a:ext cx="1452880" cy="1454950"/>
              </a:xfrm>
              <a:prstGeom prst="ellipse">
                <a:avLst/>
              </a:prstGeom>
            </p:spPr>
          </p:pic>
        </p:grpSp>
      </p:grpSp>
      <p:grpSp>
        <p:nvGrpSpPr>
          <p:cNvPr id="93" name="Group 92">
            <a:extLst>
              <a:ext uri="{FF2B5EF4-FFF2-40B4-BE49-F238E27FC236}">
                <a16:creationId xmlns:a16="http://schemas.microsoft.com/office/drawing/2014/main" id="{00A0A19B-A2D6-4DAB-A8E0-FC2D477F1182}"/>
              </a:ext>
            </a:extLst>
          </p:cNvPr>
          <p:cNvGrpSpPr/>
          <p:nvPr userDrawn="1"/>
        </p:nvGrpSpPr>
        <p:grpSpPr>
          <a:xfrm>
            <a:off x="2754627" y="1766915"/>
            <a:ext cx="1243828" cy="1714846"/>
            <a:chOff x="1454342" y="4266711"/>
            <a:chExt cx="1687195" cy="2219021"/>
          </a:xfrm>
        </p:grpSpPr>
        <p:sp>
          <p:nvSpPr>
            <p:cNvPr id="94" name="object 8">
              <a:extLst>
                <a:ext uri="{FF2B5EF4-FFF2-40B4-BE49-F238E27FC236}">
                  <a16:creationId xmlns:a16="http://schemas.microsoft.com/office/drawing/2014/main" id="{99D66887-E735-4EE1-8AFF-D10D9DA22A26}"/>
                </a:ext>
              </a:extLst>
            </p:cNvPr>
            <p:cNvSpPr txBox="1"/>
            <p:nvPr/>
          </p:nvSpPr>
          <p:spPr>
            <a:xfrm>
              <a:off x="1454342" y="5851827"/>
              <a:ext cx="1687195" cy="633905"/>
            </a:xfrm>
            <a:prstGeom prst="rect">
              <a:avLst/>
            </a:prstGeom>
          </p:spPr>
          <p:txBody>
            <a:bodyPr vert="horz" wrap="square" lIns="0" tIns="12700" rIns="0" bIns="0" rtlCol="0">
              <a:spAutoFit/>
            </a:bodyPr>
            <a:lstStyle/>
            <a:p>
              <a:pPr marL="1270" algn="ctr">
                <a:lnSpc>
                  <a:spcPct val="100000"/>
                </a:lnSpc>
                <a:spcBef>
                  <a:spcPts val="100"/>
                </a:spcBef>
              </a:pPr>
              <a:r>
                <a:rPr sz="1100">
                  <a:solidFill>
                    <a:srgbClr val="007239"/>
                  </a:solidFill>
                  <a:cs typeface="Gill Sans MT"/>
                </a:rPr>
                <a:t>Rick Earlywine</a:t>
              </a:r>
            </a:p>
            <a:p>
              <a:pPr algn="ctr">
                <a:lnSpc>
                  <a:spcPct val="100000"/>
                </a:lnSpc>
                <a:spcBef>
                  <a:spcPts val="10"/>
                </a:spcBef>
              </a:pPr>
              <a:r>
                <a:rPr lang="en-US" sz="1000">
                  <a:solidFill>
                    <a:schemeClr val="accent6"/>
                  </a:solidFill>
                  <a:cs typeface="Gill Sans MT"/>
                </a:rPr>
                <a:t>Senior Vice President</a:t>
              </a:r>
            </a:p>
            <a:p>
              <a:pPr algn="ctr">
                <a:lnSpc>
                  <a:spcPct val="100000"/>
                </a:lnSpc>
                <a:spcBef>
                  <a:spcPts val="10"/>
                </a:spcBef>
              </a:pPr>
              <a:r>
                <a:rPr sz="1000">
                  <a:solidFill>
                    <a:schemeClr val="accent6"/>
                  </a:solidFill>
                  <a:cs typeface="Gill Sans MT"/>
                </a:rPr>
                <a:t>Architectural Lighting</a:t>
              </a:r>
            </a:p>
          </p:txBody>
        </p:sp>
        <p:grpSp>
          <p:nvGrpSpPr>
            <p:cNvPr id="95" name="object 14">
              <a:extLst>
                <a:ext uri="{FF2B5EF4-FFF2-40B4-BE49-F238E27FC236}">
                  <a16:creationId xmlns:a16="http://schemas.microsoft.com/office/drawing/2014/main" id="{A7E0EF80-838A-418F-816E-F6FB5F673417}"/>
                </a:ext>
              </a:extLst>
            </p:cNvPr>
            <p:cNvGrpSpPr/>
            <p:nvPr/>
          </p:nvGrpSpPr>
          <p:grpSpPr>
            <a:xfrm>
              <a:off x="1605570" y="4266711"/>
              <a:ext cx="1392286" cy="1410946"/>
              <a:chOff x="1277111" y="4450080"/>
              <a:chExt cx="1449705" cy="1469135"/>
            </a:xfrm>
          </p:grpSpPr>
          <p:sp>
            <p:nvSpPr>
              <p:cNvPr id="96" name="object 15">
                <a:extLst>
                  <a:ext uri="{FF2B5EF4-FFF2-40B4-BE49-F238E27FC236}">
                    <a16:creationId xmlns:a16="http://schemas.microsoft.com/office/drawing/2014/main" id="{E03E69F1-4A76-4E5C-BEEC-F52A75E78ACD}"/>
                  </a:ext>
                </a:extLst>
              </p:cNvPr>
              <p:cNvSpPr/>
              <p:nvPr/>
            </p:nvSpPr>
            <p:spPr>
              <a:xfrm>
                <a:off x="1277111" y="4450080"/>
                <a:ext cx="1449705" cy="1443355"/>
              </a:xfrm>
              <a:custGeom>
                <a:avLst/>
                <a:gdLst/>
                <a:ahLst/>
                <a:cxnLst/>
                <a:rect l="l" t="t" r="r" b="b"/>
                <a:pathLst>
                  <a:path w="1449705" h="1443354">
                    <a:moveTo>
                      <a:pt x="723900" y="1443227"/>
                    </a:moveTo>
                    <a:lnTo>
                      <a:pt x="676359" y="1441692"/>
                    </a:lnTo>
                    <a:lnTo>
                      <a:pt x="629632" y="1437151"/>
                    </a:lnTo>
                    <a:lnTo>
                      <a:pt x="583814" y="1429697"/>
                    </a:lnTo>
                    <a:lnTo>
                      <a:pt x="539000" y="1419426"/>
                    </a:lnTo>
                    <a:lnTo>
                      <a:pt x="495287" y="1406432"/>
                    </a:lnTo>
                    <a:lnTo>
                      <a:pt x="452771" y="1390811"/>
                    </a:lnTo>
                    <a:lnTo>
                      <a:pt x="411548" y="1372657"/>
                    </a:lnTo>
                    <a:lnTo>
                      <a:pt x="371713" y="1352065"/>
                    </a:lnTo>
                    <a:lnTo>
                      <a:pt x="333364" y="1329130"/>
                    </a:lnTo>
                    <a:lnTo>
                      <a:pt x="296594" y="1303946"/>
                    </a:lnTo>
                    <a:lnTo>
                      <a:pt x="261502" y="1276609"/>
                    </a:lnTo>
                    <a:lnTo>
                      <a:pt x="228182" y="1247213"/>
                    </a:lnTo>
                    <a:lnTo>
                      <a:pt x="196730" y="1215853"/>
                    </a:lnTo>
                    <a:lnTo>
                      <a:pt x="167244" y="1182624"/>
                    </a:lnTo>
                    <a:lnTo>
                      <a:pt x="139817" y="1147620"/>
                    </a:lnTo>
                    <a:lnTo>
                      <a:pt x="114548" y="1110937"/>
                    </a:lnTo>
                    <a:lnTo>
                      <a:pt x="91530" y="1072669"/>
                    </a:lnTo>
                    <a:lnTo>
                      <a:pt x="70862" y="1032911"/>
                    </a:lnTo>
                    <a:lnTo>
                      <a:pt x="52637" y="991759"/>
                    </a:lnTo>
                    <a:lnTo>
                      <a:pt x="36953" y="949305"/>
                    </a:lnTo>
                    <a:lnTo>
                      <a:pt x="23906" y="905646"/>
                    </a:lnTo>
                    <a:lnTo>
                      <a:pt x="13591" y="860877"/>
                    </a:lnTo>
                    <a:lnTo>
                      <a:pt x="6104" y="815091"/>
                    </a:lnTo>
                    <a:lnTo>
                      <a:pt x="1542" y="768384"/>
                    </a:lnTo>
                    <a:lnTo>
                      <a:pt x="0" y="720851"/>
                    </a:lnTo>
                    <a:lnTo>
                      <a:pt x="1542" y="673494"/>
                    </a:lnTo>
                    <a:lnTo>
                      <a:pt x="6104" y="626949"/>
                    </a:lnTo>
                    <a:lnTo>
                      <a:pt x="13591" y="581312"/>
                    </a:lnTo>
                    <a:lnTo>
                      <a:pt x="23906" y="536677"/>
                    </a:lnTo>
                    <a:lnTo>
                      <a:pt x="36953" y="493142"/>
                    </a:lnTo>
                    <a:lnTo>
                      <a:pt x="52637" y="450799"/>
                    </a:lnTo>
                    <a:lnTo>
                      <a:pt x="70862" y="409747"/>
                    </a:lnTo>
                    <a:lnTo>
                      <a:pt x="91530" y="370079"/>
                    </a:lnTo>
                    <a:lnTo>
                      <a:pt x="114548" y="331890"/>
                    </a:lnTo>
                    <a:lnTo>
                      <a:pt x="139817" y="295278"/>
                    </a:lnTo>
                    <a:lnTo>
                      <a:pt x="167244" y="260336"/>
                    </a:lnTo>
                    <a:lnTo>
                      <a:pt x="196730" y="227160"/>
                    </a:lnTo>
                    <a:lnTo>
                      <a:pt x="228182" y="195846"/>
                    </a:lnTo>
                    <a:lnTo>
                      <a:pt x="261502" y="166488"/>
                    </a:lnTo>
                    <a:lnTo>
                      <a:pt x="296594" y="139183"/>
                    </a:lnTo>
                    <a:lnTo>
                      <a:pt x="333364" y="114026"/>
                    </a:lnTo>
                    <a:lnTo>
                      <a:pt x="371713" y="91112"/>
                    </a:lnTo>
                    <a:lnTo>
                      <a:pt x="411548" y="70537"/>
                    </a:lnTo>
                    <a:lnTo>
                      <a:pt x="452771" y="52395"/>
                    </a:lnTo>
                    <a:lnTo>
                      <a:pt x="495287" y="36783"/>
                    </a:lnTo>
                    <a:lnTo>
                      <a:pt x="539000" y="23795"/>
                    </a:lnTo>
                    <a:lnTo>
                      <a:pt x="583814" y="13528"/>
                    </a:lnTo>
                    <a:lnTo>
                      <a:pt x="629632" y="6076"/>
                    </a:lnTo>
                    <a:lnTo>
                      <a:pt x="676359" y="1534"/>
                    </a:lnTo>
                    <a:lnTo>
                      <a:pt x="723900" y="0"/>
                    </a:lnTo>
                    <a:lnTo>
                      <a:pt x="771615" y="1534"/>
                    </a:lnTo>
                    <a:lnTo>
                      <a:pt x="818504" y="6076"/>
                    </a:lnTo>
                    <a:lnTo>
                      <a:pt x="864471" y="13528"/>
                    </a:lnTo>
                    <a:lnTo>
                      <a:pt x="909420" y="23795"/>
                    </a:lnTo>
                    <a:lnTo>
                      <a:pt x="953255" y="36783"/>
                    </a:lnTo>
                    <a:lnTo>
                      <a:pt x="995883" y="52395"/>
                    </a:lnTo>
                    <a:lnTo>
                      <a:pt x="1037206" y="70537"/>
                    </a:lnTo>
                    <a:lnTo>
                      <a:pt x="1077130" y="91112"/>
                    </a:lnTo>
                    <a:lnTo>
                      <a:pt x="1115560" y="114026"/>
                    </a:lnTo>
                    <a:lnTo>
                      <a:pt x="1152400" y="139183"/>
                    </a:lnTo>
                    <a:lnTo>
                      <a:pt x="1187554" y="166488"/>
                    </a:lnTo>
                    <a:lnTo>
                      <a:pt x="1220927" y="195846"/>
                    </a:lnTo>
                    <a:lnTo>
                      <a:pt x="1252424" y="227160"/>
                    </a:lnTo>
                    <a:lnTo>
                      <a:pt x="1281950" y="260336"/>
                    </a:lnTo>
                    <a:lnTo>
                      <a:pt x="1309408" y="295278"/>
                    </a:lnTo>
                    <a:lnTo>
                      <a:pt x="1334704" y="331890"/>
                    </a:lnTo>
                    <a:lnTo>
                      <a:pt x="1357743" y="370079"/>
                    </a:lnTo>
                    <a:lnTo>
                      <a:pt x="1378428" y="409747"/>
                    </a:lnTo>
                    <a:lnTo>
                      <a:pt x="1396665" y="450799"/>
                    </a:lnTo>
                    <a:lnTo>
                      <a:pt x="1412357" y="493142"/>
                    </a:lnTo>
                    <a:lnTo>
                      <a:pt x="1425411" y="536677"/>
                    </a:lnTo>
                    <a:lnTo>
                      <a:pt x="1435730" y="581312"/>
                    </a:lnTo>
                    <a:lnTo>
                      <a:pt x="1443218" y="626949"/>
                    </a:lnTo>
                    <a:lnTo>
                      <a:pt x="1447781" y="673494"/>
                    </a:lnTo>
                    <a:lnTo>
                      <a:pt x="1449324" y="720851"/>
                    </a:lnTo>
                    <a:lnTo>
                      <a:pt x="1447781" y="768384"/>
                    </a:lnTo>
                    <a:lnTo>
                      <a:pt x="1443218" y="815091"/>
                    </a:lnTo>
                    <a:lnTo>
                      <a:pt x="1435730" y="860877"/>
                    </a:lnTo>
                    <a:lnTo>
                      <a:pt x="1425411" y="905646"/>
                    </a:lnTo>
                    <a:lnTo>
                      <a:pt x="1412357" y="949305"/>
                    </a:lnTo>
                    <a:lnTo>
                      <a:pt x="1396665" y="991759"/>
                    </a:lnTo>
                    <a:lnTo>
                      <a:pt x="1378428" y="1032911"/>
                    </a:lnTo>
                    <a:lnTo>
                      <a:pt x="1357743" y="1072669"/>
                    </a:lnTo>
                    <a:lnTo>
                      <a:pt x="1334704" y="1110937"/>
                    </a:lnTo>
                    <a:lnTo>
                      <a:pt x="1309408" y="1147620"/>
                    </a:lnTo>
                    <a:lnTo>
                      <a:pt x="1281950" y="1182624"/>
                    </a:lnTo>
                    <a:lnTo>
                      <a:pt x="1252424" y="1215853"/>
                    </a:lnTo>
                    <a:lnTo>
                      <a:pt x="1220927" y="1247213"/>
                    </a:lnTo>
                    <a:lnTo>
                      <a:pt x="1187554" y="1276609"/>
                    </a:lnTo>
                    <a:lnTo>
                      <a:pt x="1152400" y="1303946"/>
                    </a:lnTo>
                    <a:lnTo>
                      <a:pt x="1115560" y="1329130"/>
                    </a:lnTo>
                    <a:lnTo>
                      <a:pt x="1077130" y="1352065"/>
                    </a:lnTo>
                    <a:lnTo>
                      <a:pt x="1037206" y="1372657"/>
                    </a:lnTo>
                    <a:lnTo>
                      <a:pt x="995883" y="1390811"/>
                    </a:lnTo>
                    <a:lnTo>
                      <a:pt x="953255" y="1406432"/>
                    </a:lnTo>
                    <a:lnTo>
                      <a:pt x="909420" y="1419426"/>
                    </a:lnTo>
                    <a:lnTo>
                      <a:pt x="864471" y="1429697"/>
                    </a:lnTo>
                    <a:lnTo>
                      <a:pt x="818504" y="1437151"/>
                    </a:lnTo>
                    <a:lnTo>
                      <a:pt x="771615" y="1441692"/>
                    </a:lnTo>
                    <a:lnTo>
                      <a:pt x="723900" y="1443227"/>
                    </a:lnTo>
                    <a:close/>
                  </a:path>
                </a:pathLst>
              </a:custGeom>
              <a:solidFill>
                <a:srgbClr val="EDEFEF"/>
              </a:solidFill>
            </p:spPr>
            <p:txBody>
              <a:bodyPr wrap="square" lIns="0" tIns="0" rIns="0" bIns="0" rtlCol="0"/>
              <a:lstStyle/>
              <a:p>
                <a:endParaRPr sz="1100"/>
              </a:p>
            </p:txBody>
          </p:sp>
          <p:sp>
            <p:nvSpPr>
              <p:cNvPr id="97" name="object 16">
                <a:extLst>
                  <a:ext uri="{FF2B5EF4-FFF2-40B4-BE49-F238E27FC236}">
                    <a16:creationId xmlns:a16="http://schemas.microsoft.com/office/drawing/2014/main" id="{702FCCD5-6CB6-481A-AF1A-CC73C0918883}"/>
                  </a:ext>
                </a:extLst>
              </p:cNvPr>
              <p:cNvSpPr/>
              <p:nvPr/>
            </p:nvSpPr>
            <p:spPr>
              <a:xfrm>
                <a:off x="1277111" y="4450080"/>
                <a:ext cx="1449705" cy="1443355"/>
              </a:xfrm>
              <a:custGeom>
                <a:avLst/>
                <a:gdLst/>
                <a:ahLst/>
                <a:cxnLst/>
                <a:rect l="l" t="t" r="r" b="b"/>
                <a:pathLst>
                  <a:path w="1449705" h="1443354">
                    <a:moveTo>
                      <a:pt x="0" y="720851"/>
                    </a:moveTo>
                    <a:lnTo>
                      <a:pt x="1542" y="673494"/>
                    </a:lnTo>
                    <a:lnTo>
                      <a:pt x="6104" y="626949"/>
                    </a:lnTo>
                    <a:lnTo>
                      <a:pt x="13591" y="581312"/>
                    </a:lnTo>
                    <a:lnTo>
                      <a:pt x="23906" y="536677"/>
                    </a:lnTo>
                    <a:lnTo>
                      <a:pt x="36953" y="493142"/>
                    </a:lnTo>
                    <a:lnTo>
                      <a:pt x="52637" y="450799"/>
                    </a:lnTo>
                    <a:lnTo>
                      <a:pt x="70862" y="409747"/>
                    </a:lnTo>
                    <a:lnTo>
                      <a:pt x="91530" y="370079"/>
                    </a:lnTo>
                    <a:lnTo>
                      <a:pt x="114548" y="331890"/>
                    </a:lnTo>
                    <a:lnTo>
                      <a:pt x="139817" y="295278"/>
                    </a:lnTo>
                    <a:lnTo>
                      <a:pt x="167244" y="260336"/>
                    </a:lnTo>
                    <a:lnTo>
                      <a:pt x="196730" y="227160"/>
                    </a:lnTo>
                    <a:lnTo>
                      <a:pt x="228182" y="195846"/>
                    </a:lnTo>
                    <a:lnTo>
                      <a:pt x="261502" y="166488"/>
                    </a:lnTo>
                    <a:lnTo>
                      <a:pt x="296594" y="139183"/>
                    </a:lnTo>
                    <a:lnTo>
                      <a:pt x="333364" y="114026"/>
                    </a:lnTo>
                    <a:lnTo>
                      <a:pt x="371713" y="91112"/>
                    </a:lnTo>
                    <a:lnTo>
                      <a:pt x="411548" y="70537"/>
                    </a:lnTo>
                    <a:lnTo>
                      <a:pt x="452771" y="52395"/>
                    </a:lnTo>
                    <a:lnTo>
                      <a:pt x="495287" y="36783"/>
                    </a:lnTo>
                    <a:lnTo>
                      <a:pt x="539000" y="23795"/>
                    </a:lnTo>
                    <a:lnTo>
                      <a:pt x="583814" y="13528"/>
                    </a:lnTo>
                    <a:lnTo>
                      <a:pt x="629632" y="6076"/>
                    </a:lnTo>
                    <a:lnTo>
                      <a:pt x="676359" y="1534"/>
                    </a:lnTo>
                    <a:lnTo>
                      <a:pt x="723900" y="0"/>
                    </a:lnTo>
                    <a:lnTo>
                      <a:pt x="771615" y="1534"/>
                    </a:lnTo>
                    <a:lnTo>
                      <a:pt x="818504" y="6076"/>
                    </a:lnTo>
                    <a:lnTo>
                      <a:pt x="864471" y="13528"/>
                    </a:lnTo>
                    <a:lnTo>
                      <a:pt x="909420" y="23795"/>
                    </a:lnTo>
                    <a:lnTo>
                      <a:pt x="953255" y="36783"/>
                    </a:lnTo>
                    <a:lnTo>
                      <a:pt x="995883" y="52395"/>
                    </a:lnTo>
                    <a:lnTo>
                      <a:pt x="1037206" y="70537"/>
                    </a:lnTo>
                    <a:lnTo>
                      <a:pt x="1077130" y="91112"/>
                    </a:lnTo>
                    <a:lnTo>
                      <a:pt x="1115560" y="114026"/>
                    </a:lnTo>
                    <a:lnTo>
                      <a:pt x="1152400" y="139183"/>
                    </a:lnTo>
                    <a:lnTo>
                      <a:pt x="1187554" y="166488"/>
                    </a:lnTo>
                    <a:lnTo>
                      <a:pt x="1220927" y="195846"/>
                    </a:lnTo>
                    <a:lnTo>
                      <a:pt x="1252424" y="227160"/>
                    </a:lnTo>
                    <a:lnTo>
                      <a:pt x="1281950" y="260336"/>
                    </a:lnTo>
                    <a:lnTo>
                      <a:pt x="1309408" y="295278"/>
                    </a:lnTo>
                    <a:lnTo>
                      <a:pt x="1334704" y="331890"/>
                    </a:lnTo>
                    <a:lnTo>
                      <a:pt x="1357743" y="370079"/>
                    </a:lnTo>
                    <a:lnTo>
                      <a:pt x="1378428" y="409747"/>
                    </a:lnTo>
                    <a:lnTo>
                      <a:pt x="1396665" y="450799"/>
                    </a:lnTo>
                    <a:lnTo>
                      <a:pt x="1412357" y="493142"/>
                    </a:lnTo>
                    <a:lnTo>
                      <a:pt x="1425411" y="536677"/>
                    </a:lnTo>
                    <a:lnTo>
                      <a:pt x="1435730" y="581312"/>
                    </a:lnTo>
                    <a:lnTo>
                      <a:pt x="1443218" y="626949"/>
                    </a:lnTo>
                    <a:lnTo>
                      <a:pt x="1447781" y="673494"/>
                    </a:lnTo>
                    <a:lnTo>
                      <a:pt x="1449324" y="720851"/>
                    </a:lnTo>
                    <a:lnTo>
                      <a:pt x="1447781" y="768384"/>
                    </a:lnTo>
                    <a:lnTo>
                      <a:pt x="1443218" y="815091"/>
                    </a:lnTo>
                    <a:lnTo>
                      <a:pt x="1435730" y="860877"/>
                    </a:lnTo>
                    <a:lnTo>
                      <a:pt x="1425411" y="905646"/>
                    </a:lnTo>
                    <a:lnTo>
                      <a:pt x="1412357" y="949305"/>
                    </a:lnTo>
                    <a:lnTo>
                      <a:pt x="1396665" y="991759"/>
                    </a:lnTo>
                    <a:lnTo>
                      <a:pt x="1378428" y="1032911"/>
                    </a:lnTo>
                    <a:lnTo>
                      <a:pt x="1357743" y="1072669"/>
                    </a:lnTo>
                    <a:lnTo>
                      <a:pt x="1334704" y="1110937"/>
                    </a:lnTo>
                    <a:lnTo>
                      <a:pt x="1309408" y="1147620"/>
                    </a:lnTo>
                    <a:lnTo>
                      <a:pt x="1281950" y="1182624"/>
                    </a:lnTo>
                    <a:lnTo>
                      <a:pt x="1252424" y="1215853"/>
                    </a:lnTo>
                    <a:lnTo>
                      <a:pt x="1220927" y="1247213"/>
                    </a:lnTo>
                    <a:lnTo>
                      <a:pt x="1187554" y="1276609"/>
                    </a:lnTo>
                    <a:lnTo>
                      <a:pt x="1152400" y="1303946"/>
                    </a:lnTo>
                    <a:lnTo>
                      <a:pt x="1115560" y="1329130"/>
                    </a:lnTo>
                    <a:lnTo>
                      <a:pt x="1077130" y="1352065"/>
                    </a:lnTo>
                    <a:lnTo>
                      <a:pt x="1037206" y="1372657"/>
                    </a:lnTo>
                    <a:lnTo>
                      <a:pt x="995883" y="1390811"/>
                    </a:lnTo>
                    <a:lnTo>
                      <a:pt x="953255" y="1406432"/>
                    </a:lnTo>
                    <a:lnTo>
                      <a:pt x="909420" y="1419426"/>
                    </a:lnTo>
                    <a:lnTo>
                      <a:pt x="864471" y="1429697"/>
                    </a:lnTo>
                    <a:lnTo>
                      <a:pt x="818504" y="1437151"/>
                    </a:lnTo>
                    <a:lnTo>
                      <a:pt x="771615" y="1441692"/>
                    </a:lnTo>
                    <a:lnTo>
                      <a:pt x="723900" y="1443227"/>
                    </a:lnTo>
                    <a:lnTo>
                      <a:pt x="676359" y="1441692"/>
                    </a:lnTo>
                    <a:lnTo>
                      <a:pt x="629632" y="1437151"/>
                    </a:lnTo>
                    <a:lnTo>
                      <a:pt x="583814" y="1429697"/>
                    </a:lnTo>
                    <a:lnTo>
                      <a:pt x="539000" y="1419426"/>
                    </a:lnTo>
                    <a:lnTo>
                      <a:pt x="495287" y="1406432"/>
                    </a:lnTo>
                    <a:lnTo>
                      <a:pt x="452771" y="1390811"/>
                    </a:lnTo>
                    <a:lnTo>
                      <a:pt x="411548" y="1372657"/>
                    </a:lnTo>
                    <a:lnTo>
                      <a:pt x="371713" y="1352065"/>
                    </a:lnTo>
                    <a:lnTo>
                      <a:pt x="333364" y="1329130"/>
                    </a:lnTo>
                    <a:lnTo>
                      <a:pt x="296594" y="1303946"/>
                    </a:lnTo>
                    <a:lnTo>
                      <a:pt x="261502" y="1276609"/>
                    </a:lnTo>
                    <a:lnTo>
                      <a:pt x="228182" y="1247213"/>
                    </a:lnTo>
                    <a:lnTo>
                      <a:pt x="196730" y="1215853"/>
                    </a:lnTo>
                    <a:lnTo>
                      <a:pt x="167244" y="1182624"/>
                    </a:lnTo>
                    <a:lnTo>
                      <a:pt x="139817" y="1147620"/>
                    </a:lnTo>
                    <a:lnTo>
                      <a:pt x="114548" y="1110937"/>
                    </a:lnTo>
                    <a:lnTo>
                      <a:pt x="91530" y="1072669"/>
                    </a:lnTo>
                    <a:lnTo>
                      <a:pt x="70862" y="1032911"/>
                    </a:lnTo>
                    <a:lnTo>
                      <a:pt x="52637" y="991759"/>
                    </a:lnTo>
                    <a:lnTo>
                      <a:pt x="36953" y="949305"/>
                    </a:lnTo>
                    <a:lnTo>
                      <a:pt x="23906" y="905646"/>
                    </a:lnTo>
                    <a:lnTo>
                      <a:pt x="13591" y="860877"/>
                    </a:lnTo>
                    <a:lnTo>
                      <a:pt x="6104" y="815091"/>
                    </a:lnTo>
                    <a:lnTo>
                      <a:pt x="1542" y="768384"/>
                    </a:lnTo>
                    <a:lnTo>
                      <a:pt x="0" y="720851"/>
                    </a:lnTo>
                  </a:path>
                </a:pathLst>
              </a:custGeom>
              <a:ln w="62484">
                <a:solidFill>
                  <a:srgbClr val="EDEFEF"/>
                </a:solidFill>
              </a:ln>
            </p:spPr>
            <p:txBody>
              <a:bodyPr wrap="square" lIns="0" tIns="0" rIns="0" bIns="0" rtlCol="0"/>
              <a:lstStyle/>
              <a:p>
                <a:endParaRPr sz="1100"/>
              </a:p>
            </p:txBody>
          </p:sp>
          <p:pic>
            <p:nvPicPr>
              <p:cNvPr id="98" name="object 17">
                <a:extLst>
                  <a:ext uri="{FF2B5EF4-FFF2-40B4-BE49-F238E27FC236}">
                    <a16:creationId xmlns:a16="http://schemas.microsoft.com/office/drawing/2014/main" id="{D7E205D1-CA90-4DD0-A9F5-2AFE89C34F6D}"/>
                  </a:ext>
                </a:extLst>
              </p:cNvPr>
              <p:cNvPicPr/>
              <p:nvPr/>
            </p:nvPicPr>
            <p:blipFill>
              <a:blip r:embed="rId4" cstate="print"/>
              <a:stretch>
                <a:fillRect/>
              </a:stretch>
            </p:blipFill>
            <p:spPr>
              <a:xfrm>
                <a:off x="1292351" y="4562856"/>
                <a:ext cx="1322832" cy="1356359"/>
              </a:xfrm>
              <a:prstGeom prst="rect">
                <a:avLst/>
              </a:prstGeom>
            </p:spPr>
          </p:pic>
        </p:grpSp>
      </p:grpSp>
      <p:grpSp>
        <p:nvGrpSpPr>
          <p:cNvPr id="99" name="Group 98">
            <a:extLst>
              <a:ext uri="{FF2B5EF4-FFF2-40B4-BE49-F238E27FC236}">
                <a16:creationId xmlns:a16="http://schemas.microsoft.com/office/drawing/2014/main" id="{4160C788-D193-419A-9221-DF4F926D117A}"/>
              </a:ext>
            </a:extLst>
          </p:cNvPr>
          <p:cNvGrpSpPr/>
          <p:nvPr userDrawn="1"/>
        </p:nvGrpSpPr>
        <p:grpSpPr>
          <a:xfrm>
            <a:off x="4583261" y="1741863"/>
            <a:ext cx="1243828" cy="1904454"/>
            <a:chOff x="6368857" y="1794944"/>
            <a:chExt cx="1687199" cy="2464372"/>
          </a:xfrm>
        </p:grpSpPr>
        <p:sp>
          <p:nvSpPr>
            <p:cNvPr id="100" name="object 6">
              <a:extLst>
                <a:ext uri="{FF2B5EF4-FFF2-40B4-BE49-F238E27FC236}">
                  <a16:creationId xmlns:a16="http://schemas.microsoft.com/office/drawing/2014/main" id="{4F6213AA-B05F-4ED0-80A9-84094801FB41}"/>
                </a:ext>
              </a:extLst>
            </p:cNvPr>
            <p:cNvSpPr txBox="1"/>
            <p:nvPr/>
          </p:nvSpPr>
          <p:spPr>
            <a:xfrm>
              <a:off x="6368857" y="3426280"/>
              <a:ext cx="1687199" cy="833036"/>
            </a:xfrm>
            <a:prstGeom prst="rect">
              <a:avLst/>
            </a:prstGeom>
          </p:spPr>
          <p:txBody>
            <a:bodyPr vert="horz" wrap="square" lIns="0" tIns="12700" rIns="0" bIns="0" rtlCol="0">
              <a:spAutoFit/>
            </a:bodyPr>
            <a:lstStyle/>
            <a:p>
              <a:pPr algn="ctr">
                <a:lnSpc>
                  <a:spcPct val="100000"/>
                </a:lnSpc>
                <a:spcBef>
                  <a:spcPts val="100"/>
                </a:spcBef>
              </a:pPr>
              <a:r>
                <a:rPr sz="1100">
                  <a:solidFill>
                    <a:srgbClr val="007239"/>
                  </a:solidFill>
                  <a:cs typeface="Gill Sans MT"/>
                </a:rPr>
                <a:t>Sarah Golish</a:t>
              </a:r>
            </a:p>
            <a:p>
              <a:pPr algn="ctr">
                <a:lnSpc>
                  <a:spcPct val="100000"/>
                </a:lnSpc>
                <a:spcBef>
                  <a:spcPts val="15"/>
                </a:spcBef>
              </a:pPr>
              <a:r>
                <a:rPr sz="1000">
                  <a:solidFill>
                    <a:schemeClr val="accent6"/>
                  </a:solidFill>
                  <a:cs typeface="Gill Sans MT"/>
                </a:rPr>
                <a:t>S</a:t>
              </a:r>
              <a:r>
                <a:rPr lang="en-US" sz="1000">
                  <a:solidFill>
                    <a:schemeClr val="accent6"/>
                  </a:solidFill>
                  <a:cs typeface="Gill Sans MT"/>
                </a:rPr>
                <a:t>enior Vice President</a:t>
              </a:r>
              <a:r>
                <a:rPr sz="1000">
                  <a:solidFill>
                    <a:schemeClr val="accent6"/>
                  </a:solidFill>
                  <a:cs typeface="Gill Sans MT"/>
                </a:rPr>
                <a:t> Digital Lighting</a:t>
              </a:r>
              <a:r>
                <a:rPr lang="en-US" sz="1000">
                  <a:solidFill>
                    <a:schemeClr val="accent6"/>
                  </a:solidFill>
                  <a:cs typeface="Gill Sans MT"/>
                </a:rPr>
                <a:t> Networks</a:t>
              </a:r>
              <a:endParaRPr sz="1000">
                <a:solidFill>
                  <a:schemeClr val="accent6"/>
                </a:solidFill>
                <a:cs typeface="Gill Sans MT"/>
              </a:endParaRPr>
            </a:p>
          </p:txBody>
        </p:sp>
        <p:grpSp>
          <p:nvGrpSpPr>
            <p:cNvPr id="101" name="Group 100">
              <a:extLst>
                <a:ext uri="{FF2B5EF4-FFF2-40B4-BE49-F238E27FC236}">
                  <a16:creationId xmlns:a16="http://schemas.microsoft.com/office/drawing/2014/main" id="{59A411DA-909F-43A7-9580-653EA8841D98}"/>
                </a:ext>
              </a:extLst>
            </p:cNvPr>
            <p:cNvGrpSpPr/>
            <p:nvPr/>
          </p:nvGrpSpPr>
          <p:grpSpPr>
            <a:xfrm>
              <a:off x="6489276" y="1794944"/>
              <a:ext cx="1446360" cy="1462922"/>
              <a:chOff x="6489276" y="1733986"/>
              <a:chExt cx="1452880" cy="1469516"/>
            </a:xfrm>
          </p:grpSpPr>
          <p:sp>
            <p:nvSpPr>
              <p:cNvPr id="102" name="object 19">
                <a:extLst>
                  <a:ext uri="{FF2B5EF4-FFF2-40B4-BE49-F238E27FC236}">
                    <a16:creationId xmlns:a16="http://schemas.microsoft.com/office/drawing/2014/main" id="{16F772EC-A594-4721-8CB9-C72FC4AE94F1}"/>
                  </a:ext>
                </a:extLst>
              </p:cNvPr>
              <p:cNvSpPr/>
              <p:nvPr/>
            </p:nvSpPr>
            <p:spPr>
              <a:xfrm>
                <a:off x="6489276" y="1746177"/>
                <a:ext cx="1452880" cy="1457325"/>
              </a:xfrm>
              <a:custGeom>
                <a:avLst/>
                <a:gdLst/>
                <a:ahLst/>
                <a:cxnLst/>
                <a:rect l="l" t="t" r="r" b="b"/>
                <a:pathLst>
                  <a:path w="1452879" h="1457325">
                    <a:moveTo>
                      <a:pt x="725424" y="1456944"/>
                    </a:moveTo>
                    <a:lnTo>
                      <a:pt x="677708" y="1455394"/>
                    </a:lnTo>
                    <a:lnTo>
                      <a:pt x="630819" y="1450810"/>
                    </a:lnTo>
                    <a:lnTo>
                      <a:pt x="584852" y="1443286"/>
                    </a:lnTo>
                    <a:lnTo>
                      <a:pt x="539903" y="1432920"/>
                    </a:lnTo>
                    <a:lnTo>
                      <a:pt x="496068" y="1419807"/>
                    </a:lnTo>
                    <a:lnTo>
                      <a:pt x="453440" y="1404042"/>
                    </a:lnTo>
                    <a:lnTo>
                      <a:pt x="412117" y="1385723"/>
                    </a:lnTo>
                    <a:lnTo>
                      <a:pt x="372193" y="1364944"/>
                    </a:lnTo>
                    <a:lnTo>
                      <a:pt x="333763" y="1341803"/>
                    </a:lnTo>
                    <a:lnTo>
                      <a:pt x="296923" y="1316394"/>
                    </a:lnTo>
                    <a:lnTo>
                      <a:pt x="261769" y="1288814"/>
                    </a:lnTo>
                    <a:lnTo>
                      <a:pt x="228396" y="1259159"/>
                    </a:lnTo>
                    <a:lnTo>
                      <a:pt x="196899" y="1227525"/>
                    </a:lnTo>
                    <a:lnTo>
                      <a:pt x="167373" y="1194008"/>
                    </a:lnTo>
                    <a:lnTo>
                      <a:pt x="139915" y="1158703"/>
                    </a:lnTo>
                    <a:lnTo>
                      <a:pt x="114619" y="1121707"/>
                    </a:lnTo>
                    <a:lnTo>
                      <a:pt x="91580" y="1083116"/>
                    </a:lnTo>
                    <a:lnTo>
                      <a:pt x="70895" y="1043025"/>
                    </a:lnTo>
                    <a:lnTo>
                      <a:pt x="52658" y="1001531"/>
                    </a:lnTo>
                    <a:lnTo>
                      <a:pt x="36966" y="958730"/>
                    </a:lnTo>
                    <a:lnTo>
                      <a:pt x="23912" y="914717"/>
                    </a:lnTo>
                    <a:lnTo>
                      <a:pt x="13593" y="869589"/>
                    </a:lnTo>
                    <a:lnTo>
                      <a:pt x="6105" y="823441"/>
                    </a:lnTo>
                    <a:lnTo>
                      <a:pt x="1542" y="776370"/>
                    </a:lnTo>
                    <a:lnTo>
                      <a:pt x="0" y="728472"/>
                    </a:lnTo>
                    <a:lnTo>
                      <a:pt x="1542" y="680573"/>
                    </a:lnTo>
                    <a:lnTo>
                      <a:pt x="6105" y="633502"/>
                    </a:lnTo>
                    <a:lnTo>
                      <a:pt x="13593" y="587354"/>
                    </a:lnTo>
                    <a:lnTo>
                      <a:pt x="23912" y="542226"/>
                    </a:lnTo>
                    <a:lnTo>
                      <a:pt x="36966" y="498213"/>
                    </a:lnTo>
                    <a:lnTo>
                      <a:pt x="52658" y="455412"/>
                    </a:lnTo>
                    <a:lnTo>
                      <a:pt x="70895" y="413918"/>
                    </a:lnTo>
                    <a:lnTo>
                      <a:pt x="91580" y="373827"/>
                    </a:lnTo>
                    <a:lnTo>
                      <a:pt x="114619" y="335236"/>
                    </a:lnTo>
                    <a:lnTo>
                      <a:pt x="139915" y="298240"/>
                    </a:lnTo>
                    <a:lnTo>
                      <a:pt x="167373" y="262935"/>
                    </a:lnTo>
                    <a:lnTo>
                      <a:pt x="196899" y="229418"/>
                    </a:lnTo>
                    <a:lnTo>
                      <a:pt x="228396" y="197784"/>
                    </a:lnTo>
                    <a:lnTo>
                      <a:pt x="261769" y="168129"/>
                    </a:lnTo>
                    <a:lnTo>
                      <a:pt x="296923" y="140549"/>
                    </a:lnTo>
                    <a:lnTo>
                      <a:pt x="333763" y="115140"/>
                    </a:lnTo>
                    <a:lnTo>
                      <a:pt x="372193" y="91999"/>
                    </a:lnTo>
                    <a:lnTo>
                      <a:pt x="412117" y="71220"/>
                    </a:lnTo>
                    <a:lnTo>
                      <a:pt x="453440" y="52901"/>
                    </a:lnTo>
                    <a:lnTo>
                      <a:pt x="496068" y="37136"/>
                    </a:lnTo>
                    <a:lnTo>
                      <a:pt x="539903" y="24023"/>
                    </a:lnTo>
                    <a:lnTo>
                      <a:pt x="584852" y="13657"/>
                    </a:lnTo>
                    <a:lnTo>
                      <a:pt x="630819" y="6133"/>
                    </a:lnTo>
                    <a:lnTo>
                      <a:pt x="677708" y="1549"/>
                    </a:lnTo>
                    <a:lnTo>
                      <a:pt x="725424" y="0"/>
                    </a:lnTo>
                    <a:lnTo>
                      <a:pt x="773146" y="1549"/>
                    </a:lnTo>
                    <a:lnTo>
                      <a:pt x="820056" y="6133"/>
                    </a:lnTo>
                    <a:lnTo>
                      <a:pt x="866055" y="13657"/>
                    </a:lnTo>
                    <a:lnTo>
                      <a:pt x="911048" y="24023"/>
                    </a:lnTo>
                    <a:lnTo>
                      <a:pt x="954938" y="37136"/>
                    </a:lnTo>
                    <a:lnTo>
                      <a:pt x="997628" y="52901"/>
                    </a:lnTo>
                    <a:lnTo>
                      <a:pt x="1039022" y="71220"/>
                    </a:lnTo>
                    <a:lnTo>
                      <a:pt x="1079023" y="91999"/>
                    </a:lnTo>
                    <a:lnTo>
                      <a:pt x="1117534" y="115140"/>
                    </a:lnTo>
                    <a:lnTo>
                      <a:pt x="1154460" y="140549"/>
                    </a:lnTo>
                    <a:lnTo>
                      <a:pt x="1189703" y="168129"/>
                    </a:lnTo>
                    <a:lnTo>
                      <a:pt x="1223167" y="197784"/>
                    </a:lnTo>
                    <a:lnTo>
                      <a:pt x="1254756" y="229418"/>
                    </a:lnTo>
                    <a:lnTo>
                      <a:pt x="1284372" y="262935"/>
                    </a:lnTo>
                    <a:lnTo>
                      <a:pt x="1311920" y="298240"/>
                    </a:lnTo>
                    <a:lnTo>
                      <a:pt x="1337302" y="335236"/>
                    </a:lnTo>
                    <a:lnTo>
                      <a:pt x="1360422" y="373827"/>
                    </a:lnTo>
                    <a:lnTo>
                      <a:pt x="1381184" y="413918"/>
                    </a:lnTo>
                    <a:lnTo>
                      <a:pt x="1399491" y="455412"/>
                    </a:lnTo>
                    <a:lnTo>
                      <a:pt x="1415247" y="498213"/>
                    </a:lnTo>
                    <a:lnTo>
                      <a:pt x="1428354" y="542226"/>
                    </a:lnTo>
                    <a:lnTo>
                      <a:pt x="1438717" y="587354"/>
                    </a:lnTo>
                    <a:lnTo>
                      <a:pt x="1446238" y="633502"/>
                    </a:lnTo>
                    <a:lnTo>
                      <a:pt x="1450822" y="680573"/>
                    </a:lnTo>
                    <a:lnTo>
                      <a:pt x="1452371" y="728472"/>
                    </a:lnTo>
                    <a:lnTo>
                      <a:pt x="1450822" y="776370"/>
                    </a:lnTo>
                    <a:lnTo>
                      <a:pt x="1446238" y="823441"/>
                    </a:lnTo>
                    <a:lnTo>
                      <a:pt x="1438717" y="869589"/>
                    </a:lnTo>
                    <a:lnTo>
                      <a:pt x="1428354" y="914717"/>
                    </a:lnTo>
                    <a:lnTo>
                      <a:pt x="1415247" y="958730"/>
                    </a:lnTo>
                    <a:lnTo>
                      <a:pt x="1399491" y="1001531"/>
                    </a:lnTo>
                    <a:lnTo>
                      <a:pt x="1381184" y="1043025"/>
                    </a:lnTo>
                    <a:lnTo>
                      <a:pt x="1360422" y="1083116"/>
                    </a:lnTo>
                    <a:lnTo>
                      <a:pt x="1337302" y="1121707"/>
                    </a:lnTo>
                    <a:lnTo>
                      <a:pt x="1311920" y="1158703"/>
                    </a:lnTo>
                    <a:lnTo>
                      <a:pt x="1284372" y="1194008"/>
                    </a:lnTo>
                    <a:lnTo>
                      <a:pt x="1254756" y="1227525"/>
                    </a:lnTo>
                    <a:lnTo>
                      <a:pt x="1223167" y="1259159"/>
                    </a:lnTo>
                    <a:lnTo>
                      <a:pt x="1189703" y="1288814"/>
                    </a:lnTo>
                    <a:lnTo>
                      <a:pt x="1154460" y="1316394"/>
                    </a:lnTo>
                    <a:lnTo>
                      <a:pt x="1117534" y="1341803"/>
                    </a:lnTo>
                    <a:lnTo>
                      <a:pt x="1079023" y="1364944"/>
                    </a:lnTo>
                    <a:lnTo>
                      <a:pt x="1039022" y="1385723"/>
                    </a:lnTo>
                    <a:lnTo>
                      <a:pt x="997628" y="1404042"/>
                    </a:lnTo>
                    <a:lnTo>
                      <a:pt x="954938" y="1419807"/>
                    </a:lnTo>
                    <a:lnTo>
                      <a:pt x="911048" y="1432920"/>
                    </a:lnTo>
                    <a:lnTo>
                      <a:pt x="866055" y="1443286"/>
                    </a:lnTo>
                    <a:lnTo>
                      <a:pt x="820056" y="1450810"/>
                    </a:lnTo>
                    <a:lnTo>
                      <a:pt x="773146" y="1455394"/>
                    </a:lnTo>
                    <a:lnTo>
                      <a:pt x="725424" y="1456944"/>
                    </a:lnTo>
                    <a:close/>
                  </a:path>
                </a:pathLst>
              </a:custGeom>
              <a:solidFill>
                <a:srgbClr val="EDEFEF"/>
              </a:solidFill>
            </p:spPr>
            <p:txBody>
              <a:bodyPr wrap="square" lIns="0" tIns="0" rIns="0" bIns="0" rtlCol="0"/>
              <a:lstStyle/>
              <a:p>
                <a:endParaRPr sz="1100"/>
              </a:p>
            </p:txBody>
          </p:sp>
          <p:pic>
            <p:nvPicPr>
              <p:cNvPr id="103" name="object 20">
                <a:extLst>
                  <a:ext uri="{FF2B5EF4-FFF2-40B4-BE49-F238E27FC236}">
                    <a16:creationId xmlns:a16="http://schemas.microsoft.com/office/drawing/2014/main" id="{023819E6-D509-4730-9808-70585F0917E3}"/>
                  </a:ext>
                </a:extLst>
              </p:cNvPr>
              <p:cNvPicPr/>
              <p:nvPr/>
            </p:nvPicPr>
            <p:blipFill rotWithShape="1">
              <a:blip r:embed="rId5" cstate="print"/>
              <a:srcRect l="-20214" t="-14881" r="-8266" b="1228"/>
              <a:stretch/>
            </p:blipFill>
            <p:spPr>
              <a:xfrm>
                <a:off x="6489276" y="1733986"/>
                <a:ext cx="1452880" cy="1454950"/>
              </a:xfrm>
              <a:prstGeom prst="ellipse">
                <a:avLst/>
              </a:prstGeom>
            </p:spPr>
          </p:pic>
        </p:grpSp>
      </p:grpSp>
      <p:grpSp>
        <p:nvGrpSpPr>
          <p:cNvPr id="104" name="Group 103">
            <a:extLst>
              <a:ext uri="{FF2B5EF4-FFF2-40B4-BE49-F238E27FC236}">
                <a16:creationId xmlns:a16="http://schemas.microsoft.com/office/drawing/2014/main" id="{5C0FA110-254F-45C9-8EC5-92B1148E33AA}"/>
              </a:ext>
            </a:extLst>
          </p:cNvPr>
          <p:cNvGrpSpPr/>
          <p:nvPr userDrawn="1"/>
        </p:nvGrpSpPr>
        <p:grpSpPr>
          <a:xfrm>
            <a:off x="1788013" y="3993753"/>
            <a:ext cx="1243828" cy="1765466"/>
            <a:chOff x="3860308" y="4291469"/>
            <a:chExt cx="1687197" cy="2284522"/>
          </a:xfrm>
        </p:grpSpPr>
        <p:sp>
          <p:nvSpPr>
            <p:cNvPr id="105" name="object 24">
              <a:extLst>
                <a:ext uri="{FF2B5EF4-FFF2-40B4-BE49-F238E27FC236}">
                  <a16:creationId xmlns:a16="http://schemas.microsoft.com/office/drawing/2014/main" id="{71ADA28A-6CCB-4372-9596-7465D7083FDF}"/>
                </a:ext>
              </a:extLst>
            </p:cNvPr>
            <p:cNvSpPr txBox="1"/>
            <p:nvPr/>
          </p:nvSpPr>
          <p:spPr>
            <a:xfrm>
              <a:off x="3860308" y="5942086"/>
              <a:ext cx="1687197" cy="633905"/>
            </a:xfrm>
            <a:prstGeom prst="rect">
              <a:avLst/>
            </a:prstGeom>
          </p:spPr>
          <p:txBody>
            <a:bodyPr vert="horz" wrap="square" lIns="0" tIns="12700" rIns="0" bIns="0" rtlCol="0">
              <a:spAutoFit/>
            </a:bodyPr>
            <a:lstStyle/>
            <a:p>
              <a:pPr marL="1270" algn="ctr">
                <a:lnSpc>
                  <a:spcPct val="100000"/>
                </a:lnSpc>
                <a:spcBef>
                  <a:spcPts val="100"/>
                </a:spcBef>
              </a:pPr>
              <a:r>
                <a:rPr lang="en-US" sz="1100" dirty="0">
                  <a:solidFill>
                    <a:srgbClr val="007239"/>
                  </a:solidFill>
                  <a:cs typeface="Gill Sans MT"/>
                </a:rPr>
                <a:t>Jose Cordova</a:t>
              </a:r>
            </a:p>
            <a:p>
              <a:pPr algn="ctr">
                <a:lnSpc>
                  <a:spcPct val="100000"/>
                </a:lnSpc>
              </a:pPr>
              <a:r>
                <a:rPr lang="en-US" sz="1000" dirty="0">
                  <a:solidFill>
                    <a:schemeClr val="accent6"/>
                  </a:solidFill>
                  <a:cs typeface="Gill Sans MT"/>
                </a:rPr>
                <a:t>Senior Vice President Channel Sales </a:t>
              </a:r>
            </a:p>
          </p:txBody>
        </p:sp>
        <p:grpSp>
          <p:nvGrpSpPr>
            <p:cNvPr id="106" name="Group 105">
              <a:extLst>
                <a:ext uri="{FF2B5EF4-FFF2-40B4-BE49-F238E27FC236}">
                  <a16:creationId xmlns:a16="http://schemas.microsoft.com/office/drawing/2014/main" id="{1C1979F1-04C7-4EB6-A6B5-785E31E33475}"/>
                </a:ext>
              </a:extLst>
            </p:cNvPr>
            <p:cNvGrpSpPr/>
            <p:nvPr/>
          </p:nvGrpSpPr>
          <p:grpSpPr>
            <a:xfrm>
              <a:off x="4068561" y="4291469"/>
              <a:ext cx="1323434" cy="1386188"/>
              <a:chOff x="4659129" y="4162769"/>
              <a:chExt cx="1469390" cy="1539064"/>
            </a:xfrm>
          </p:grpSpPr>
          <p:sp>
            <p:nvSpPr>
              <p:cNvPr id="107" name="object 27">
                <a:extLst>
                  <a:ext uri="{FF2B5EF4-FFF2-40B4-BE49-F238E27FC236}">
                    <a16:creationId xmlns:a16="http://schemas.microsoft.com/office/drawing/2014/main" id="{8C7E0D28-E512-44C5-93C9-5CD1E92F4D99}"/>
                  </a:ext>
                </a:extLst>
              </p:cNvPr>
              <p:cNvSpPr/>
              <p:nvPr/>
            </p:nvSpPr>
            <p:spPr>
              <a:xfrm>
                <a:off x="4659129" y="4162769"/>
                <a:ext cx="1469390" cy="1468120"/>
              </a:xfrm>
              <a:custGeom>
                <a:avLst/>
                <a:gdLst/>
                <a:ahLst/>
                <a:cxnLst/>
                <a:rect l="l" t="t" r="r" b="b"/>
                <a:pathLst>
                  <a:path w="1469389" h="1468120">
                    <a:moveTo>
                      <a:pt x="734568" y="1467612"/>
                    </a:moveTo>
                    <a:lnTo>
                      <a:pt x="686303" y="1466055"/>
                    </a:lnTo>
                    <a:lnTo>
                      <a:pt x="638868" y="1461448"/>
                    </a:lnTo>
                    <a:lnTo>
                      <a:pt x="592358" y="1453888"/>
                    </a:lnTo>
                    <a:lnTo>
                      <a:pt x="546872" y="1443471"/>
                    </a:lnTo>
                    <a:lnTo>
                      <a:pt x="502505" y="1430292"/>
                    </a:lnTo>
                    <a:lnTo>
                      <a:pt x="459356" y="1414447"/>
                    </a:lnTo>
                    <a:lnTo>
                      <a:pt x="417521" y="1396032"/>
                    </a:lnTo>
                    <a:lnTo>
                      <a:pt x="377097" y="1375144"/>
                    </a:lnTo>
                    <a:lnTo>
                      <a:pt x="338183" y="1351878"/>
                    </a:lnTo>
                    <a:lnTo>
                      <a:pt x="300874" y="1326331"/>
                    </a:lnTo>
                    <a:lnTo>
                      <a:pt x="265268" y="1298597"/>
                    </a:lnTo>
                    <a:lnTo>
                      <a:pt x="231462" y="1268774"/>
                    </a:lnTo>
                    <a:lnTo>
                      <a:pt x="199553" y="1236957"/>
                    </a:lnTo>
                    <a:lnTo>
                      <a:pt x="169639" y="1203242"/>
                    </a:lnTo>
                    <a:lnTo>
                      <a:pt x="141817" y="1167725"/>
                    </a:lnTo>
                    <a:lnTo>
                      <a:pt x="116183" y="1130502"/>
                    </a:lnTo>
                    <a:lnTo>
                      <a:pt x="92835" y="1091669"/>
                    </a:lnTo>
                    <a:lnTo>
                      <a:pt x="71870" y="1051323"/>
                    </a:lnTo>
                    <a:lnTo>
                      <a:pt x="53385" y="1009558"/>
                    </a:lnTo>
                    <a:lnTo>
                      <a:pt x="37478" y="966472"/>
                    </a:lnTo>
                    <a:lnTo>
                      <a:pt x="24245" y="922159"/>
                    </a:lnTo>
                    <a:lnTo>
                      <a:pt x="13783" y="876716"/>
                    </a:lnTo>
                    <a:lnTo>
                      <a:pt x="6190" y="830239"/>
                    </a:lnTo>
                    <a:lnTo>
                      <a:pt x="1563" y="782825"/>
                    </a:lnTo>
                    <a:lnTo>
                      <a:pt x="0" y="734568"/>
                    </a:lnTo>
                    <a:lnTo>
                      <a:pt x="1563" y="686303"/>
                    </a:lnTo>
                    <a:lnTo>
                      <a:pt x="6190" y="638868"/>
                    </a:lnTo>
                    <a:lnTo>
                      <a:pt x="13783" y="592358"/>
                    </a:lnTo>
                    <a:lnTo>
                      <a:pt x="24245" y="546872"/>
                    </a:lnTo>
                    <a:lnTo>
                      <a:pt x="37478" y="502505"/>
                    </a:lnTo>
                    <a:lnTo>
                      <a:pt x="53385" y="459356"/>
                    </a:lnTo>
                    <a:lnTo>
                      <a:pt x="71870" y="417521"/>
                    </a:lnTo>
                    <a:lnTo>
                      <a:pt x="92835" y="377097"/>
                    </a:lnTo>
                    <a:lnTo>
                      <a:pt x="116183" y="338183"/>
                    </a:lnTo>
                    <a:lnTo>
                      <a:pt x="141817" y="300874"/>
                    </a:lnTo>
                    <a:lnTo>
                      <a:pt x="169639" y="265268"/>
                    </a:lnTo>
                    <a:lnTo>
                      <a:pt x="199553" y="231462"/>
                    </a:lnTo>
                    <a:lnTo>
                      <a:pt x="231462" y="199553"/>
                    </a:lnTo>
                    <a:lnTo>
                      <a:pt x="265268" y="169639"/>
                    </a:lnTo>
                    <a:lnTo>
                      <a:pt x="300874" y="141817"/>
                    </a:lnTo>
                    <a:lnTo>
                      <a:pt x="338183" y="116183"/>
                    </a:lnTo>
                    <a:lnTo>
                      <a:pt x="377097" y="92835"/>
                    </a:lnTo>
                    <a:lnTo>
                      <a:pt x="417521" y="71870"/>
                    </a:lnTo>
                    <a:lnTo>
                      <a:pt x="459356" y="53385"/>
                    </a:lnTo>
                    <a:lnTo>
                      <a:pt x="502505" y="37478"/>
                    </a:lnTo>
                    <a:lnTo>
                      <a:pt x="546872" y="24245"/>
                    </a:lnTo>
                    <a:lnTo>
                      <a:pt x="592358" y="13783"/>
                    </a:lnTo>
                    <a:lnTo>
                      <a:pt x="638868" y="6190"/>
                    </a:lnTo>
                    <a:lnTo>
                      <a:pt x="686303" y="1563"/>
                    </a:lnTo>
                    <a:lnTo>
                      <a:pt x="734568" y="0"/>
                    </a:lnTo>
                    <a:lnTo>
                      <a:pt x="782832" y="1563"/>
                    </a:lnTo>
                    <a:lnTo>
                      <a:pt x="830267" y="6190"/>
                    </a:lnTo>
                    <a:lnTo>
                      <a:pt x="876777" y="13783"/>
                    </a:lnTo>
                    <a:lnTo>
                      <a:pt x="922263" y="24245"/>
                    </a:lnTo>
                    <a:lnTo>
                      <a:pt x="966630" y="37478"/>
                    </a:lnTo>
                    <a:lnTo>
                      <a:pt x="1009779" y="53385"/>
                    </a:lnTo>
                    <a:lnTo>
                      <a:pt x="1051614" y="71870"/>
                    </a:lnTo>
                    <a:lnTo>
                      <a:pt x="1092038" y="92835"/>
                    </a:lnTo>
                    <a:lnTo>
                      <a:pt x="1130952" y="116183"/>
                    </a:lnTo>
                    <a:lnTo>
                      <a:pt x="1168261" y="141817"/>
                    </a:lnTo>
                    <a:lnTo>
                      <a:pt x="1203867" y="169639"/>
                    </a:lnTo>
                    <a:lnTo>
                      <a:pt x="1237673" y="199553"/>
                    </a:lnTo>
                    <a:lnTo>
                      <a:pt x="1269582" y="231462"/>
                    </a:lnTo>
                    <a:lnTo>
                      <a:pt x="1299496" y="265268"/>
                    </a:lnTo>
                    <a:lnTo>
                      <a:pt x="1327318" y="300874"/>
                    </a:lnTo>
                    <a:lnTo>
                      <a:pt x="1352952" y="338183"/>
                    </a:lnTo>
                    <a:lnTo>
                      <a:pt x="1376300" y="377097"/>
                    </a:lnTo>
                    <a:lnTo>
                      <a:pt x="1397265" y="417521"/>
                    </a:lnTo>
                    <a:lnTo>
                      <a:pt x="1415750" y="459356"/>
                    </a:lnTo>
                    <a:lnTo>
                      <a:pt x="1431657" y="502505"/>
                    </a:lnTo>
                    <a:lnTo>
                      <a:pt x="1444890" y="546872"/>
                    </a:lnTo>
                    <a:lnTo>
                      <a:pt x="1455352" y="592358"/>
                    </a:lnTo>
                    <a:lnTo>
                      <a:pt x="1462945" y="638868"/>
                    </a:lnTo>
                    <a:lnTo>
                      <a:pt x="1467572" y="686303"/>
                    </a:lnTo>
                    <a:lnTo>
                      <a:pt x="1469136" y="734568"/>
                    </a:lnTo>
                    <a:lnTo>
                      <a:pt x="1467572" y="782825"/>
                    </a:lnTo>
                    <a:lnTo>
                      <a:pt x="1462945" y="830239"/>
                    </a:lnTo>
                    <a:lnTo>
                      <a:pt x="1455352" y="876716"/>
                    </a:lnTo>
                    <a:lnTo>
                      <a:pt x="1444890" y="922159"/>
                    </a:lnTo>
                    <a:lnTo>
                      <a:pt x="1431657" y="966472"/>
                    </a:lnTo>
                    <a:lnTo>
                      <a:pt x="1415750" y="1009558"/>
                    </a:lnTo>
                    <a:lnTo>
                      <a:pt x="1397265" y="1051323"/>
                    </a:lnTo>
                    <a:lnTo>
                      <a:pt x="1376300" y="1091669"/>
                    </a:lnTo>
                    <a:lnTo>
                      <a:pt x="1352952" y="1130502"/>
                    </a:lnTo>
                    <a:lnTo>
                      <a:pt x="1327318" y="1167725"/>
                    </a:lnTo>
                    <a:lnTo>
                      <a:pt x="1299496" y="1203242"/>
                    </a:lnTo>
                    <a:lnTo>
                      <a:pt x="1269582" y="1236957"/>
                    </a:lnTo>
                    <a:lnTo>
                      <a:pt x="1237673" y="1268774"/>
                    </a:lnTo>
                    <a:lnTo>
                      <a:pt x="1203867" y="1298597"/>
                    </a:lnTo>
                    <a:lnTo>
                      <a:pt x="1168261" y="1326331"/>
                    </a:lnTo>
                    <a:lnTo>
                      <a:pt x="1130952" y="1351878"/>
                    </a:lnTo>
                    <a:lnTo>
                      <a:pt x="1092038" y="1375144"/>
                    </a:lnTo>
                    <a:lnTo>
                      <a:pt x="1051614" y="1396032"/>
                    </a:lnTo>
                    <a:lnTo>
                      <a:pt x="1009779" y="1414447"/>
                    </a:lnTo>
                    <a:lnTo>
                      <a:pt x="966630" y="1430292"/>
                    </a:lnTo>
                    <a:lnTo>
                      <a:pt x="922263" y="1443471"/>
                    </a:lnTo>
                    <a:lnTo>
                      <a:pt x="876777" y="1453888"/>
                    </a:lnTo>
                    <a:lnTo>
                      <a:pt x="830267" y="1461448"/>
                    </a:lnTo>
                    <a:lnTo>
                      <a:pt x="782832" y="1466055"/>
                    </a:lnTo>
                    <a:lnTo>
                      <a:pt x="734568" y="1467612"/>
                    </a:lnTo>
                    <a:close/>
                  </a:path>
                </a:pathLst>
              </a:custGeom>
              <a:solidFill>
                <a:srgbClr val="EDEFEF"/>
              </a:solidFill>
            </p:spPr>
            <p:txBody>
              <a:bodyPr wrap="square" lIns="0" tIns="0" rIns="0" bIns="0" rtlCol="0"/>
              <a:lstStyle/>
              <a:p>
                <a:endParaRPr sz="1100"/>
              </a:p>
            </p:txBody>
          </p:sp>
          <p:sp>
            <p:nvSpPr>
              <p:cNvPr id="108" name="object 28">
                <a:extLst>
                  <a:ext uri="{FF2B5EF4-FFF2-40B4-BE49-F238E27FC236}">
                    <a16:creationId xmlns:a16="http://schemas.microsoft.com/office/drawing/2014/main" id="{B476724D-3A14-4972-9ED0-52279D7E4300}"/>
                  </a:ext>
                </a:extLst>
              </p:cNvPr>
              <p:cNvSpPr/>
              <p:nvPr/>
            </p:nvSpPr>
            <p:spPr>
              <a:xfrm>
                <a:off x="4659129" y="4162769"/>
                <a:ext cx="1469390" cy="1468120"/>
              </a:xfrm>
              <a:custGeom>
                <a:avLst/>
                <a:gdLst/>
                <a:ahLst/>
                <a:cxnLst/>
                <a:rect l="l" t="t" r="r" b="b"/>
                <a:pathLst>
                  <a:path w="1469389" h="1468120">
                    <a:moveTo>
                      <a:pt x="0" y="734568"/>
                    </a:moveTo>
                    <a:lnTo>
                      <a:pt x="1563" y="686303"/>
                    </a:lnTo>
                    <a:lnTo>
                      <a:pt x="6190" y="638868"/>
                    </a:lnTo>
                    <a:lnTo>
                      <a:pt x="13783" y="592358"/>
                    </a:lnTo>
                    <a:lnTo>
                      <a:pt x="24245" y="546872"/>
                    </a:lnTo>
                    <a:lnTo>
                      <a:pt x="37478" y="502505"/>
                    </a:lnTo>
                    <a:lnTo>
                      <a:pt x="53385" y="459356"/>
                    </a:lnTo>
                    <a:lnTo>
                      <a:pt x="71870" y="417521"/>
                    </a:lnTo>
                    <a:lnTo>
                      <a:pt x="92835" y="377097"/>
                    </a:lnTo>
                    <a:lnTo>
                      <a:pt x="116183" y="338183"/>
                    </a:lnTo>
                    <a:lnTo>
                      <a:pt x="141817" y="300874"/>
                    </a:lnTo>
                    <a:lnTo>
                      <a:pt x="169639" y="265268"/>
                    </a:lnTo>
                    <a:lnTo>
                      <a:pt x="199553" y="231462"/>
                    </a:lnTo>
                    <a:lnTo>
                      <a:pt x="231462" y="199553"/>
                    </a:lnTo>
                    <a:lnTo>
                      <a:pt x="265268" y="169639"/>
                    </a:lnTo>
                    <a:lnTo>
                      <a:pt x="300874" y="141817"/>
                    </a:lnTo>
                    <a:lnTo>
                      <a:pt x="338183" y="116183"/>
                    </a:lnTo>
                    <a:lnTo>
                      <a:pt x="377097" y="92835"/>
                    </a:lnTo>
                    <a:lnTo>
                      <a:pt x="417521" y="71870"/>
                    </a:lnTo>
                    <a:lnTo>
                      <a:pt x="459356" y="53385"/>
                    </a:lnTo>
                    <a:lnTo>
                      <a:pt x="502505" y="37478"/>
                    </a:lnTo>
                    <a:lnTo>
                      <a:pt x="546872" y="24245"/>
                    </a:lnTo>
                    <a:lnTo>
                      <a:pt x="592358" y="13783"/>
                    </a:lnTo>
                    <a:lnTo>
                      <a:pt x="638868" y="6190"/>
                    </a:lnTo>
                    <a:lnTo>
                      <a:pt x="686303" y="1563"/>
                    </a:lnTo>
                    <a:lnTo>
                      <a:pt x="734568" y="0"/>
                    </a:lnTo>
                    <a:lnTo>
                      <a:pt x="782832" y="1563"/>
                    </a:lnTo>
                    <a:lnTo>
                      <a:pt x="830267" y="6190"/>
                    </a:lnTo>
                    <a:lnTo>
                      <a:pt x="876777" y="13783"/>
                    </a:lnTo>
                    <a:lnTo>
                      <a:pt x="922263" y="24245"/>
                    </a:lnTo>
                    <a:lnTo>
                      <a:pt x="966630" y="37478"/>
                    </a:lnTo>
                    <a:lnTo>
                      <a:pt x="1009779" y="53385"/>
                    </a:lnTo>
                    <a:lnTo>
                      <a:pt x="1051614" y="71870"/>
                    </a:lnTo>
                    <a:lnTo>
                      <a:pt x="1092038" y="92835"/>
                    </a:lnTo>
                    <a:lnTo>
                      <a:pt x="1130952" y="116183"/>
                    </a:lnTo>
                    <a:lnTo>
                      <a:pt x="1168261" y="141817"/>
                    </a:lnTo>
                    <a:lnTo>
                      <a:pt x="1203867" y="169639"/>
                    </a:lnTo>
                    <a:lnTo>
                      <a:pt x="1237673" y="199553"/>
                    </a:lnTo>
                    <a:lnTo>
                      <a:pt x="1269582" y="231462"/>
                    </a:lnTo>
                    <a:lnTo>
                      <a:pt x="1299496" y="265268"/>
                    </a:lnTo>
                    <a:lnTo>
                      <a:pt x="1327318" y="300874"/>
                    </a:lnTo>
                    <a:lnTo>
                      <a:pt x="1352952" y="338183"/>
                    </a:lnTo>
                    <a:lnTo>
                      <a:pt x="1376300" y="377097"/>
                    </a:lnTo>
                    <a:lnTo>
                      <a:pt x="1397265" y="417521"/>
                    </a:lnTo>
                    <a:lnTo>
                      <a:pt x="1415750" y="459356"/>
                    </a:lnTo>
                    <a:lnTo>
                      <a:pt x="1431657" y="502505"/>
                    </a:lnTo>
                    <a:lnTo>
                      <a:pt x="1444890" y="546872"/>
                    </a:lnTo>
                    <a:lnTo>
                      <a:pt x="1455352" y="592358"/>
                    </a:lnTo>
                    <a:lnTo>
                      <a:pt x="1462945" y="638868"/>
                    </a:lnTo>
                    <a:lnTo>
                      <a:pt x="1467572" y="686303"/>
                    </a:lnTo>
                    <a:lnTo>
                      <a:pt x="1469136" y="734568"/>
                    </a:lnTo>
                    <a:lnTo>
                      <a:pt x="1467572" y="782825"/>
                    </a:lnTo>
                    <a:lnTo>
                      <a:pt x="1462945" y="830239"/>
                    </a:lnTo>
                    <a:lnTo>
                      <a:pt x="1455352" y="876716"/>
                    </a:lnTo>
                    <a:lnTo>
                      <a:pt x="1444890" y="922159"/>
                    </a:lnTo>
                    <a:lnTo>
                      <a:pt x="1431657" y="966472"/>
                    </a:lnTo>
                    <a:lnTo>
                      <a:pt x="1415750" y="1009558"/>
                    </a:lnTo>
                    <a:lnTo>
                      <a:pt x="1397265" y="1051323"/>
                    </a:lnTo>
                    <a:lnTo>
                      <a:pt x="1376300" y="1091669"/>
                    </a:lnTo>
                    <a:lnTo>
                      <a:pt x="1352952" y="1130502"/>
                    </a:lnTo>
                    <a:lnTo>
                      <a:pt x="1327318" y="1167725"/>
                    </a:lnTo>
                    <a:lnTo>
                      <a:pt x="1299496" y="1203242"/>
                    </a:lnTo>
                    <a:lnTo>
                      <a:pt x="1269582" y="1236957"/>
                    </a:lnTo>
                    <a:lnTo>
                      <a:pt x="1237673" y="1268774"/>
                    </a:lnTo>
                    <a:lnTo>
                      <a:pt x="1203867" y="1298597"/>
                    </a:lnTo>
                    <a:lnTo>
                      <a:pt x="1168261" y="1326331"/>
                    </a:lnTo>
                    <a:lnTo>
                      <a:pt x="1130952" y="1351878"/>
                    </a:lnTo>
                    <a:lnTo>
                      <a:pt x="1092038" y="1375144"/>
                    </a:lnTo>
                    <a:lnTo>
                      <a:pt x="1051614" y="1396032"/>
                    </a:lnTo>
                    <a:lnTo>
                      <a:pt x="1009779" y="1414447"/>
                    </a:lnTo>
                    <a:lnTo>
                      <a:pt x="966630" y="1430292"/>
                    </a:lnTo>
                    <a:lnTo>
                      <a:pt x="922263" y="1443471"/>
                    </a:lnTo>
                    <a:lnTo>
                      <a:pt x="876777" y="1453888"/>
                    </a:lnTo>
                    <a:lnTo>
                      <a:pt x="830267" y="1461448"/>
                    </a:lnTo>
                    <a:lnTo>
                      <a:pt x="782832" y="1466055"/>
                    </a:lnTo>
                    <a:lnTo>
                      <a:pt x="734568" y="1467612"/>
                    </a:lnTo>
                    <a:lnTo>
                      <a:pt x="686303" y="1466055"/>
                    </a:lnTo>
                    <a:lnTo>
                      <a:pt x="638868" y="1461448"/>
                    </a:lnTo>
                    <a:lnTo>
                      <a:pt x="592358" y="1453888"/>
                    </a:lnTo>
                    <a:lnTo>
                      <a:pt x="546872" y="1443471"/>
                    </a:lnTo>
                    <a:lnTo>
                      <a:pt x="502505" y="1430292"/>
                    </a:lnTo>
                    <a:lnTo>
                      <a:pt x="459356" y="1414447"/>
                    </a:lnTo>
                    <a:lnTo>
                      <a:pt x="417521" y="1396032"/>
                    </a:lnTo>
                    <a:lnTo>
                      <a:pt x="377097" y="1375144"/>
                    </a:lnTo>
                    <a:lnTo>
                      <a:pt x="338183" y="1351878"/>
                    </a:lnTo>
                    <a:lnTo>
                      <a:pt x="300874" y="1326331"/>
                    </a:lnTo>
                    <a:lnTo>
                      <a:pt x="265268" y="1298597"/>
                    </a:lnTo>
                    <a:lnTo>
                      <a:pt x="231462" y="1268774"/>
                    </a:lnTo>
                    <a:lnTo>
                      <a:pt x="199553" y="1236957"/>
                    </a:lnTo>
                    <a:lnTo>
                      <a:pt x="169639" y="1203242"/>
                    </a:lnTo>
                    <a:lnTo>
                      <a:pt x="141817" y="1167725"/>
                    </a:lnTo>
                    <a:lnTo>
                      <a:pt x="116183" y="1130502"/>
                    </a:lnTo>
                    <a:lnTo>
                      <a:pt x="92835" y="1091669"/>
                    </a:lnTo>
                    <a:lnTo>
                      <a:pt x="71870" y="1051323"/>
                    </a:lnTo>
                    <a:lnTo>
                      <a:pt x="53385" y="1009558"/>
                    </a:lnTo>
                    <a:lnTo>
                      <a:pt x="37478" y="966472"/>
                    </a:lnTo>
                    <a:lnTo>
                      <a:pt x="24245" y="922159"/>
                    </a:lnTo>
                    <a:lnTo>
                      <a:pt x="13783" y="876716"/>
                    </a:lnTo>
                    <a:lnTo>
                      <a:pt x="6190" y="830239"/>
                    </a:lnTo>
                    <a:lnTo>
                      <a:pt x="1563" y="782825"/>
                    </a:lnTo>
                    <a:lnTo>
                      <a:pt x="0" y="734568"/>
                    </a:lnTo>
                  </a:path>
                </a:pathLst>
              </a:custGeom>
              <a:ln w="62484">
                <a:solidFill>
                  <a:srgbClr val="EDEFEF"/>
                </a:solidFill>
              </a:ln>
            </p:spPr>
            <p:txBody>
              <a:bodyPr wrap="square" lIns="0" tIns="0" rIns="0" bIns="0" rtlCol="0"/>
              <a:lstStyle/>
              <a:p>
                <a:endParaRPr sz="1100"/>
              </a:p>
            </p:txBody>
          </p:sp>
          <p:pic>
            <p:nvPicPr>
              <p:cNvPr id="109" name="object 29">
                <a:extLst>
                  <a:ext uri="{FF2B5EF4-FFF2-40B4-BE49-F238E27FC236}">
                    <a16:creationId xmlns:a16="http://schemas.microsoft.com/office/drawing/2014/main" id="{0D36F217-5129-4D99-89DB-044E5F1CAC1A}"/>
                  </a:ext>
                </a:extLst>
              </p:cNvPr>
              <p:cNvPicPr/>
              <p:nvPr/>
            </p:nvPicPr>
            <p:blipFill rotWithShape="1">
              <a:blip r:embed="rId6" cstate="print"/>
              <a:srcRect l="-1253" t="-9096" r="-1984"/>
              <a:stretch/>
            </p:blipFill>
            <p:spPr>
              <a:xfrm>
                <a:off x="4691155" y="4230550"/>
                <a:ext cx="1392286" cy="1471283"/>
              </a:xfrm>
              <a:prstGeom prst="ellipse">
                <a:avLst/>
              </a:prstGeom>
            </p:spPr>
          </p:pic>
        </p:grpSp>
      </p:grpSp>
      <p:sp>
        <p:nvSpPr>
          <p:cNvPr id="110" name="object 25">
            <a:extLst>
              <a:ext uri="{FF2B5EF4-FFF2-40B4-BE49-F238E27FC236}">
                <a16:creationId xmlns:a16="http://schemas.microsoft.com/office/drawing/2014/main" id="{391C00BF-2D21-4A0D-9689-BD13536C8C4A}"/>
              </a:ext>
            </a:extLst>
          </p:cNvPr>
          <p:cNvSpPr txBox="1"/>
          <p:nvPr userDrawn="1"/>
        </p:nvSpPr>
        <p:spPr>
          <a:xfrm>
            <a:off x="3845577" y="5271168"/>
            <a:ext cx="1058447" cy="489878"/>
          </a:xfrm>
          <a:prstGeom prst="rect">
            <a:avLst/>
          </a:prstGeom>
        </p:spPr>
        <p:txBody>
          <a:bodyPr vert="horz" wrap="square" lIns="0" tIns="12700" rIns="0" bIns="0" rtlCol="0" anchor="t">
            <a:spAutoFit/>
          </a:bodyPr>
          <a:lstStyle/>
          <a:p>
            <a:pPr algn="ctr">
              <a:lnSpc>
                <a:spcPct val="100000"/>
              </a:lnSpc>
              <a:spcBef>
                <a:spcPts val="100"/>
              </a:spcBef>
            </a:pPr>
            <a:r>
              <a:rPr lang="en-US" sz="1100" dirty="0">
                <a:solidFill>
                  <a:srgbClr val="007239"/>
                </a:solidFill>
                <a:cs typeface="Gill Sans MT"/>
              </a:rPr>
              <a:t>Mike Felton</a:t>
            </a:r>
            <a:endParaRPr sz="1100" dirty="0">
              <a:solidFill>
                <a:srgbClr val="007239"/>
              </a:solidFill>
              <a:cs typeface="Gill Sans MT"/>
            </a:endParaRPr>
          </a:p>
          <a:p>
            <a:pPr algn="ctr">
              <a:lnSpc>
                <a:spcPct val="100000"/>
              </a:lnSpc>
            </a:pPr>
            <a:r>
              <a:rPr lang="en-US" sz="1000" dirty="0">
                <a:solidFill>
                  <a:schemeClr val="accent6"/>
                </a:solidFill>
                <a:cs typeface="Gill Sans MT"/>
              </a:rPr>
              <a:t>Vice President Holophane Sales</a:t>
            </a:r>
            <a:endParaRPr sz="1000" dirty="0">
              <a:solidFill>
                <a:schemeClr val="accent6"/>
              </a:solidFill>
              <a:cs typeface="Gill Sans MT"/>
            </a:endParaRPr>
          </a:p>
        </p:txBody>
      </p:sp>
      <p:grpSp>
        <p:nvGrpSpPr>
          <p:cNvPr id="111" name="Group 110">
            <a:extLst>
              <a:ext uri="{FF2B5EF4-FFF2-40B4-BE49-F238E27FC236}">
                <a16:creationId xmlns:a16="http://schemas.microsoft.com/office/drawing/2014/main" id="{8BBEE46F-75C0-4CBA-B5A7-3A5705B02513}"/>
              </a:ext>
            </a:extLst>
          </p:cNvPr>
          <p:cNvGrpSpPr/>
          <p:nvPr userDrawn="1"/>
        </p:nvGrpSpPr>
        <p:grpSpPr>
          <a:xfrm>
            <a:off x="5512886" y="3993752"/>
            <a:ext cx="1347092" cy="1798309"/>
            <a:chOff x="8297685" y="4232763"/>
            <a:chExt cx="1827271" cy="2327023"/>
          </a:xfrm>
        </p:grpSpPr>
        <p:sp>
          <p:nvSpPr>
            <p:cNvPr id="112" name="object 36">
              <a:extLst>
                <a:ext uri="{FF2B5EF4-FFF2-40B4-BE49-F238E27FC236}">
                  <a16:creationId xmlns:a16="http://schemas.microsoft.com/office/drawing/2014/main" id="{8CB8BB81-C151-4841-8414-A0D17F71C78F}"/>
                </a:ext>
              </a:extLst>
            </p:cNvPr>
            <p:cNvSpPr txBox="1"/>
            <p:nvPr/>
          </p:nvSpPr>
          <p:spPr>
            <a:xfrm>
              <a:off x="8297685" y="5892692"/>
              <a:ext cx="1827271" cy="667094"/>
            </a:xfrm>
            <a:prstGeom prst="rect">
              <a:avLst/>
            </a:prstGeom>
          </p:spPr>
          <p:txBody>
            <a:bodyPr vert="horz" wrap="square" lIns="0" tIns="12700" rIns="0" bIns="0" rtlCol="0">
              <a:spAutoFit/>
            </a:bodyPr>
            <a:lstStyle/>
            <a:p>
              <a:pPr marL="12700" algn="ctr">
                <a:lnSpc>
                  <a:spcPct val="100000"/>
                </a:lnSpc>
                <a:spcBef>
                  <a:spcPts val="100"/>
                </a:spcBef>
              </a:pPr>
              <a:r>
                <a:rPr sz="1100" dirty="0">
                  <a:solidFill>
                    <a:srgbClr val="007239"/>
                  </a:solidFill>
                  <a:cs typeface="Gill Sans MT"/>
                </a:rPr>
                <a:t>Amra Boucher</a:t>
              </a:r>
              <a:endParaRPr lang="en-US" sz="1100" dirty="0">
                <a:solidFill>
                  <a:srgbClr val="007239"/>
                </a:solidFill>
                <a:cs typeface="Gill Sans MT"/>
              </a:endParaRPr>
            </a:p>
            <a:p>
              <a:pPr marL="12700" algn="ctr">
                <a:lnSpc>
                  <a:spcPct val="100000"/>
                </a:lnSpc>
                <a:spcBef>
                  <a:spcPts val="100"/>
                </a:spcBef>
              </a:pPr>
              <a:r>
                <a:rPr lang="en-US" sz="1000" dirty="0">
                  <a:solidFill>
                    <a:schemeClr val="accent6"/>
                  </a:solidFill>
                  <a:cs typeface="Gill Sans MT"/>
                </a:rPr>
                <a:t>Senior Vice President</a:t>
              </a:r>
            </a:p>
            <a:p>
              <a:pPr marL="12700" algn="ctr">
                <a:lnSpc>
                  <a:spcPct val="100000"/>
                </a:lnSpc>
                <a:spcBef>
                  <a:spcPts val="100"/>
                </a:spcBef>
              </a:pPr>
              <a:r>
                <a:rPr lang="en-US" sz="1000" dirty="0">
                  <a:solidFill>
                    <a:schemeClr val="accent6"/>
                  </a:solidFill>
                  <a:cs typeface="Gill Sans MT"/>
                </a:rPr>
                <a:t>Marketing &amp; Pricing</a:t>
              </a:r>
              <a:endParaRPr sz="1000" dirty="0">
                <a:solidFill>
                  <a:schemeClr val="accent6"/>
                </a:solidFill>
                <a:cs typeface="Gill Sans MT"/>
              </a:endParaRPr>
            </a:p>
          </p:txBody>
        </p:sp>
        <p:grpSp>
          <p:nvGrpSpPr>
            <p:cNvPr id="113" name="Group 112">
              <a:extLst>
                <a:ext uri="{FF2B5EF4-FFF2-40B4-BE49-F238E27FC236}">
                  <a16:creationId xmlns:a16="http://schemas.microsoft.com/office/drawing/2014/main" id="{21370045-FD5C-4861-8544-2395F207105C}"/>
                </a:ext>
              </a:extLst>
            </p:cNvPr>
            <p:cNvGrpSpPr/>
            <p:nvPr/>
          </p:nvGrpSpPr>
          <p:grpSpPr>
            <a:xfrm>
              <a:off x="8469482" y="4232763"/>
              <a:ext cx="1437144" cy="1428098"/>
              <a:chOff x="8469481" y="4162769"/>
              <a:chExt cx="1507581" cy="1498092"/>
            </a:xfrm>
          </p:grpSpPr>
          <p:sp>
            <p:nvSpPr>
              <p:cNvPr id="114" name="object 46">
                <a:extLst>
                  <a:ext uri="{FF2B5EF4-FFF2-40B4-BE49-F238E27FC236}">
                    <a16:creationId xmlns:a16="http://schemas.microsoft.com/office/drawing/2014/main" id="{23EF9DAF-F2EE-4F2F-A710-C7EB3E8749E6}"/>
                  </a:ext>
                </a:extLst>
              </p:cNvPr>
              <p:cNvSpPr/>
              <p:nvPr/>
            </p:nvSpPr>
            <p:spPr>
              <a:xfrm>
                <a:off x="8478462" y="4162769"/>
                <a:ext cx="1498600" cy="1496695"/>
              </a:xfrm>
              <a:custGeom>
                <a:avLst/>
                <a:gdLst/>
                <a:ahLst/>
                <a:cxnLst/>
                <a:rect l="l" t="t" r="r" b="b"/>
                <a:pathLst>
                  <a:path w="1498600" h="1496695">
                    <a:moveTo>
                      <a:pt x="749808" y="1496567"/>
                    </a:moveTo>
                    <a:lnTo>
                      <a:pt x="702344" y="1495094"/>
                    </a:lnTo>
                    <a:lnTo>
                      <a:pt x="655671" y="1490733"/>
                    </a:lnTo>
                    <a:lnTo>
                      <a:pt x="609876" y="1483572"/>
                    </a:lnTo>
                    <a:lnTo>
                      <a:pt x="565046" y="1473698"/>
                    </a:lnTo>
                    <a:lnTo>
                      <a:pt x="521270" y="1461201"/>
                    </a:lnTo>
                    <a:lnTo>
                      <a:pt x="478634" y="1446167"/>
                    </a:lnTo>
                    <a:lnTo>
                      <a:pt x="437226" y="1428685"/>
                    </a:lnTo>
                    <a:lnTo>
                      <a:pt x="397133" y="1408843"/>
                    </a:lnTo>
                    <a:lnTo>
                      <a:pt x="358443" y="1386728"/>
                    </a:lnTo>
                    <a:lnTo>
                      <a:pt x="321242" y="1362428"/>
                    </a:lnTo>
                    <a:lnTo>
                      <a:pt x="285619" y="1336032"/>
                    </a:lnTo>
                    <a:lnTo>
                      <a:pt x="251661" y="1307628"/>
                    </a:lnTo>
                    <a:lnTo>
                      <a:pt x="219456" y="1277302"/>
                    </a:lnTo>
                    <a:lnTo>
                      <a:pt x="189089" y="1245144"/>
                    </a:lnTo>
                    <a:lnTo>
                      <a:pt x="160650" y="1211240"/>
                    </a:lnTo>
                    <a:lnTo>
                      <a:pt x="134225" y="1175680"/>
                    </a:lnTo>
                    <a:lnTo>
                      <a:pt x="109902" y="1138550"/>
                    </a:lnTo>
                    <a:lnTo>
                      <a:pt x="87769" y="1099940"/>
                    </a:lnTo>
                    <a:lnTo>
                      <a:pt x="67911" y="1059936"/>
                    </a:lnTo>
                    <a:lnTo>
                      <a:pt x="50418" y="1018627"/>
                    </a:lnTo>
                    <a:lnTo>
                      <a:pt x="35377" y="976100"/>
                    </a:lnTo>
                    <a:lnTo>
                      <a:pt x="22874" y="932444"/>
                    </a:lnTo>
                    <a:lnTo>
                      <a:pt x="12998" y="887746"/>
                    </a:lnTo>
                    <a:lnTo>
                      <a:pt x="5835" y="842095"/>
                    </a:lnTo>
                    <a:lnTo>
                      <a:pt x="1473" y="795578"/>
                    </a:lnTo>
                    <a:lnTo>
                      <a:pt x="0" y="748283"/>
                    </a:lnTo>
                    <a:lnTo>
                      <a:pt x="1473" y="700989"/>
                    </a:lnTo>
                    <a:lnTo>
                      <a:pt x="5835" y="654472"/>
                    </a:lnTo>
                    <a:lnTo>
                      <a:pt x="12998" y="608821"/>
                    </a:lnTo>
                    <a:lnTo>
                      <a:pt x="22874" y="564123"/>
                    </a:lnTo>
                    <a:lnTo>
                      <a:pt x="35377" y="520467"/>
                    </a:lnTo>
                    <a:lnTo>
                      <a:pt x="50418" y="477940"/>
                    </a:lnTo>
                    <a:lnTo>
                      <a:pt x="67911" y="436631"/>
                    </a:lnTo>
                    <a:lnTo>
                      <a:pt x="87769" y="396627"/>
                    </a:lnTo>
                    <a:lnTo>
                      <a:pt x="109902" y="358017"/>
                    </a:lnTo>
                    <a:lnTo>
                      <a:pt x="134225" y="320887"/>
                    </a:lnTo>
                    <a:lnTo>
                      <a:pt x="160650" y="285327"/>
                    </a:lnTo>
                    <a:lnTo>
                      <a:pt x="189089" y="251423"/>
                    </a:lnTo>
                    <a:lnTo>
                      <a:pt x="219456" y="219265"/>
                    </a:lnTo>
                    <a:lnTo>
                      <a:pt x="251661" y="188939"/>
                    </a:lnTo>
                    <a:lnTo>
                      <a:pt x="285619" y="160535"/>
                    </a:lnTo>
                    <a:lnTo>
                      <a:pt x="321242" y="134139"/>
                    </a:lnTo>
                    <a:lnTo>
                      <a:pt x="358443" y="109839"/>
                    </a:lnTo>
                    <a:lnTo>
                      <a:pt x="397133" y="87724"/>
                    </a:lnTo>
                    <a:lnTo>
                      <a:pt x="437226" y="67882"/>
                    </a:lnTo>
                    <a:lnTo>
                      <a:pt x="478634" y="50400"/>
                    </a:lnTo>
                    <a:lnTo>
                      <a:pt x="521270" y="35366"/>
                    </a:lnTo>
                    <a:lnTo>
                      <a:pt x="565046" y="22869"/>
                    </a:lnTo>
                    <a:lnTo>
                      <a:pt x="609876" y="12995"/>
                    </a:lnTo>
                    <a:lnTo>
                      <a:pt x="655671" y="5834"/>
                    </a:lnTo>
                    <a:lnTo>
                      <a:pt x="702344" y="1473"/>
                    </a:lnTo>
                    <a:lnTo>
                      <a:pt x="749808" y="0"/>
                    </a:lnTo>
                    <a:lnTo>
                      <a:pt x="797102" y="1473"/>
                    </a:lnTo>
                    <a:lnTo>
                      <a:pt x="843619" y="5834"/>
                    </a:lnTo>
                    <a:lnTo>
                      <a:pt x="889270" y="12995"/>
                    </a:lnTo>
                    <a:lnTo>
                      <a:pt x="933968" y="22869"/>
                    </a:lnTo>
                    <a:lnTo>
                      <a:pt x="977624" y="35366"/>
                    </a:lnTo>
                    <a:lnTo>
                      <a:pt x="1020151" y="50400"/>
                    </a:lnTo>
                    <a:lnTo>
                      <a:pt x="1061460" y="67882"/>
                    </a:lnTo>
                    <a:lnTo>
                      <a:pt x="1101464" y="87724"/>
                    </a:lnTo>
                    <a:lnTo>
                      <a:pt x="1140074" y="109839"/>
                    </a:lnTo>
                    <a:lnTo>
                      <a:pt x="1177204" y="134139"/>
                    </a:lnTo>
                    <a:lnTo>
                      <a:pt x="1212764" y="160535"/>
                    </a:lnTo>
                    <a:lnTo>
                      <a:pt x="1246668" y="188939"/>
                    </a:lnTo>
                    <a:lnTo>
                      <a:pt x="1278826" y="219265"/>
                    </a:lnTo>
                    <a:lnTo>
                      <a:pt x="1309152" y="251423"/>
                    </a:lnTo>
                    <a:lnTo>
                      <a:pt x="1337556" y="285327"/>
                    </a:lnTo>
                    <a:lnTo>
                      <a:pt x="1363952" y="320887"/>
                    </a:lnTo>
                    <a:lnTo>
                      <a:pt x="1388252" y="358017"/>
                    </a:lnTo>
                    <a:lnTo>
                      <a:pt x="1410367" y="396627"/>
                    </a:lnTo>
                    <a:lnTo>
                      <a:pt x="1430209" y="436631"/>
                    </a:lnTo>
                    <a:lnTo>
                      <a:pt x="1447691" y="477940"/>
                    </a:lnTo>
                    <a:lnTo>
                      <a:pt x="1462725" y="520467"/>
                    </a:lnTo>
                    <a:lnTo>
                      <a:pt x="1475222" y="564123"/>
                    </a:lnTo>
                    <a:lnTo>
                      <a:pt x="1485096" y="608821"/>
                    </a:lnTo>
                    <a:lnTo>
                      <a:pt x="1492257" y="654472"/>
                    </a:lnTo>
                    <a:lnTo>
                      <a:pt x="1496618" y="700989"/>
                    </a:lnTo>
                    <a:lnTo>
                      <a:pt x="1498091" y="748283"/>
                    </a:lnTo>
                    <a:lnTo>
                      <a:pt x="1496618" y="795578"/>
                    </a:lnTo>
                    <a:lnTo>
                      <a:pt x="1492257" y="842095"/>
                    </a:lnTo>
                    <a:lnTo>
                      <a:pt x="1485096" y="887746"/>
                    </a:lnTo>
                    <a:lnTo>
                      <a:pt x="1475222" y="932444"/>
                    </a:lnTo>
                    <a:lnTo>
                      <a:pt x="1462725" y="976100"/>
                    </a:lnTo>
                    <a:lnTo>
                      <a:pt x="1447691" y="1018627"/>
                    </a:lnTo>
                    <a:lnTo>
                      <a:pt x="1430209" y="1059936"/>
                    </a:lnTo>
                    <a:lnTo>
                      <a:pt x="1410367" y="1099940"/>
                    </a:lnTo>
                    <a:lnTo>
                      <a:pt x="1388252" y="1138550"/>
                    </a:lnTo>
                    <a:lnTo>
                      <a:pt x="1363952" y="1175680"/>
                    </a:lnTo>
                    <a:lnTo>
                      <a:pt x="1337556" y="1211240"/>
                    </a:lnTo>
                    <a:lnTo>
                      <a:pt x="1309152" y="1245144"/>
                    </a:lnTo>
                    <a:lnTo>
                      <a:pt x="1278826" y="1277302"/>
                    </a:lnTo>
                    <a:lnTo>
                      <a:pt x="1246668" y="1307628"/>
                    </a:lnTo>
                    <a:lnTo>
                      <a:pt x="1212764" y="1336032"/>
                    </a:lnTo>
                    <a:lnTo>
                      <a:pt x="1177204" y="1362428"/>
                    </a:lnTo>
                    <a:lnTo>
                      <a:pt x="1140074" y="1386728"/>
                    </a:lnTo>
                    <a:lnTo>
                      <a:pt x="1101464" y="1408843"/>
                    </a:lnTo>
                    <a:lnTo>
                      <a:pt x="1061460" y="1428685"/>
                    </a:lnTo>
                    <a:lnTo>
                      <a:pt x="1020151" y="1446167"/>
                    </a:lnTo>
                    <a:lnTo>
                      <a:pt x="977624" y="1461201"/>
                    </a:lnTo>
                    <a:lnTo>
                      <a:pt x="933968" y="1473698"/>
                    </a:lnTo>
                    <a:lnTo>
                      <a:pt x="889270" y="1483572"/>
                    </a:lnTo>
                    <a:lnTo>
                      <a:pt x="843619" y="1490733"/>
                    </a:lnTo>
                    <a:lnTo>
                      <a:pt x="797102" y="1495094"/>
                    </a:lnTo>
                    <a:lnTo>
                      <a:pt x="749808" y="1496567"/>
                    </a:lnTo>
                    <a:close/>
                  </a:path>
                </a:pathLst>
              </a:custGeom>
              <a:solidFill>
                <a:srgbClr val="EDEFEF"/>
              </a:solidFill>
            </p:spPr>
            <p:txBody>
              <a:bodyPr wrap="square" lIns="0" tIns="0" rIns="0" bIns="0" rtlCol="0"/>
              <a:lstStyle/>
              <a:p>
                <a:endParaRPr sz="1100"/>
              </a:p>
            </p:txBody>
          </p:sp>
          <p:pic>
            <p:nvPicPr>
              <p:cNvPr id="115" name="object 47">
                <a:extLst>
                  <a:ext uri="{FF2B5EF4-FFF2-40B4-BE49-F238E27FC236}">
                    <a16:creationId xmlns:a16="http://schemas.microsoft.com/office/drawing/2014/main" id="{E4653938-07AD-40B7-BF85-FADD48857968}"/>
                  </a:ext>
                </a:extLst>
              </p:cNvPr>
              <p:cNvPicPr/>
              <p:nvPr/>
            </p:nvPicPr>
            <p:blipFill rotWithShape="1">
              <a:blip r:embed="rId7" cstate="print"/>
              <a:srcRect l="3242" t="-8786" r="-3242" b="21805"/>
              <a:stretch/>
            </p:blipFill>
            <p:spPr>
              <a:xfrm>
                <a:off x="8469481" y="4190202"/>
                <a:ext cx="1498600" cy="1470659"/>
              </a:xfrm>
              <a:prstGeom prst="ellipse">
                <a:avLst/>
              </a:prstGeom>
            </p:spPr>
          </p:pic>
        </p:grpSp>
      </p:grpSp>
      <p:sp>
        <p:nvSpPr>
          <p:cNvPr id="116" name="object 35">
            <a:extLst>
              <a:ext uri="{FF2B5EF4-FFF2-40B4-BE49-F238E27FC236}">
                <a16:creationId xmlns:a16="http://schemas.microsoft.com/office/drawing/2014/main" id="{3047B608-0ED3-4A88-A787-19E06082BA3C}"/>
              </a:ext>
            </a:extLst>
          </p:cNvPr>
          <p:cNvSpPr txBox="1"/>
          <p:nvPr userDrawn="1"/>
        </p:nvSpPr>
        <p:spPr>
          <a:xfrm>
            <a:off x="7514065" y="5262372"/>
            <a:ext cx="1104792" cy="643766"/>
          </a:xfrm>
          <a:prstGeom prst="rect">
            <a:avLst/>
          </a:prstGeom>
        </p:spPr>
        <p:txBody>
          <a:bodyPr vert="horz" wrap="square" lIns="0" tIns="12700" rIns="0" bIns="0" rtlCol="0">
            <a:spAutoFit/>
          </a:bodyPr>
          <a:lstStyle/>
          <a:p>
            <a:pPr marL="635" algn="ctr">
              <a:lnSpc>
                <a:spcPct val="100000"/>
              </a:lnSpc>
              <a:spcBef>
                <a:spcPts val="100"/>
              </a:spcBef>
            </a:pPr>
            <a:r>
              <a:rPr lang="en-US" sz="1100">
                <a:solidFill>
                  <a:srgbClr val="007239"/>
                </a:solidFill>
                <a:cs typeface="Gill Sans MT"/>
              </a:rPr>
              <a:t>Alex Gallo</a:t>
            </a:r>
            <a:endParaRPr sz="1100">
              <a:solidFill>
                <a:srgbClr val="007239"/>
              </a:solidFill>
              <a:cs typeface="Gill Sans MT"/>
            </a:endParaRPr>
          </a:p>
          <a:p>
            <a:pPr algn="ctr">
              <a:lnSpc>
                <a:spcPct val="100000"/>
              </a:lnSpc>
            </a:pPr>
            <a:r>
              <a:rPr lang="en-US" sz="1000" spc="10">
                <a:solidFill>
                  <a:schemeClr val="accent6"/>
                </a:solidFill>
                <a:cs typeface="Gill Sans MT"/>
              </a:rPr>
              <a:t>Vice President &amp; General Manager, Sunoptics</a:t>
            </a:r>
            <a:endParaRPr sz="1000">
              <a:solidFill>
                <a:schemeClr val="accent6"/>
              </a:solidFill>
              <a:cs typeface="Gill Sans MT"/>
            </a:endParaRPr>
          </a:p>
        </p:txBody>
      </p:sp>
      <p:grpSp>
        <p:nvGrpSpPr>
          <p:cNvPr id="117" name="Group 116">
            <a:extLst>
              <a:ext uri="{FF2B5EF4-FFF2-40B4-BE49-F238E27FC236}">
                <a16:creationId xmlns:a16="http://schemas.microsoft.com/office/drawing/2014/main" id="{E8D2A7BC-D73B-4F65-A92E-96EC4DAA5266}"/>
              </a:ext>
            </a:extLst>
          </p:cNvPr>
          <p:cNvGrpSpPr/>
          <p:nvPr userDrawn="1"/>
        </p:nvGrpSpPr>
        <p:grpSpPr>
          <a:xfrm>
            <a:off x="838200" y="1745375"/>
            <a:ext cx="1426652" cy="2134336"/>
            <a:chOff x="2319886" y="1775578"/>
            <a:chExt cx="1935189" cy="2761843"/>
          </a:xfrm>
        </p:grpSpPr>
        <p:sp>
          <p:nvSpPr>
            <p:cNvPr id="118" name="TextBox 117">
              <a:extLst>
                <a:ext uri="{FF2B5EF4-FFF2-40B4-BE49-F238E27FC236}">
                  <a16:creationId xmlns:a16="http://schemas.microsoft.com/office/drawing/2014/main" id="{106B2457-F7FD-460E-ACBD-F36F3C0B5579}"/>
                </a:ext>
              </a:extLst>
            </p:cNvPr>
            <p:cNvSpPr txBox="1"/>
            <p:nvPr/>
          </p:nvSpPr>
          <p:spPr>
            <a:xfrm>
              <a:off x="2319886" y="3402367"/>
              <a:ext cx="1935189" cy="1135054"/>
            </a:xfrm>
            <a:prstGeom prst="rect">
              <a:avLst/>
            </a:prstGeom>
            <a:noFill/>
          </p:spPr>
          <p:txBody>
            <a:bodyPr wrap="square">
              <a:spAutoFit/>
            </a:bodyPr>
            <a:lstStyle/>
            <a:p>
              <a:pPr algn="ctr"/>
              <a:r>
                <a:rPr lang="en-US" sz="1100">
                  <a:solidFill>
                    <a:srgbClr val="007239"/>
                  </a:solidFill>
                  <a:effectLst/>
                  <a:latin typeface="Arial" panose="020B0604020202020204" pitchFamily="34" charset="0"/>
                </a:rPr>
                <a:t>Trevor S. Palmer</a:t>
              </a:r>
            </a:p>
            <a:p>
              <a:pPr algn="ctr"/>
              <a:r>
                <a:rPr lang="en-US" sz="1000">
                  <a:solidFill>
                    <a:schemeClr val="accent6"/>
                  </a:solidFill>
                  <a:effectLst/>
                  <a:latin typeface="Arial" panose="020B0604020202020204" pitchFamily="34" charset="0"/>
                </a:rPr>
                <a:t>President</a:t>
              </a:r>
              <a:br>
                <a:rPr lang="en-US" sz="1000">
                  <a:solidFill>
                    <a:schemeClr val="accent6"/>
                  </a:solidFill>
                  <a:effectLst/>
                  <a:latin typeface="Arial" panose="020B0604020202020204" pitchFamily="34" charset="0"/>
                </a:rPr>
              </a:br>
              <a:r>
                <a:rPr lang="en-US" sz="1000">
                  <a:solidFill>
                    <a:schemeClr val="accent6"/>
                  </a:solidFill>
                  <a:effectLst/>
                  <a:latin typeface="Arial" panose="020B0604020202020204" pitchFamily="34" charset="0"/>
                </a:rPr>
                <a:t>Acuity Brands Lighting and Controls Business</a:t>
              </a:r>
            </a:p>
          </p:txBody>
        </p:sp>
        <p:grpSp>
          <p:nvGrpSpPr>
            <p:cNvPr id="119" name="Group 118">
              <a:extLst>
                <a:ext uri="{FF2B5EF4-FFF2-40B4-BE49-F238E27FC236}">
                  <a16:creationId xmlns:a16="http://schemas.microsoft.com/office/drawing/2014/main" id="{FDF992A6-D00B-4655-AA1B-48527F5F0150}"/>
                </a:ext>
              </a:extLst>
            </p:cNvPr>
            <p:cNvGrpSpPr/>
            <p:nvPr/>
          </p:nvGrpSpPr>
          <p:grpSpPr>
            <a:xfrm>
              <a:off x="2552625" y="1775578"/>
              <a:ext cx="1460673" cy="1463608"/>
              <a:chOff x="6600269" y="4142219"/>
              <a:chExt cx="1460673" cy="1463608"/>
            </a:xfrm>
          </p:grpSpPr>
          <p:sp>
            <p:nvSpPr>
              <p:cNvPr id="120" name="object 22">
                <a:extLst>
                  <a:ext uri="{FF2B5EF4-FFF2-40B4-BE49-F238E27FC236}">
                    <a16:creationId xmlns:a16="http://schemas.microsoft.com/office/drawing/2014/main" id="{C155ECE5-7553-49D7-9FE6-0C2DC98AAD0B}"/>
                  </a:ext>
                </a:extLst>
              </p:cNvPr>
              <p:cNvSpPr/>
              <p:nvPr/>
            </p:nvSpPr>
            <p:spPr>
              <a:xfrm>
                <a:off x="6610516" y="4170092"/>
                <a:ext cx="1440180" cy="1435735"/>
              </a:xfrm>
              <a:custGeom>
                <a:avLst/>
                <a:gdLst/>
                <a:ahLst/>
                <a:cxnLst/>
                <a:rect l="l" t="t" r="r" b="b"/>
                <a:pathLst>
                  <a:path w="1440180" h="1435735">
                    <a:moveTo>
                      <a:pt x="719327" y="1435608"/>
                    </a:moveTo>
                    <a:lnTo>
                      <a:pt x="672146" y="1434080"/>
                    </a:lnTo>
                    <a:lnTo>
                      <a:pt x="625762" y="1429560"/>
                    </a:lnTo>
                    <a:lnTo>
                      <a:pt x="580273" y="1422143"/>
                    </a:lnTo>
                    <a:lnTo>
                      <a:pt x="535774" y="1411923"/>
                    </a:lnTo>
                    <a:lnTo>
                      <a:pt x="492361" y="1398995"/>
                    </a:lnTo>
                    <a:lnTo>
                      <a:pt x="450130" y="1383454"/>
                    </a:lnTo>
                    <a:lnTo>
                      <a:pt x="409178" y="1365395"/>
                    </a:lnTo>
                    <a:lnTo>
                      <a:pt x="369599" y="1344913"/>
                    </a:lnTo>
                    <a:lnTo>
                      <a:pt x="331491" y="1322102"/>
                    </a:lnTo>
                    <a:lnTo>
                      <a:pt x="294948" y="1297058"/>
                    </a:lnTo>
                    <a:lnTo>
                      <a:pt x="260068" y="1269874"/>
                    </a:lnTo>
                    <a:lnTo>
                      <a:pt x="226945" y="1240646"/>
                    </a:lnTo>
                    <a:lnTo>
                      <a:pt x="195677" y="1209469"/>
                    </a:lnTo>
                    <a:lnTo>
                      <a:pt x="166358" y="1176438"/>
                    </a:lnTo>
                    <a:lnTo>
                      <a:pt x="139086" y="1141646"/>
                    </a:lnTo>
                    <a:lnTo>
                      <a:pt x="113955" y="1105190"/>
                    </a:lnTo>
                    <a:lnTo>
                      <a:pt x="91062" y="1067163"/>
                    </a:lnTo>
                    <a:lnTo>
                      <a:pt x="70503" y="1027662"/>
                    </a:lnTo>
                    <a:lnTo>
                      <a:pt x="52374" y="986779"/>
                    </a:lnTo>
                    <a:lnTo>
                      <a:pt x="36771" y="944611"/>
                    </a:lnTo>
                    <a:lnTo>
                      <a:pt x="23789" y="901252"/>
                    </a:lnTo>
                    <a:lnTo>
                      <a:pt x="13525" y="856797"/>
                    </a:lnTo>
                    <a:lnTo>
                      <a:pt x="6075" y="811341"/>
                    </a:lnTo>
                    <a:lnTo>
                      <a:pt x="1534" y="764978"/>
                    </a:lnTo>
                    <a:lnTo>
                      <a:pt x="0" y="717804"/>
                    </a:lnTo>
                    <a:lnTo>
                      <a:pt x="1534" y="670629"/>
                    </a:lnTo>
                    <a:lnTo>
                      <a:pt x="6075" y="624266"/>
                    </a:lnTo>
                    <a:lnTo>
                      <a:pt x="13525" y="578810"/>
                    </a:lnTo>
                    <a:lnTo>
                      <a:pt x="23789" y="534355"/>
                    </a:lnTo>
                    <a:lnTo>
                      <a:pt x="36771" y="490996"/>
                    </a:lnTo>
                    <a:lnTo>
                      <a:pt x="52374" y="448828"/>
                    </a:lnTo>
                    <a:lnTo>
                      <a:pt x="70503" y="407945"/>
                    </a:lnTo>
                    <a:lnTo>
                      <a:pt x="91062" y="368444"/>
                    </a:lnTo>
                    <a:lnTo>
                      <a:pt x="113955" y="330417"/>
                    </a:lnTo>
                    <a:lnTo>
                      <a:pt x="139086" y="293961"/>
                    </a:lnTo>
                    <a:lnTo>
                      <a:pt x="166358" y="259169"/>
                    </a:lnTo>
                    <a:lnTo>
                      <a:pt x="195677" y="226138"/>
                    </a:lnTo>
                    <a:lnTo>
                      <a:pt x="226945" y="194961"/>
                    </a:lnTo>
                    <a:lnTo>
                      <a:pt x="260068" y="165733"/>
                    </a:lnTo>
                    <a:lnTo>
                      <a:pt x="294948" y="138549"/>
                    </a:lnTo>
                    <a:lnTo>
                      <a:pt x="331491" y="113505"/>
                    </a:lnTo>
                    <a:lnTo>
                      <a:pt x="369599" y="90694"/>
                    </a:lnTo>
                    <a:lnTo>
                      <a:pt x="409178" y="70212"/>
                    </a:lnTo>
                    <a:lnTo>
                      <a:pt x="450130" y="52153"/>
                    </a:lnTo>
                    <a:lnTo>
                      <a:pt x="492361" y="36612"/>
                    </a:lnTo>
                    <a:lnTo>
                      <a:pt x="535774" y="23684"/>
                    </a:lnTo>
                    <a:lnTo>
                      <a:pt x="580273" y="13464"/>
                    </a:lnTo>
                    <a:lnTo>
                      <a:pt x="625762" y="6047"/>
                    </a:lnTo>
                    <a:lnTo>
                      <a:pt x="672146" y="1527"/>
                    </a:lnTo>
                    <a:lnTo>
                      <a:pt x="719327" y="0"/>
                    </a:lnTo>
                    <a:lnTo>
                      <a:pt x="766685" y="1527"/>
                    </a:lnTo>
                    <a:lnTo>
                      <a:pt x="813230" y="6047"/>
                    </a:lnTo>
                    <a:lnTo>
                      <a:pt x="858867" y="13464"/>
                    </a:lnTo>
                    <a:lnTo>
                      <a:pt x="903502" y="23684"/>
                    </a:lnTo>
                    <a:lnTo>
                      <a:pt x="947037" y="36612"/>
                    </a:lnTo>
                    <a:lnTo>
                      <a:pt x="989379" y="52153"/>
                    </a:lnTo>
                    <a:lnTo>
                      <a:pt x="1030432" y="70212"/>
                    </a:lnTo>
                    <a:lnTo>
                      <a:pt x="1070100" y="90694"/>
                    </a:lnTo>
                    <a:lnTo>
                      <a:pt x="1108289" y="113505"/>
                    </a:lnTo>
                    <a:lnTo>
                      <a:pt x="1144901" y="138549"/>
                    </a:lnTo>
                    <a:lnTo>
                      <a:pt x="1179843" y="165733"/>
                    </a:lnTo>
                    <a:lnTo>
                      <a:pt x="1213019" y="194961"/>
                    </a:lnTo>
                    <a:lnTo>
                      <a:pt x="1244333" y="226138"/>
                    </a:lnTo>
                    <a:lnTo>
                      <a:pt x="1273691" y="259169"/>
                    </a:lnTo>
                    <a:lnTo>
                      <a:pt x="1300996" y="293961"/>
                    </a:lnTo>
                    <a:lnTo>
                      <a:pt x="1326153" y="330417"/>
                    </a:lnTo>
                    <a:lnTo>
                      <a:pt x="1349067" y="368444"/>
                    </a:lnTo>
                    <a:lnTo>
                      <a:pt x="1369642" y="407945"/>
                    </a:lnTo>
                    <a:lnTo>
                      <a:pt x="1387784" y="448828"/>
                    </a:lnTo>
                    <a:lnTo>
                      <a:pt x="1403396" y="490996"/>
                    </a:lnTo>
                    <a:lnTo>
                      <a:pt x="1416384" y="534355"/>
                    </a:lnTo>
                    <a:lnTo>
                      <a:pt x="1426651" y="578810"/>
                    </a:lnTo>
                    <a:lnTo>
                      <a:pt x="1434103" y="624266"/>
                    </a:lnTo>
                    <a:lnTo>
                      <a:pt x="1438645" y="670629"/>
                    </a:lnTo>
                    <a:lnTo>
                      <a:pt x="1440179" y="717804"/>
                    </a:lnTo>
                    <a:lnTo>
                      <a:pt x="1438645" y="764978"/>
                    </a:lnTo>
                    <a:lnTo>
                      <a:pt x="1434103" y="811341"/>
                    </a:lnTo>
                    <a:lnTo>
                      <a:pt x="1426651" y="856797"/>
                    </a:lnTo>
                    <a:lnTo>
                      <a:pt x="1416384" y="901252"/>
                    </a:lnTo>
                    <a:lnTo>
                      <a:pt x="1403396" y="944611"/>
                    </a:lnTo>
                    <a:lnTo>
                      <a:pt x="1387784" y="986779"/>
                    </a:lnTo>
                    <a:lnTo>
                      <a:pt x="1369642" y="1027662"/>
                    </a:lnTo>
                    <a:lnTo>
                      <a:pt x="1349067" y="1067163"/>
                    </a:lnTo>
                    <a:lnTo>
                      <a:pt x="1326153" y="1105190"/>
                    </a:lnTo>
                    <a:lnTo>
                      <a:pt x="1300996" y="1141646"/>
                    </a:lnTo>
                    <a:lnTo>
                      <a:pt x="1273691" y="1176438"/>
                    </a:lnTo>
                    <a:lnTo>
                      <a:pt x="1244333" y="1209469"/>
                    </a:lnTo>
                    <a:lnTo>
                      <a:pt x="1213019" y="1240646"/>
                    </a:lnTo>
                    <a:lnTo>
                      <a:pt x="1179843" y="1269874"/>
                    </a:lnTo>
                    <a:lnTo>
                      <a:pt x="1144901" y="1297058"/>
                    </a:lnTo>
                    <a:lnTo>
                      <a:pt x="1108289" y="1322102"/>
                    </a:lnTo>
                    <a:lnTo>
                      <a:pt x="1070100" y="1344913"/>
                    </a:lnTo>
                    <a:lnTo>
                      <a:pt x="1030432" y="1365395"/>
                    </a:lnTo>
                    <a:lnTo>
                      <a:pt x="989379" y="1383454"/>
                    </a:lnTo>
                    <a:lnTo>
                      <a:pt x="947037" y="1398995"/>
                    </a:lnTo>
                    <a:lnTo>
                      <a:pt x="903502" y="1411923"/>
                    </a:lnTo>
                    <a:lnTo>
                      <a:pt x="858867" y="1422143"/>
                    </a:lnTo>
                    <a:lnTo>
                      <a:pt x="813230" y="1429560"/>
                    </a:lnTo>
                    <a:lnTo>
                      <a:pt x="766685" y="1434080"/>
                    </a:lnTo>
                    <a:lnTo>
                      <a:pt x="719327" y="1435608"/>
                    </a:lnTo>
                    <a:close/>
                  </a:path>
                </a:pathLst>
              </a:custGeom>
              <a:solidFill>
                <a:srgbClr val="EDEFEF"/>
              </a:solidFill>
            </p:spPr>
            <p:txBody>
              <a:bodyPr wrap="square" lIns="0" tIns="0" rIns="0" bIns="0" rtlCol="0"/>
              <a:lstStyle/>
              <a:p>
                <a:endParaRPr sz="1100"/>
              </a:p>
            </p:txBody>
          </p:sp>
          <p:pic>
            <p:nvPicPr>
              <p:cNvPr id="121" name="object 23">
                <a:extLst>
                  <a:ext uri="{FF2B5EF4-FFF2-40B4-BE49-F238E27FC236}">
                    <a16:creationId xmlns:a16="http://schemas.microsoft.com/office/drawing/2014/main" id="{0E775277-5412-4F0F-8BF4-7B9A5866C97C}"/>
                  </a:ext>
                </a:extLst>
              </p:cNvPr>
              <p:cNvPicPr/>
              <p:nvPr/>
            </p:nvPicPr>
            <p:blipFill rotWithShape="1">
              <a:blip r:embed="rId8" cstate="print"/>
              <a:srcRect l="2594" t="2368" r="2769" b="2401"/>
              <a:stretch/>
            </p:blipFill>
            <p:spPr>
              <a:xfrm>
                <a:off x="6600269" y="4142219"/>
                <a:ext cx="1460673" cy="1454950"/>
              </a:xfrm>
              <a:prstGeom prst="ellipse">
                <a:avLst/>
              </a:prstGeom>
            </p:spPr>
          </p:pic>
        </p:grpSp>
      </p:grpSp>
      <p:sp>
        <p:nvSpPr>
          <p:cNvPr id="122" name="object 25">
            <a:extLst>
              <a:ext uri="{FF2B5EF4-FFF2-40B4-BE49-F238E27FC236}">
                <a16:creationId xmlns:a16="http://schemas.microsoft.com/office/drawing/2014/main" id="{6B63F6A3-B964-43E7-8678-01697611472D}"/>
              </a:ext>
            </a:extLst>
          </p:cNvPr>
          <p:cNvSpPr txBox="1"/>
          <p:nvPr userDrawn="1"/>
        </p:nvSpPr>
        <p:spPr>
          <a:xfrm>
            <a:off x="8468405" y="2987160"/>
            <a:ext cx="1426652" cy="659155"/>
          </a:xfrm>
          <a:prstGeom prst="rect">
            <a:avLst/>
          </a:prstGeom>
        </p:spPr>
        <p:txBody>
          <a:bodyPr vert="horz" wrap="square" lIns="0" tIns="12700" rIns="0" bIns="0" rtlCol="0" anchor="t">
            <a:spAutoFit/>
          </a:bodyPr>
          <a:lstStyle/>
          <a:p>
            <a:pPr algn="ctr">
              <a:lnSpc>
                <a:spcPct val="100000"/>
              </a:lnSpc>
              <a:spcBef>
                <a:spcPts val="100"/>
              </a:spcBef>
            </a:pPr>
            <a:r>
              <a:rPr lang="en-US" sz="1100">
                <a:solidFill>
                  <a:srgbClr val="007239"/>
                </a:solidFill>
                <a:cs typeface="Gill Sans MT"/>
              </a:rPr>
              <a:t>Kurt Lovell</a:t>
            </a:r>
            <a:endParaRPr sz="1100">
              <a:solidFill>
                <a:srgbClr val="007239"/>
              </a:solidFill>
              <a:cs typeface="Gill Sans MT"/>
            </a:endParaRPr>
          </a:p>
          <a:p>
            <a:pPr algn="ctr">
              <a:lnSpc>
                <a:spcPct val="100000"/>
              </a:lnSpc>
            </a:pPr>
            <a:r>
              <a:rPr lang="en-US" sz="1000">
                <a:solidFill>
                  <a:schemeClr val="accent6"/>
                </a:solidFill>
                <a:cs typeface="Gill Sans MT"/>
              </a:rPr>
              <a:t>Senior Vice President Customer Experience</a:t>
            </a:r>
          </a:p>
          <a:p>
            <a:pPr algn="ctr">
              <a:lnSpc>
                <a:spcPct val="100000"/>
              </a:lnSpc>
            </a:pPr>
            <a:endParaRPr sz="1100">
              <a:solidFill>
                <a:schemeClr val="accent6"/>
              </a:solidFill>
              <a:cs typeface="Gill Sans MT"/>
            </a:endParaRPr>
          </a:p>
        </p:txBody>
      </p:sp>
      <p:sp>
        <p:nvSpPr>
          <p:cNvPr id="123" name="object 25">
            <a:extLst>
              <a:ext uri="{FF2B5EF4-FFF2-40B4-BE49-F238E27FC236}">
                <a16:creationId xmlns:a16="http://schemas.microsoft.com/office/drawing/2014/main" id="{E6C9545D-960D-4C74-A4EA-D8836F1ADB05}"/>
              </a:ext>
            </a:extLst>
          </p:cNvPr>
          <p:cNvSpPr txBox="1"/>
          <p:nvPr userDrawn="1"/>
        </p:nvSpPr>
        <p:spPr>
          <a:xfrm>
            <a:off x="10431015" y="2993904"/>
            <a:ext cx="1243828" cy="813043"/>
          </a:xfrm>
          <a:prstGeom prst="rect">
            <a:avLst/>
          </a:prstGeom>
        </p:spPr>
        <p:txBody>
          <a:bodyPr vert="horz" wrap="square" lIns="0" tIns="12700" rIns="0" bIns="0" rtlCol="0" anchor="t">
            <a:spAutoFit/>
          </a:bodyPr>
          <a:lstStyle/>
          <a:p>
            <a:pPr algn="ctr">
              <a:lnSpc>
                <a:spcPct val="100000"/>
              </a:lnSpc>
              <a:spcBef>
                <a:spcPts val="100"/>
              </a:spcBef>
            </a:pPr>
            <a:r>
              <a:rPr lang="en-US" sz="1100">
                <a:solidFill>
                  <a:srgbClr val="007239"/>
                </a:solidFill>
                <a:cs typeface="Gill Sans MT"/>
              </a:rPr>
              <a:t>Steve Lydecker</a:t>
            </a:r>
            <a:endParaRPr sz="1100">
              <a:solidFill>
                <a:srgbClr val="007239"/>
              </a:solidFill>
              <a:cs typeface="Gill Sans MT"/>
            </a:endParaRPr>
          </a:p>
          <a:p>
            <a:pPr algn="ctr">
              <a:lnSpc>
                <a:spcPct val="100000"/>
              </a:lnSpc>
            </a:pPr>
            <a:r>
              <a:rPr lang="en-US" sz="1000">
                <a:solidFill>
                  <a:schemeClr val="accent6"/>
                </a:solidFill>
                <a:cs typeface="Gill Sans MT"/>
              </a:rPr>
              <a:t>Senior Vice President Innovation, Applied Technology Solutions</a:t>
            </a:r>
          </a:p>
          <a:p>
            <a:pPr algn="ctr">
              <a:lnSpc>
                <a:spcPct val="100000"/>
              </a:lnSpc>
            </a:pPr>
            <a:endParaRPr sz="1100">
              <a:solidFill>
                <a:schemeClr val="accent6"/>
              </a:solidFill>
              <a:cs typeface="Gill Sans MT"/>
            </a:endParaRPr>
          </a:p>
        </p:txBody>
      </p:sp>
      <p:sp>
        <p:nvSpPr>
          <p:cNvPr id="124" name="object 25">
            <a:extLst>
              <a:ext uri="{FF2B5EF4-FFF2-40B4-BE49-F238E27FC236}">
                <a16:creationId xmlns:a16="http://schemas.microsoft.com/office/drawing/2014/main" id="{4AFFCFFA-95BA-41F6-94B9-92BE84B8A1EC}"/>
              </a:ext>
            </a:extLst>
          </p:cNvPr>
          <p:cNvSpPr txBox="1"/>
          <p:nvPr userDrawn="1"/>
        </p:nvSpPr>
        <p:spPr>
          <a:xfrm>
            <a:off x="9337330" y="5287118"/>
            <a:ext cx="1437130" cy="489878"/>
          </a:xfrm>
          <a:prstGeom prst="rect">
            <a:avLst/>
          </a:prstGeom>
        </p:spPr>
        <p:txBody>
          <a:bodyPr vert="horz" wrap="square" lIns="0" tIns="12700" rIns="0" bIns="0" rtlCol="0" anchor="t">
            <a:spAutoFit/>
          </a:bodyPr>
          <a:lstStyle/>
          <a:p>
            <a:pPr algn="ctr">
              <a:lnSpc>
                <a:spcPct val="100000"/>
              </a:lnSpc>
              <a:spcBef>
                <a:spcPts val="100"/>
              </a:spcBef>
            </a:pPr>
            <a:r>
              <a:rPr lang="en-US" sz="1100" dirty="0">
                <a:solidFill>
                  <a:srgbClr val="007239"/>
                </a:solidFill>
                <a:cs typeface="Gill Sans MT"/>
              </a:rPr>
              <a:t>David Barnwell</a:t>
            </a:r>
            <a:endParaRPr sz="1100" dirty="0">
              <a:solidFill>
                <a:srgbClr val="007239"/>
              </a:solidFill>
              <a:cs typeface="Gill Sans MT"/>
            </a:endParaRPr>
          </a:p>
          <a:p>
            <a:pPr algn="ctr">
              <a:lnSpc>
                <a:spcPct val="100000"/>
              </a:lnSpc>
            </a:pPr>
            <a:r>
              <a:rPr lang="en-US" sz="1000" dirty="0">
                <a:solidFill>
                  <a:schemeClr val="accent6"/>
                </a:solidFill>
                <a:cs typeface="Gill Sans MT"/>
              </a:rPr>
              <a:t>Director</a:t>
            </a:r>
          </a:p>
          <a:p>
            <a:pPr algn="ctr">
              <a:lnSpc>
                <a:spcPct val="100000"/>
              </a:lnSpc>
            </a:pPr>
            <a:r>
              <a:rPr lang="en-US" sz="1000" dirty="0">
                <a:solidFill>
                  <a:schemeClr val="accent6"/>
                </a:solidFill>
                <a:cs typeface="Gill Sans MT"/>
              </a:rPr>
              <a:t> Holophane Europe Ltd.</a:t>
            </a:r>
            <a:endParaRPr sz="1100" dirty="0">
              <a:solidFill>
                <a:schemeClr val="accent6"/>
              </a:solidFill>
              <a:cs typeface="Gill Sans MT"/>
            </a:endParaRPr>
          </a:p>
        </p:txBody>
      </p:sp>
      <p:sp>
        <p:nvSpPr>
          <p:cNvPr id="126" name="object 24">
            <a:extLst>
              <a:ext uri="{FF2B5EF4-FFF2-40B4-BE49-F238E27FC236}">
                <a16:creationId xmlns:a16="http://schemas.microsoft.com/office/drawing/2014/main" id="{F4E1047E-D4BF-4482-91F9-00BE011F318A}"/>
              </a:ext>
            </a:extLst>
          </p:cNvPr>
          <p:cNvSpPr txBox="1"/>
          <p:nvPr/>
        </p:nvSpPr>
        <p:spPr>
          <a:xfrm>
            <a:off x="3805503" y="5219646"/>
            <a:ext cx="1058446" cy="166712"/>
          </a:xfrm>
          <a:prstGeom prst="rect">
            <a:avLst/>
          </a:prstGeom>
        </p:spPr>
        <p:txBody>
          <a:bodyPr vert="horz" wrap="square" lIns="0" tIns="12700" rIns="0" bIns="0" rtlCol="0">
            <a:spAutoFit/>
          </a:bodyPr>
          <a:lstStyle/>
          <a:p>
            <a:pPr marL="1270" algn="ctr">
              <a:lnSpc>
                <a:spcPct val="100000"/>
              </a:lnSpc>
              <a:spcBef>
                <a:spcPts val="100"/>
              </a:spcBef>
            </a:pPr>
            <a:endParaRPr lang="en-US" sz="1000">
              <a:solidFill>
                <a:schemeClr val="accent6"/>
              </a:solidFill>
              <a:cs typeface="Gill Sans MT"/>
            </a:endParaRPr>
          </a:p>
        </p:txBody>
      </p:sp>
      <p:sp>
        <p:nvSpPr>
          <p:cNvPr id="156" name="object 27">
            <a:extLst>
              <a:ext uri="{FF2B5EF4-FFF2-40B4-BE49-F238E27FC236}">
                <a16:creationId xmlns:a16="http://schemas.microsoft.com/office/drawing/2014/main" id="{F4404E09-297C-40CC-942E-BE707671F273}"/>
              </a:ext>
            </a:extLst>
          </p:cNvPr>
          <p:cNvSpPr/>
          <p:nvPr/>
        </p:nvSpPr>
        <p:spPr>
          <a:xfrm>
            <a:off x="3846897" y="4013810"/>
            <a:ext cx="1024128" cy="1021860"/>
          </a:xfrm>
          <a:custGeom>
            <a:avLst/>
            <a:gdLst/>
            <a:ahLst/>
            <a:cxnLst/>
            <a:rect l="l" t="t" r="r" b="b"/>
            <a:pathLst>
              <a:path w="1469389" h="1468120">
                <a:moveTo>
                  <a:pt x="734568" y="1467612"/>
                </a:moveTo>
                <a:lnTo>
                  <a:pt x="686303" y="1466055"/>
                </a:lnTo>
                <a:lnTo>
                  <a:pt x="638868" y="1461448"/>
                </a:lnTo>
                <a:lnTo>
                  <a:pt x="592358" y="1453888"/>
                </a:lnTo>
                <a:lnTo>
                  <a:pt x="546872" y="1443471"/>
                </a:lnTo>
                <a:lnTo>
                  <a:pt x="502505" y="1430292"/>
                </a:lnTo>
                <a:lnTo>
                  <a:pt x="459356" y="1414447"/>
                </a:lnTo>
                <a:lnTo>
                  <a:pt x="417521" y="1396032"/>
                </a:lnTo>
                <a:lnTo>
                  <a:pt x="377097" y="1375144"/>
                </a:lnTo>
                <a:lnTo>
                  <a:pt x="338183" y="1351878"/>
                </a:lnTo>
                <a:lnTo>
                  <a:pt x="300874" y="1326331"/>
                </a:lnTo>
                <a:lnTo>
                  <a:pt x="265268" y="1298597"/>
                </a:lnTo>
                <a:lnTo>
                  <a:pt x="231462" y="1268774"/>
                </a:lnTo>
                <a:lnTo>
                  <a:pt x="199553" y="1236957"/>
                </a:lnTo>
                <a:lnTo>
                  <a:pt x="169639" y="1203242"/>
                </a:lnTo>
                <a:lnTo>
                  <a:pt x="141817" y="1167725"/>
                </a:lnTo>
                <a:lnTo>
                  <a:pt x="116183" y="1130502"/>
                </a:lnTo>
                <a:lnTo>
                  <a:pt x="92835" y="1091669"/>
                </a:lnTo>
                <a:lnTo>
                  <a:pt x="71870" y="1051323"/>
                </a:lnTo>
                <a:lnTo>
                  <a:pt x="53385" y="1009558"/>
                </a:lnTo>
                <a:lnTo>
                  <a:pt x="37478" y="966472"/>
                </a:lnTo>
                <a:lnTo>
                  <a:pt x="24245" y="922159"/>
                </a:lnTo>
                <a:lnTo>
                  <a:pt x="13783" y="876716"/>
                </a:lnTo>
                <a:lnTo>
                  <a:pt x="6190" y="830239"/>
                </a:lnTo>
                <a:lnTo>
                  <a:pt x="1563" y="782825"/>
                </a:lnTo>
                <a:lnTo>
                  <a:pt x="0" y="734568"/>
                </a:lnTo>
                <a:lnTo>
                  <a:pt x="1563" y="686303"/>
                </a:lnTo>
                <a:lnTo>
                  <a:pt x="6190" y="638868"/>
                </a:lnTo>
                <a:lnTo>
                  <a:pt x="13783" y="592358"/>
                </a:lnTo>
                <a:lnTo>
                  <a:pt x="24245" y="546872"/>
                </a:lnTo>
                <a:lnTo>
                  <a:pt x="37478" y="502505"/>
                </a:lnTo>
                <a:lnTo>
                  <a:pt x="53385" y="459356"/>
                </a:lnTo>
                <a:lnTo>
                  <a:pt x="71870" y="417521"/>
                </a:lnTo>
                <a:lnTo>
                  <a:pt x="92835" y="377097"/>
                </a:lnTo>
                <a:lnTo>
                  <a:pt x="116183" y="338183"/>
                </a:lnTo>
                <a:lnTo>
                  <a:pt x="141817" y="300874"/>
                </a:lnTo>
                <a:lnTo>
                  <a:pt x="169639" y="265268"/>
                </a:lnTo>
                <a:lnTo>
                  <a:pt x="199553" y="231462"/>
                </a:lnTo>
                <a:lnTo>
                  <a:pt x="231462" y="199553"/>
                </a:lnTo>
                <a:lnTo>
                  <a:pt x="265268" y="169639"/>
                </a:lnTo>
                <a:lnTo>
                  <a:pt x="300874" y="141817"/>
                </a:lnTo>
                <a:lnTo>
                  <a:pt x="338183" y="116183"/>
                </a:lnTo>
                <a:lnTo>
                  <a:pt x="377097" y="92835"/>
                </a:lnTo>
                <a:lnTo>
                  <a:pt x="417521" y="71870"/>
                </a:lnTo>
                <a:lnTo>
                  <a:pt x="459356" y="53385"/>
                </a:lnTo>
                <a:lnTo>
                  <a:pt x="502505" y="37478"/>
                </a:lnTo>
                <a:lnTo>
                  <a:pt x="546872" y="24245"/>
                </a:lnTo>
                <a:lnTo>
                  <a:pt x="592358" y="13783"/>
                </a:lnTo>
                <a:lnTo>
                  <a:pt x="638868" y="6190"/>
                </a:lnTo>
                <a:lnTo>
                  <a:pt x="686303" y="1563"/>
                </a:lnTo>
                <a:lnTo>
                  <a:pt x="734568" y="0"/>
                </a:lnTo>
                <a:lnTo>
                  <a:pt x="782832" y="1563"/>
                </a:lnTo>
                <a:lnTo>
                  <a:pt x="830267" y="6190"/>
                </a:lnTo>
                <a:lnTo>
                  <a:pt x="876777" y="13783"/>
                </a:lnTo>
                <a:lnTo>
                  <a:pt x="922263" y="24245"/>
                </a:lnTo>
                <a:lnTo>
                  <a:pt x="966630" y="37478"/>
                </a:lnTo>
                <a:lnTo>
                  <a:pt x="1009779" y="53385"/>
                </a:lnTo>
                <a:lnTo>
                  <a:pt x="1051614" y="71870"/>
                </a:lnTo>
                <a:lnTo>
                  <a:pt x="1092038" y="92835"/>
                </a:lnTo>
                <a:lnTo>
                  <a:pt x="1130952" y="116183"/>
                </a:lnTo>
                <a:lnTo>
                  <a:pt x="1168261" y="141817"/>
                </a:lnTo>
                <a:lnTo>
                  <a:pt x="1203867" y="169639"/>
                </a:lnTo>
                <a:lnTo>
                  <a:pt x="1237673" y="199553"/>
                </a:lnTo>
                <a:lnTo>
                  <a:pt x="1269582" y="231462"/>
                </a:lnTo>
                <a:lnTo>
                  <a:pt x="1299496" y="265268"/>
                </a:lnTo>
                <a:lnTo>
                  <a:pt x="1327318" y="300874"/>
                </a:lnTo>
                <a:lnTo>
                  <a:pt x="1352952" y="338183"/>
                </a:lnTo>
                <a:lnTo>
                  <a:pt x="1376300" y="377097"/>
                </a:lnTo>
                <a:lnTo>
                  <a:pt x="1397265" y="417521"/>
                </a:lnTo>
                <a:lnTo>
                  <a:pt x="1415750" y="459356"/>
                </a:lnTo>
                <a:lnTo>
                  <a:pt x="1431657" y="502505"/>
                </a:lnTo>
                <a:lnTo>
                  <a:pt x="1444890" y="546872"/>
                </a:lnTo>
                <a:lnTo>
                  <a:pt x="1455352" y="592358"/>
                </a:lnTo>
                <a:lnTo>
                  <a:pt x="1462945" y="638868"/>
                </a:lnTo>
                <a:lnTo>
                  <a:pt x="1467572" y="686303"/>
                </a:lnTo>
                <a:lnTo>
                  <a:pt x="1469136" y="734568"/>
                </a:lnTo>
                <a:lnTo>
                  <a:pt x="1467572" y="782825"/>
                </a:lnTo>
                <a:lnTo>
                  <a:pt x="1462945" y="830239"/>
                </a:lnTo>
                <a:lnTo>
                  <a:pt x="1455352" y="876716"/>
                </a:lnTo>
                <a:lnTo>
                  <a:pt x="1444890" y="922159"/>
                </a:lnTo>
                <a:lnTo>
                  <a:pt x="1431657" y="966472"/>
                </a:lnTo>
                <a:lnTo>
                  <a:pt x="1415750" y="1009558"/>
                </a:lnTo>
                <a:lnTo>
                  <a:pt x="1397265" y="1051323"/>
                </a:lnTo>
                <a:lnTo>
                  <a:pt x="1376300" y="1091669"/>
                </a:lnTo>
                <a:lnTo>
                  <a:pt x="1352952" y="1130502"/>
                </a:lnTo>
                <a:lnTo>
                  <a:pt x="1327318" y="1167725"/>
                </a:lnTo>
                <a:lnTo>
                  <a:pt x="1299496" y="1203242"/>
                </a:lnTo>
                <a:lnTo>
                  <a:pt x="1269582" y="1236957"/>
                </a:lnTo>
                <a:lnTo>
                  <a:pt x="1237673" y="1268774"/>
                </a:lnTo>
                <a:lnTo>
                  <a:pt x="1203867" y="1298597"/>
                </a:lnTo>
                <a:lnTo>
                  <a:pt x="1168261" y="1326331"/>
                </a:lnTo>
                <a:lnTo>
                  <a:pt x="1130952" y="1351878"/>
                </a:lnTo>
                <a:lnTo>
                  <a:pt x="1092038" y="1375144"/>
                </a:lnTo>
                <a:lnTo>
                  <a:pt x="1051614" y="1396032"/>
                </a:lnTo>
                <a:lnTo>
                  <a:pt x="1009779" y="1414447"/>
                </a:lnTo>
                <a:lnTo>
                  <a:pt x="966630" y="1430292"/>
                </a:lnTo>
                <a:lnTo>
                  <a:pt x="922263" y="1443471"/>
                </a:lnTo>
                <a:lnTo>
                  <a:pt x="876777" y="1453888"/>
                </a:lnTo>
                <a:lnTo>
                  <a:pt x="830267" y="1461448"/>
                </a:lnTo>
                <a:lnTo>
                  <a:pt x="782832" y="1466055"/>
                </a:lnTo>
                <a:lnTo>
                  <a:pt x="734568" y="1467612"/>
                </a:lnTo>
                <a:close/>
              </a:path>
            </a:pathLst>
          </a:custGeom>
          <a:solidFill>
            <a:srgbClr val="EDEFEF"/>
          </a:solidFill>
        </p:spPr>
        <p:txBody>
          <a:bodyPr wrap="square" lIns="0" tIns="0" rIns="0" bIns="0" rtlCol="0"/>
          <a:lstStyle/>
          <a:p>
            <a:endParaRPr sz="1100"/>
          </a:p>
        </p:txBody>
      </p:sp>
      <p:sp>
        <p:nvSpPr>
          <p:cNvPr id="157" name="object 28">
            <a:extLst>
              <a:ext uri="{FF2B5EF4-FFF2-40B4-BE49-F238E27FC236}">
                <a16:creationId xmlns:a16="http://schemas.microsoft.com/office/drawing/2014/main" id="{A3463E22-E35C-4B5E-94DC-2841F7F97A84}"/>
              </a:ext>
            </a:extLst>
          </p:cNvPr>
          <p:cNvSpPr/>
          <p:nvPr/>
        </p:nvSpPr>
        <p:spPr>
          <a:xfrm>
            <a:off x="3846898" y="4013810"/>
            <a:ext cx="975656" cy="1021860"/>
          </a:xfrm>
          <a:custGeom>
            <a:avLst/>
            <a:gdLst/>
            <a:ahLst/>
            <a:cxnLst/>
            <a:rect l="l" t="t" r="r" b="b"/>
            <a:pathLst>
              <a:path w="1469389" h="1468120">
                <a:moveTo>
                  <a:pt x="0" y="734568"/>
                </a:moveTo>
                <a:lnTo>
                  <a:pt x="1563" y="686303"/>
                </a:lnTo>
                <a:lnTo>
                  <a:pt x="6190" y="638868"/>
                </a:lnTo>
                <a:lnTo>
                  <a:pt x="13783" y="592358"/>
                </a:lnTo>
                <a:lnTo>
                  <a:pt x="24245" y="546872"/>
                </a:lnTo>
                <a:lnTo>
                  <a:pt x="37478" y="502505"/>
                </a:lnTo>
                <a:lnTo>
                  <a:pt x="53385" y="459356"/>
                </a:lnTo>
                <a:lnTo>
                  <a:pt x="71870" y="417521"/>
                </a:lnTo>
                <a:lnTo>
                  <a:pt x="92835" y="377097"/>
                </a:lnTo>
                <a:lnTo>
                  <a:pt x="116183" y="338183"/>
                </a:lnTo>
                <a:lnTo>
                  <a:pt x="141817" y="300874"/>
                </a:lnTo>
                <a:lnTo>
                  <a:pt x="169639" y="265268"/>
                </a:lnTo>
                <a:lnTo>
                  <a:pt x="199553" y="231462"/>
                </a:lnTo>
                <a:lnTo>
                  <a:pt x="231462" y="199553"/>
                </a:lnTo>
                <a:lnTo>
                  <a:pt x="265268" y="169639"/>
                </a:lnTo>
                <a:lnTo>
                  <a:pt x="300874" y="141817"/>
                </a:lnTo>
                <a:lnTo>
                  <a:pt x="338183" y="116183"/>
                </a:lnTo>
                <a:lnTo>
                  <a:pt x="377097" y="92835"/>
                </a:lnTo>
                <a:lnTo>
                  <a:pt x="417521" y="71870"/>
                </a:lnTo>
                <a:lnTo>
                  <a:pt x="459356" y="53385"/>
                </a:lnTo>
                <a:lnTo>
                  <a:pt x="502505" y="37478"/>
                </a:lnTo>
                <a:lnTo>
                  <a:pt x="546872" y="24245"/>
                </a:lnTo>
                <a:lnTo>
                  <a:pt x="592358" y="13783"/>
                </a:lnTo>
                <a:lnTo>
                  <a:pt x="638868" y="6190"/>
                </a:lnTo>
                <a:lnTo>
                  <a:pt x="686303" y="1563"/>
                </a:lnTo>
                <a:lnTo>
                  <a:pt x="734568" y="0"/>
                </a:lnTo>
                <a:lnTo>
                  <a:pt x="782832" y="1563"/>
                </a:lnTo>
                <a:lnTo>
                  <a:pt x="830267" y="6190"/>
                </a:lnTo>
                <a:lnTo>
                  <a:pt x="876777" y="13783"/>
                </a:lnTo>
                <a:lnTo>
                  <a:pt x="922263" y="24245"/>
                </a:lnTo>
                <a:lnTo>
                  <a:pt x="966630" y="37478"/>
                </a:lnTo>
                <a:lnTo>
                  <a:pt x="1009779" y="53385"/>
                </a:lnTo>
                <a:lnTo>
                  <a:pt x="1051614" y="71870"/>
                </a:lnTo>
                <a:lnTo>
                  <a:pt x="1092038" y="92835"/>
                </a:lnTo>
                <a:lnTo>
                  <a:pt x="1130952" y="116183"/>
                </a:lnTo>
                <a:lnTo>
                  <a:pt x="1168261" y="141817"/>
                </a:lnTo>
                <a:lnTo>
                  <a:pt x="1203867" y="169639"/>
                </a:lnTo>
                <a:lnTo>
                  <a:pt x="1237673" y="199553"/>
                </a:lnTo>
                <a:lnTo>
                  <a:pt x="1269582" y="231462"/>
                </a:lnTo>
                <a:lnTo>
                  <a:pt x="1299496" y="265268"/>
                </a:lnTo>
                <a:lnTo>
                  <a:pt x="1327318" y="300874"/>
                </a:lnTo>
                <a:lnTo>
                  <a:pt x="1352952" y="338183"/>
                </a:lnTo>
                <a:lnTo>
                  <a:pt x="1376300" y="377097"/>
                </a:lnTo>
                <a:lnTo>
                  <a:pt x="1397265" y="417521"/>
                </a:lnTo>
                <a:lnTo>
                  <a:pt x="1415750" y="459356"/>
                </a:lnTo>
                <a:lnTo>
                  <a:pt x="1431657" y="502505"/>
                </a:lnTo>
                <a:lnTo>
                  <a:pt x="1444890" y="546872"/>
                </a:lnTo>
                <a:lnTo>
                  <a:pt x="1455352" y="592358"/>
                </a:lnTo>
                <a:lnTo>
                  <a:pt x="1462945" y="638868"/>
                </a:lnTo>
                <a:lnTo>
                  <a:pt x="1467572" y="686303"/>
                </a:lnTo>
                <a:lnTo>
                  <a:pt x="1469136" y="734568"/>
                </a:lnTo>
                <a:lnTo>
                  <a:pt x="1467572" y="782825"/>
                </a:lnTo>
                <a:lnTo>
                  <a:pt x="1462945" y="830239"/>
                </a:lnTo>
                <a:lnTo>
                  <a:pt x="1455352" y="876716"/>
                </a:lnTo>
                <a:lnTo>
                  <a:pt x="1444890" y="922159"/>
                </a:lnTo>
                <a:lnTo>
                  <a:pt x="1431657" y="966472"/>
                </a:lnTo>
                <a:lnTo>
                  <a:pt x="1415750" y="1009558"/>
                </a:lnTo>
                <a:lnTo>
                  <a:pt x="1397265" y="1051323"/>
                </a:lnTo>
                <a:lnTo>
                  <a:pt x="1376300" y="1091669"/>
                </a:lnTo>
                <a:lnTo>
                  <a:pt x="1352952" y="1130502"/>
                </a:lnTo>
                <a:lnTo>
                  <a:pt x="1327318" y="1167725"/>
                </a:lnTo>
                <a:lnTo>
                  <a:pt x="1299496" y="1203242"/>
                </a:lnTo>
                <a:lnTo>
                  <a:pt x="1269582" y="1236957"/>
                </a:lnTo>
                <a:lnTo>
                  <a:pt x="1237673" y="1268774"/>
                </a:lnTo>
                <a:lnTo>
                  <a:pt x="1203867" y="1298597"/>
                </a:lnTo>
                <a:lnTo>
                  <a:pt x="1168261" y="1326331"/>
                </a:lnTo>
                <a:lnTo>
                  <a:pt x="1130952" y="1351878"/>
                </a:lnTo>
                <a:lnTo>
                  <a:pt x="1092038" y="1375144"/>
                </a:lnTo>
                <a:lnTo>
                  <a:pt x="1051614" y="1396032"/>
                </a:lnTo>
                <a:lnTo>
                  <a:pt x="1009779" y="1414447"/>
                </a:lnTo>
                <a:lnTo>
                  <a:pt x="966630" y="1430292"/>
                </a:lnTo>
                <a:lnTo>
                  <a:pt x="922263" y="1443471"/>
                </a:lnTo>
                <a:lnTo>
                  <a:pt x="876777" y="1453888"/>
                </a:lnTo>
                <a:lnTo>
                  <a:pt x="830267" y="1461448"/>
                </a:lnTo>
                <a:lnTo>
                  <a:pt x="782832" y="1466055"/>
                </a:lnTo>
                <a:lnTo>
                  <a:pt x="734568" y="1467612"/>
                </a:lnTo>
                <a:lnTo>
                  <a:pt x="686303" y="1466055"/>
                </a:lnTo>
                <a:lnTo>
                  <a:pt x="638868" y="1461448"/>
                </a:lnTo>
                <a:lnTo>
                  <a:pt x="592358" y="1453888"/>
                </a:lnTo>
                <a:lnTo>
                  <a:pt x="546872" y="1443471"/>
                </a:lnTo>
                <a:lnTo>
                  <a:pt x="502505" y="1430292"/>
                </a:lnTo>
                <a:lnTo>
                  <a:pt x="459356" y="1414447"/>
                </a:lnTo>
                <a:lnTo>
                  <a:pt x="417521" y="1396032"/>
                </a:lnTo>
                <a:lnTo>
                  <a:pt x="377097" y="1375144"/>
                </a:lnTo>
                <a:lnTo>
                  <a:pt x="338183" y="1351878"/>
                </a:lnTo>
                <a:lnTo>
                  <a:pt x="300874" y="1326331"/>
                </a:lnTo>
                <a:lnTo>
                  <a:pt x="265268" y="1298597"/>
                </a:lnTo>
                <a:lnTo>
                  <a:pt x="231462" y="1268774"/>
                </a:lnTo>
                <a:lnTo>
                  <a:pt x="199553" y="1236957"/>
                </a:lnTo>
                <a:lnTo>
                  <a:pt x="169639" y="1203242"/>
                </a:lnTo>
                <a:lnTo>
                  <a:pt x="141817" y="1167725"/>
                </a:lnTo>
                <a:lnTo>
                  <a:pt x="116183" y="1130502"/>
                </a:lnTo>
                <a:lnTo>
                  <a:pt x="92835" y="1091669"/>
                </a:lnTo>
                <a:lnTo>
                  <a:pt x="71870" y="1051323"/>
                </a:lnTo>
                <a:lnTo>
                  <a:pt x="53385" y="1009558"/>
                </a:lnTo>
                <a:lnTo>
                  <a:pt x="37478" y="966472"/>
                </a:lnTo>
                <a:lnTo>
                  <a:pt x="24245" y="922159"/>
                </a:lnTo>
                <a:lnTo>
                  <a:pt x="13783" y="876716"/>
                </a:lnTo>
                <a:lnTo>
                  <a:pt x="6190" y="830239"/>
                </a:lnTo>
                <a:lnTo>
                  <a:pt x="1563" y="782825"/>
                </a:lnTo>
                <a:lnTo>
                  <a:pt x="0" y="734568"/>
                </a:lnTo>
              </a:path>
            </a:pathLst>
          </a:custGeom>
          <a:ln w="62484">
            <a:solidFill>
              <a:srgbClr val="EDEFEF"/>
            </a:solidFill>
          </a:ln>
        </p:spPr>
        <p:txBody>
          <a:bodyPr wrap="square" lIns="0" tIns="0" rIns="0" bIns="0" rtlCol="0"/>
          <a:lstStyle/>
          <a:p>
            <a:endParaRPr sz="1100"/>
          </a:p>
        </p:txBody>
      </p:sp>
      <p:grpSp>
        <p:nvGrpSpPr>
          <p:cNvPr id="159" name="Group 158">
            <a:extLst>
              <a:ext uri="{FF2B5EF4-FFF2-40B4-BE49-F238E27FC236}">
                <a16:creationId xmlns:a16="http://schemas.microsoft.com/office/drawing/2014/main" id="{C2BF6286-7182-4942-81AF-F2747E420A22}"/>
              </a:ext>
            </a:extLst>
          </p:cNvPr>
          <p:cNvGrpSpPr/>
          <p:nvPr userDrawn="1"/>
        </p:nvGrpSpPr>
        <p:grpSpPr>
          <a:xfrm>
            <a:off x="7508892" y="4013813"/>
            <a:ext cx="1190115" cy="1429434"/>
            <a:chOff x="8391726" y="4232762"/>
            <a:chExt cx="1614339" cy="1849693"/>
          </a:xfrm>
        </p:grpSpPr>
        <p:sp>
          <p:nvSpPr>
            <p:cNvPr id="160" name="object 36">
              <a:extLst>
                <a:ext uri="{FF2B5EF4-FFF2-40B4-BE49-F238E27FC236}">
                  <a16:creationId xmlns:a16="http://schemas.microsoft.com/office/drawing/2014/main" id="{1835AB73-36A4-4217-808C-3CF3C6288E52}"/>
                </a:ext>
              </a:extLst>
            </p:cNvPr>
            <p:cNvSpPr txBox="1"/>
            <p:nvPr/>
          </p:nvSpPr>
          <p:spPr>
            <a:xfrm>
              <a:off x="8391726" y="5866729"/>
              <a:ext cx="1614339" cy="215726"/>
            </a:xfrm>
            <a:prstGeom prst="rect">
              <a:avLst/>
            </a:prstGeom>
          </p:spPr>
          <p:txBody>
            <a:bodyPr vert="horz" wrap="square" lIns="0" tIns="12700" rIns="0" bIns="0" rtlCol="0">
              <a:spAutoFit/>
            </a:bodyPr>
            <a:lstStyle/>
            <a:p>
              <a:pPr marL="12700" algn="ctr">
                <a:lnSpc>
                  <a:spcPct val="100000"/>
                </a:lnSpc>
                <a:spcBef>
                  <a:spcPts val="100"/>
                </a:spcBef>
              </a:pPr>
              <a:endParaRPr sz="1000">
                <a:solidFill>
                  <a:schemeClr val="accent6"/>
                </a:solidFill>
                <a:cs typeface="Gill Sans MT"/>
              </a:endParaRPr>
            </a:p>
          </p:txBody>
        </p:sp>
        <p:grpSp>
          <p:nvGrpSpPr>
            <p:cNvPr id="161" name="Group 160">
              <a:extLst>
                <a:ext uri="{FF2B5EF4-FFF2-40B4-BE49-F238E27FC236}">
                  <a16:creationId xmlns:a16="http://schemas.microsoft.com/office/drawing/2014/main" id="{A869E6F3-F62F-433F-AC01-09F7B4B4D2F8}"/>
                </a:ext>
              </a:extLst>
            </p:cNvPr>
            <p:cNvGrpSpPr/>
            <p:nvPr/>
          </p:nvGrpSpPr>
          <p:grpSpPr>
            <a:xfrm>
              <a:off x="8400709" y="4232762"/>
              <a:ext cx="1505915" cy="1426766"/>
              <a:chOff x="8397339" y="4162769"/>
              <a:chExt cx="1579723" cy="1496695"/>
            </a:xfrm>
          </p:grpSpPr>
          <p:sp>
            <p:nvSpPr>
              <p:cNvPr id="162" name="object 46">
                <a:extLst>
                  <a:ext uri="{FF2B5EF4-FFF2-40B4-BE49-F238E27FC236}">
                    <a16:creationId xmlns:a16="http://schemas.microsoft.com/office/drawing/2014/main" id="{CBD0A793-EF2B-45FC-BE4A-84B50B1CDE3F}"/>
                  </a:ext>
                </a:extLst>
              </p:cNvPr>
              <p:cNvSpPr/>
              <p:nvPr/>
            </p:nvSpPr>
            <p:spPr>
              <a:xfrm>
                <a:off x="8478462" y="4162769"/>
                <a:ext cx="1498600" cy="1496695"/>
              </a:xfrm>
              <a:custGeom>
                <a:avLst/>
                <a:gdLst/>
                <a:ahLst/>
                <a:cxnLst/>
                <a:rect l="l" t="t" r="r" b="b"/>
                <a:pathLst>
                  <a:path w="1498600" h="1496695">
                    <a:moveTo>
                      <a:pt x="749808" y="1496567"/>
                    </a:moveTo>
                    <a:lnTo>
                      <a:pt x="702344" y="1495094"/>
                    </a:lnTo>
                    <a:lnTo>
                      <a:pt x="655671" y="1490733"/>
                    </a:lnTo>
                    <a:lnTo>
                      <a:pt x="609876" y="1483572"/>
                    </a:lnTo>
                    <a:lnTo>
                      <a:pt x="565046" y="1473698"/>
                    </a:lnTo>
                    <a:lnTo>
                      <a:pt x="521270" y="1461201"/>
                    </a:lnTo>
                    <a:lnTo>
                      <a:pt x="478634" y="1446167"/>
                    </a:lnTo>
                    <a:lnTo>
                      <a:pt x="437226" y="1428685"/>
                    </a:lnTo>
                    <a:lnTo>
                      <a:pt x="397133" y="1408843"/>
                    </a:lnTo>
                    <a:lnTo>
                      <a:pt x="358443" y="1386728"/>
                    </a:lnTo>
                    <a:lnTo>
                      <a:pt x="321242" y="1362428"/>
                    </a:lnTo>
                    <a:lnTo>
                      <a:pt x="285619" y="1336032"/>
                    </a:lnTo>
                    <a:lnTo>
                      <a:pt x="251661" y="1307628"/>
                    </a:lnTo>
                    <a:lnTo>
                      <a:pt x="219456" y="1277302"/>
                    </a:lnTo>
                    <a:lnTo>
                      <a:pt x="189089" y="1245144"/>
                    </a:lnTo>
                    <a:lnTo>
                      <a:pt x="160650" y="1211240"/>
                    </a:lnTo>
                    <a:lnTo>
                      <a:pt x="134225" y="1175680"/>
                    </a:lnTo>
                    <a:lnTo>
                      <a:pt x="109902" y="1138550"/>
                    </a:lnTo>
                    <a:lnTo>
                      <a:pt x="87769" y="1099940"/>
                    </a:lnTo>
                    <a:lnTo>
                      <a:pt x="67911" y="1059936"/>
                    </a:lnTo>
                    <a:lnTo>
                      <a:pt x="50418" y="1018627"/>
                    </a:lnTo>
                    <a:lnTo>
                      <a:pt x="35377" y="976100"/>
                    </a:lnTo>
                    <a:lnTo>
                      <a:pt x="22874" y="932444"/>
                    </a:lnTo>
                    <a:lnTo>
                      <a:pt x="12998" y="887746"/>
                    </a:lnTo>
                    <a:lnTo>
                      <a:pt x="5835" y="842095"/>
                    </a:lnTo>
                    <a:lnTo>
                      <a:pt x="1473" y="795578"/>
                    </a:lnTo>
                    <a:lnTo>
                      <a:pt x="0" y="748283"/>
                    </a:lnTo>
                    <a:lnTo>
                      <a:pt x="1473" y="700989"/>
                    </a:lnTo>
                    <a:lnTo>
                      <a:pt x="5835" y="654472"/>
                    </a:lnTo>
                    <a:lnTo>
                      <a:pt x="12998" y="608821"/>
                    </a:lnTo>
                    <a:lnTo>
                      <a:pt x="22874" y="564123"/>
                    </a:lnTo>
                    <a:lnTo>
                      <a:pt x="35377" y="520467"/>
                    </a:lnTo>
                    <a:lnTo>
                      <a:pt x="50418" y="477940"/>
                    </a:lnTo>
                    <a:lnTo>
                      <a:pt x="67911" y="436631"/>
                    </a:lnTo>
                    <a:lnTo>
                      <a:pt x="87769" y="396627"/>
                    </a:lnTo>
                    <a:lnTo>
                      <a:pt x="109902" y="358017"/>
                    </a:lnTo>
                    <a:lnTo>
                      <a:pt x="134225" y="320887"/>
                    </a:lnTo>
                    <a:lnTo>
                      <a:pt x="160650" y="285327"/>
                    </a:lnTo>
                    <a:lnTo>
                      <a:pt x="189089" y="251423"/>
                    </a:lnTo>
                    <a:lnTo>
                      <a:pt x="219456" y="219265"/>
                    </a:lnTo>
                    <a:lnTo>
                      <a:pt x="251661" y="188939"/>
                    </a:lnTo>
                    <a:lnTo>
                      <a:pt x="285619" y="160535"/>
                    </a:lnTo>
                    <a:lnTo>
                      <a:pt x="321242" y="134139"/>
                    </a:lnTo>
                    <a:lnTo>
                      <a:pt x="358443" y="109839"/>
                    </a:lnTo>
                    <a:lnTo>
                      <a:pt x="397133" y="87724"/>
                    </a:lnTo>
                    <a:lnTo>
                      <a:pt x="437226" y="67882"/>
                    </a:lnTo>
                    <a:lnTo>
                      <a:pt x="478634" y="50400"/>
                    </a:lnTo>
                    <a:lnTo>
                      <a:pt x="521270" y="35366"/>
                    </a:lnTo>
                    <a:lnTo>
                      <a:pt x="565046" y="22869"/>
                    </a:lnTo>
                    <a:lnTo>
                      <a:pt x="609876" y="12995"/>
                    </a:lnTo>
                    <a:lnTo>
                      <a:pt x="655671" y="5834"/>
                    </a:lnTo>
                    <a:lnTo>
                      <a:pt x="702344" y="1473"/>
                    </a:lnTo>
                    <a:lnTo>
                      <a:pt x="749808" y="0"/>
                    </a:lnTo>
                    <a:lnTo>
                      <a:pt x="797102" y="1473"/>
                    </a:lnTo>
                    <a:lnTo>
                      <a:pt x="843619" y="5834"/>
                    </a:lnTo>
                    <a:lnTo>
                      <a:pt x="889270" y="12995"/>
                    </a:lnTo>
                    <a:lnTo>
                      <a:pt x="933968" y="22869"/>
                    </a:lnTo>
                    <a:lnTo>
                      <a:pt x="977624" y="35366"/>
                    </a:lnTo>
                    <a:lnTo>
                      <a:pt x="1020151" y="50400"/>
                    </a:lnTo>
                    <a:lnTo>
                      <a:pt x="1061460" y="67882"/>
                    </a:lnTo>
                    <a:lnTo>
                      <a:pt x="1101464" y="87724"/>
                    </a:lnTo>
                    <a:lnTo>
                      <a:pt x="1140074" y="109839"/>
                    </a:lnTo>
                    <a:lnTo>
                      <a:pt x="1177204" y="134139"/>
                    </a:lnTo>
                    <a:lnTo>
                      <a:pt x="1212764" y="160535"/>
                    </a:lnTo>
                    <a:lnTo>
                      <a:pt x="1246668" y="188939"/>
                    </a:lnTo>
                    <a:lnTo>
                      <a:pt x="1278826" y="219265"/>
                    </a:lnTo>
                    <a:lnTo>
                      <a:pt x="1309152" y="251423"/>
                    </a:lnTo>
                    <a:lnTo>
                      <a:pt x="1337556" y="285327"/>
                    </a:lnTo>
                    <a:lnTo>
                      <a:pt x="1363952" y="320887"/>
                    </a:lnTo>
                    <a:lnTo>
                      <a:pt x="1388252" y="358017"/>
                    </a:lnTo>
                    <a:lnTo>
                      <a:pt x="1410367" y="396627"/>
                    </a:lnTo>
                    <a:lnTo>
                      <a:pt x="1430209" y="436631"/>
                    </a:lnTo>
                    <a:lnTo>
                      <a:pt x="1447691" y="477940"/>
                    </a:lnTo>
                    <a:lnTo>
                      <a:pt x="1462725" y="520467"/>
                    </a:lnTo>
                    <a:lnTo>
                      <a:pt x="1475222" y="564123"/>
                    </a:lnTo>
                    <a:lnTo>
                      <a:pt x="1485096" y="608821"/>
                    </a:lnTo>
                    <a:lnTo>
                      <a:pt x="1492257" y="654472"/>
                    </a:lnTo>
                    <a:lnTo>
                      <a:pt x="1496618" y="700989"/>
                    </a:lnTo>
                    <a:lnTo>
                      <a:pt x="1498091" y="748283"/>
                    </a:lnTo>
                    <a:lnTo>
                      <a:pt x="1496618" y="795578"/>
                    </a:lnTo>
                    <a:lnTo>
                      <a:pt x="1492257" y="842095"/>
                    </a:lnTo>
                    <a:lnTo>
                      <a:pt x="1485096" y="887746"/>
                    </a:lnTo>
                    <a:lnTo>
                      <a:pt x="1475222" y="932444"/>
                    </a:lnTo>
                    <a:lnTo>
                      <a:pt x="1462725" y="976100"/>
                    </a:lnTo>
                    <a:lnTo>
                      <a:pt x="1447691" y="1018627"/>
                    </a:lnTo>
                    <a:lnTo>
                      <a:pt x="1430209" y="1059936"/>
                    </a:lnTo>
                    <a:lnTo>
                      <a:pt x="1410367" y="1099940"/>
                    </a:lnTo>
                    <a:lnTo>
                      <a:pt x="1388252" y="1138550"/>
                    </a:lnTo>
                    <a:lnTo>
                      <a:pt x="1363952" y="1175680"/>
                    </a:lnTo>
                    <a:lnTo>
                      <a:pt x="1337556" y="1211240"/>
                    </a:lnTo>
                    <a:lnTo>
                      <a:pt x="1309152" y="1245144"/>
                    </a:lnTo>
                    <a:lnTo>
                      <a:pt x="1278826" y="1277302"/>
                    </a:lnTo>
                    <a:lnTo>
                      <a:pt x="1246668" y="1307628"/>
                    </a:lnTo>
                    <a:lnTo>
                      <a:pt x="1212764" y="1336032"/>
                    </a:lnTo>
                    <a:lnTo>
                      <a:pt x="1177204" y="1362428"/>
                    </a:lnTo>
                    <a:lnTo>
                      <a:pt x="1140074" y="1386728"/>
                    </a:lnTo>
                    <a:lnTo>
                      <a:pt x="1101464" y="1408843"/>
                    </a:lnTo>
                    <a:lnTo>
                      <a:pt x="1061460" y="1428685"/>
                    </a:lnTo>
                    <a:lnTo>
                      <a:pt x="1020151" y="1446167"/>
                    </a:lnTo>
                    <a:lnTo>
                      <a:pt x="977624" y="1461201"/>
                    </a:lnTo>
                    <a:lnTo>
                      <a:pt x="933968" y="1473698"/>
                    </a:lnTo>
                    <a:lnTo>
                      <a:pt x="889270" y="1483572"/>
                    </a:lnTo>
                    <a:lnTo>
                      <a:pt x="843619" y="1490733"/>
                    </a:lnTo>
                    <a:lnTo>
                      <a:pt x="797102" y="1495094"/>
                    </a:lnTo>
                    <a:lnTo>
                      <a:pt x="749808" y="1496567"/>
                    </a:lnTo>
                    <a:close/>
                  </a:path>
                </a:pathLst>
              </a:custGeom>
              <a:solidFill>
                <a:srgbClr val="EDEFEF"/>
              </a:solidFill>
            </p:spPr>
            <p:txBody>
              <a:bodyPr wrap="square" lIns="0" tIns="0" rIns="0" bIns="0" rtlCol="0"/>
              <a:lstStyle/>
              <a:p>
                <a:endParaRPr sz="1100"/>
              </a:p>
            </p:txBody>
          </p:sp>
          <p:pic>
            <p:nvPicPr>
              <p:cNvPr id="163" name="object 47">
                <a:extLst>
                  <a:ext uri="{FF2B5EF4-FFF2-40B4-BE49-F238E27FC236}">
                    <a16:creationId xmlns:a16="http://schemas.microsoft.com/office/drawing/2014/main" id="{5EFF65CC-2CD5-42F4-904D-3E99EFA5E519}"/>
                  </a:ext>
                </a:extLst>
              </p:cNvPr>
              <p:cNvPicPr/>
              <p:nvPr/>
            </p:nvPicPr>
            <p:blipFill rotWithShape="1">
              <a:blip r:embed="rId9" cstate="screen">
                <a:extLst>
                  <a:ext uri="{28A0092B-C50C-407E-A947-70E740481C1C}">
                    <a14:useLocalDpi xmlns:a14="http://schemas.microsoft.com/office/drawing/2010/main" val="0"/>
                  </a:ext>
                </a:extLst>
              </a:blip>
              <a:srcRect/>
              <a:stretch/>
            </p:blipFill>
            <p:spPr>
              <a:xfrm>
                <a:off x="8397339" y="4188804"/>
                <a:ext cx="1498600" cy="1470660"/>
              </a:xfrm>
              <a:prstGeom prst="ellipse">
                <a:avLst/>
              </a:prstGeom>
            </p:spPr>
          </p:pic>
        </p:grpSp>
      </p:grpSp>
      <p:grpSp>
        <p:nvGrpSpPr>
          <p:cNvPr id="164" name="Group 163">
            <a:extLst>
              <a:ext uri="{FF2B5EF4-FFF2-40B4-BE49-F238E27FC236}">
                <a16:creationId xmlns:a16="http://schemas.microsoft.com/office/drawing/2014/main" id="{BA22FA94-078C-446D-9E99-9D3FDBC8BD98}"/>
              </a:ext>
            </a:extLst>
          </p:cNvPr>
          <p:cNvGrpSpPr/>
          <p:nvPr userDrawn="1"/>
        </p:nvGrpSpPr>
        <p:grpSpPr>
          <a:xfrm>
            <a:off x="9380862" y="4000819"/>
            <a:ext cx="1190115" cy="1429434"/>
            <a:chOff x="8391726" y="4232762"/>
            <a:chExt cx="1614339" cy="1849693"/>
          </a:xfrm>
        </p:grpSpPr>
        <p:sp>
          <p:nvSpPr>
            <p:cNvPr id="165" name="object 36">
              <a:extLst>
                <a:ext uri="{FF2B5EF4-FFF2-40B4-BE49-F238E27FC236}">
                  <a16:creationId xmlns:a16="http://schemas.microsoft.com/office/drawing/2014/main" id="{8AAEE0B0-D7A5-4EC2-8498-F46362A43BBB}"/>
                </a:ext>
              </a:extLst>
            </p:cNvPr>
            <p:cNvSpPr txBox="1"/>
            <p:nvPr/>
          </p:nvSpPr>
          <p:spPr>
            <a:xfrm>
              <a:off x="8391726" y="5866729"/>
              <a:ext cx="1614339" cy="215726"/>
            </a:xfrm>
            <a:prstGeom prst="rect">
              <a:avLst/>
            </a:prstGeom>
          </p:spPr>
          <p:txBody>
            <a:bodyPr vert="horz" wrap="square" lIns="0" tIns="12700" rIns="0" bIns="0" rtlCol="0">
              <a:spAutoFit/>
            </a:bodyPr>
            <a:lstStyle/>
            <a:p>
              <a:pPr marL="12700" algn="ctr">
                <a:lnSpc>
                  <a:spcPct val="100000"/>
                </a:lnSpc>
                <a:spcBef>
                  <a:spcPts val="100"/>
                </a:spcBef>
              </a:pPr>
              <a:endParaRPr sz="1000">
                <a:solidFill>
                  <a:schemeClr val="accent6"/>
                </a:solidFill>
                <a:cs typeface="Gill Sans MT"/>
              </a:endParaRPr>
            </a:p>
          </p:txBody>
        </p:sp>
        <p:grpSp>
          <p:nvGrpSpPr>
            <p:cNvPr id="166" name="Group 165">
              <a:extLst>
                <a:ext uri="{FF2B5EF4-FFF2-40B4-BE49-F238E27FC236}">
                  <a16:creationId xmlns:a16="http://schemas.microsoft.com/office/drawing/2014/main" id="{CDBE69A8-A1DA-4AB8-BAFE-D742F4D54163}"/>
                </a:ext>
              </a:extLst>
            </p:cNvPr>
            <p:cNvGrpSpPr/>
            <p:nvPr/>
          </p:nvGrpSpPr>
          <p:grpSpPr>
            <a:xfrm>
              <a:off x="8478043" y="4232762"/>
              <a:ext cx="1450974" cy="1426766"/>
              <a:chOff x="8478462" y="4162769"/>
              <a:chExt cx="1522089" cy="1496695"/>
            </a:xfrm>
          </p:grpSpPr>
          <p:sp>
            <p:nvSpPr>
              <p:cNvPr id="167" name="object 46">
                <a:extLst>
                  <a:ext uri="{FF2B5EF4-FFF2-40B4-BE49-F238E27FC236}">
                    <a16:creationId xmlns:a16="http://schemas.microsoft.com/office/drawing/2014/main" id="{06558AB5-EA6D-4D60-8AD4-BF0BBE0FACC6}"/>
                  </a:ext>
                </a:extLst>
              </p:cNvPr>
              <p:cNvSpPr/>
              <p:nvPr/>
            </p:nvSpPr>
            <p:spPr>
              <a:xfrm>
                <a:off x="8478462" y="4162769"/>
                <a:ext cx="1498600" cy="1496695"/>
              </a:xfrm>
              <a:custGeom>
                <a:avLst/>
                <a:gdLst/>
                <a:ahLst/>
                <a:cxnLst/>
                <a:rect l="l" t="t" r="r" b="b"/>
                <a:pathLst>
                  <a:path w="1498600" h="1496695">
                    <a:moveTo>
                      <a:pt x="749808" y="1496567"/>
                    </a:moveTo>
                    <a:lnTo>
                      <a:pt x="702344" y="1495094"/>
                    </a:lnTo>
                    <a:lnTo>
                      <a:pt x="655671" y="1490733"/>
                    </a:lnTo>
                    <a:lnTo>
                      <a:pt x="609876" y="1483572"/>
                    </a:lnTo>
                    <a:lnTo>
                      <a:pt x="565046" y="1473698"/>
                    </a:lnTo>
                    <a:lnTo>
                      <a:pt x="521270" y="1461201"/>
                    </a:lnTo>
                    <a:lnTo>
                      <a:pt x="478634" y="1446167"/>
                    </a:lnTo>
                    <a:lnTo>
                      <a:pt x="437226" y="1428685"/>
                    </a:lnTo>
                    <a:lnTo>
                      <a:pt x="397133" y="1408843"/>
                    </a:lnTo>
                    <a:lnTo>
                      <a:pt x="358443" y="1386728"/>
                    </a:lnTo>
                    <a:lnTo>
                      <a:pt x="321242" y="1362428"/>
                    </a:lnTo>
                    <a:lnTo>
                      <a:pt x="285619" y="1336032"/>
                    </a:lnTo>
                    <a:lnTo>
                      <a:pt x="251661" y="1307628"/>
                    </a:lnTo>
                    <a:lnTo>
                      <a:pt x="219456" y="1277302"/>
                    </a:lnTo>
                    <a:lnTo>
                      <a:pt x="189089" y="1245144"/>
                    </a:lnTo>
                    <a:lnTo>
                      <a:pt x="160650" y="1211240"/>
                    </a:lnTo>
                    <a:lnTo>
                      <a:pt x="134225" y="1175680"/>
                    </a:lnTo>
                    <a:lnTo>
                      <a:pt x="109902" y="1138550"/>
                    </a:lnTo>
                    <a:lnTo>
                      <a:pt x="87769" y="1099940"/>
                    </a:lnTo>
                    <a:lnTo>
                      <a:pt x="67911" y="1059936"/>
                    </a:lnTo>
                    <a:lnTo>
                      <a:pt x="50418" y="1018627"/>
                    </a:lnTo>
                    <a:lnTo>
                      <a:pt x="35377" y="976100"/>
                    </a:lnTo>
                    <a:lnTo>
                      <a:pt x="22874" y="932444"/>
                    </a:lnTo>
                    <a:lnTo>
                      <a:pt x="12998" y="887746"/>
                    </a:lnTo>
                    <a:lnTo>
                      <a:pt x="5835" y="842095"/>
                    </a:lnTo>
                    <a:lnTo>
                      <a:pt x="1473" y="795578"/>
                    </a:lnTo>
                    <a:lnTo>
                      <a:pt x="0" y="748283"/>
                    </a:lnTo>
                    <a:lnTo>
                      <a:pt x="1473" y="700989"/>
                    </a:lnTo>
                    <a:lnTo>
                      <a:pt x="5835" y="654472"/>
                    </a:lnTo>
                    <a:lnTo>
                      <a:pt x="12998" y="608821"/>
                    </a:lnTo>
                    <a:lnTo>
                      <a:pt x="22874" y="564123"/>
                    </a:lnTo>
                    <a:lnTo>
                      <a:pt x="35377" y="520467"/>
                    </a:lnTo>
                    <a:lnTo>
                      <a:pt x="50418" y="477940"/>
                    </a:lnTo>
                    <a:lnTo>
                      <a:pt x="67911" y="436631"/>
                    </a:lnTo>
                    <a:lnTo>
                      <a:pt x="87769" y="396627"/>
                    </a:lnTo>
                    <a:lnTo>
                      <a:pt x="109902" y="358017"/>
                    </a:lnTo>
                    <a:lnTo>
                      <a:pt x="134225" y="320887"/>
                    </a:lnTo>
                    <a:lnTo>
                      <a:pt x="160650" y="285327"/>
                    </a:lnTo>
                    <a:lnTo>
                      <a:pt x="189089" y="251423"/>
                    </a:lnTo>
                    <a:lnTo>
                      <a:pt x="219456" y="219265"/>
                    </a:lnTo>
                    <a:lnTo>
                      <a:pt x="251661" y="188939"/>
                    </a:lnTo>
                    <a:lnTo>
                      <a:pt x="285619" y="160535"/>
                    </a:lnTo>
                    <a:lnTo>
                      <a:pt x="321242" y="134139"/>
                    </a:lnTo>
                    <a:lnTo>
                      <a:pt x="358443" y="109839"/>
                    </a:lnTo>
                    <a:lnTo>
                      <a:pt x="397133" y="87724"/>
                    </a:lnTo>
                    <a:lnTo>
                      <a:pt x="437226" y="67882"/>
                    </a:lnTo>
                    <a:lnTo>
                      <a:pt x="478634" y="50400"/>
                    </a:lnTo>
                    <a:lnTo>
                      <a:pt x="521270" y="35366"/>
                    </a:lnTo>
                    <a:lnTo>
                      <a:pt x="565046" y="22869"/>
                    </a:lnTo>
                    <a:lnTo>
                      <a:pt x="609876" y="12995"/>
                    </a:lnTo>
                    <a:lnTo>
                      <a:pt x="655671" y="5834"/>
                    </a:lnTo>
                    <a:lnTo>
                      <a:pt x="702344" y="1473"/>
                    </a:lnTo>
                    <a:lnTo>
                      <a:pt x="749808" y="0"/>
                    </a:lnTo>
                    <a:lnTo>
                      <a:pt x="797102" y="1473"/>
                    </a:lnTo>
                    <a:lnTo>
                      <a:pt x="843619" y="5834"/>
                    </a:lnTo>
                    <a:lnTo>
                      <a:pt x="889270" y="12995"/>
                    </a:lnTo>
                    <a:lnTo>
                      <a:pt x="933968" y="22869"/>
                    </a:lnTo>
                    <a:lnTo>
                      <a:pt x="977624" y="35366"/>
                    </a:lnTo>
                    <a:lnTo>
                      <a:pt x="1020151" y="50400"/>
                    </a:lnTo>
                    <a:lnTo>
                      <a:pt x="1061460" y="67882"/>
                    </a:lnTo>
                    <a:lnTo>
                      <a:pt x="1101464" y="87724"/>
                    </a:lnTo>
                    <a:lnTo>
                      <a:pt x="1140074" y="109839"/>
                    </a:lnTo>
                    <a:lnTo>
                      <a:pt x="1177204" y="134139"/>
                    </a:lnTo>
                    <a:lnTo>
                      <a:pt x="1212764" y="160535"/>
                    </a:lnTo>
                    <a:lnTo>
                      <a:pt x="1246668" y="188939"/>
                    </a:lnTo>
                    <a:lnTo>
                      <a:pt x="1278826" y="219265"/>
                    </a:lnTo>
                    <a:lnTo>
                      <a:pt x="1309152" y="251423"/>
                    </a:lnTo>
                    <a:lnTo>
                      <a:pt x="1337556" y="285327"/>
                    </a:lnTo>
                    <a:lnTo>
                      <a:pt x="1363952" y="320887"/>
                    </a:lnTo>
                    <a:lnTo>
                      <a:pt x="1388252" y="358017"/>
                    </a:lnTo>
                    <a:lnTo>
                      <a:pt x="1410367" y="396627"/>
                    </a:lnTo>
                    <a:lnTo>
                      <a:pt x="1430209" y="436631"/>
                    </a:lnTo>
                    <a:lnTo>
                      <a:pt x="1447691" y="477940"/>
                    </a:lnTo>
                    <a:lnTo>
                      <a:pt x="1462725" y="520467"/>
                    </a:lnTo>
                    <a:lnTo>
                      <a:pt x="1475222" y="564123"/>
                    </a:lnTo>
                    <a:lnTo>
                      <a:pt x="1485096" y="608821"/>
                    </a:lnTo>
                    <a:lnTo>
                      <a:pt x="1492257" y="654472"/>
                    </a:lnTo>
                    <a:lnTo>
                      <a:pt x="1496618" y="700989"/>
                    </a:lnTo>
                    <a:lnTo>
                      <a:pt x="1498091" y="748283"/>
                    </a:lnTo>
                    <a:lnTo>
                      <a:pt x="1496618" y="795578"/>
                    </a:lnTo>
                    <a:lnTo>
                      <a:pt x="1492257" y="842095"/>
                    </a:lnTo>
                    <a:lnTo>
                      <a:pt x="1485096" y="887746"/>
                    </a:lnTo>
                    <a:lnTo>
                      <a:pt x="1475222" y="932444"/>
                    </a:lnTo>
                    <a:lnTo>
                      <a:pt x="1462725" y="976100"/>
                    </a:lnTo>
                    <a:lnTo>
                      <a:pt x="1447691" y="1018627"/>
                    </a:lnTo>
                    <a:lnTo>
                      <a:pt x="1430209" y="1059936"/>
                    </a:lnTo>
                    <a:lnTo>
                      <a:pt x="1410367" y="1099940"/>
                    </a:lnTo>
                    <a:lnTo>
                      <a:pt x="1388252" y="1138550"/>
                    </a:lnTo>
                    <a:lnTo>
                      <a:pt x="1363952" y="1175680"/>
                    </a:lnTo>
                    <a:lnTo>
                      <a:pt x="1337556" y="1211240"/>
                    </a:lnTo>
                    <a:lnTo>
                      <a:pt x="1309152" y="1245144"/>
                    </a:lnTo>
                    <a:lnTo>
                      <a:pt x="1278826" y="1277302"/>
                    </a:lnTo>
                    <a:lnTo>
                      <a:pt x="1246668" y="1307628"/>
                    </a:lnTo>
                    <a:lnTo>
                      <a:pt x="1212764" y="1336032"/>
                    </a:lnTo>
                    <a:lnTo>
                      <a:pt x="1177204" y="1362428"/>
                    </a:lnTo>
                    <a:lnTo>
                      <a:pt x="1140074" y="1386728"/>
                    </a:lnTo>
                    <a:lnTo>
                      <a:pt x="1101464" y="1408843"/>
                    </a:lnTo>
                    <a:lnTo>
                      <a:pt x="1061460" y="1428685"/>
                    </a:lnTo>
                    <a:lnTo>
                      <a:pt x="1020151" y="1446167"/>
                    </a:lnTo>
                    <a:lnTo>
                      <a:pt x="977624" y="1461201"/>
                    </a:lnTo>
                    <a:lnTo>
                      <a:pt x="933968" y="1473698"/>
                    </a:lnTo>
                    <a:lnTo>
                      <a:pt x="889270" y="1483572"/>
                    </a:lnTo>
                    <a:lnTo>
                      <a:pt x="843619" y="1490733"/>
                    </a:lnTo>
                    <a:lnTo>
                      <a:pt x="797102" y="1495094"/>
                    </a:lnTo>
                    <a:lnTo>
                      <a:pt x="749808" y="1496567"/>
                    </a:lnTo>
                    <a:close/>
                  </a:path>
                </a:pathLst>
              </a:custGeom>
              <a:solidFill>
                <a:srgbClr val="EDEFEF"/>
              </a:solidFill>
            </p:spPr>
            <p:txBody>
              <a:bodyPr wrap="square" lIns="0" tIns="0" rIns="0" bIns="0" rtlCol="0"/>
              <a:lstStyle/>
              <a:p>
                <a:endParaRPr sz="1100"/>
              </a:p>
            </p:txBody>
          </p:sp>
          <p:pic>
            <p:nvPicPr>
              <p:cNvPr id="168" name="object 47">
                <a:extLst>
                  <a:ext uri="{FF2B5EF4-FFF2-40B4-BE49-F238E27FC236}">
                    <a16:creationId xmlns:a16="http://schemas.microsoft.com/office/drawing/2014/main" id="{ED307C6B-7936-4164-9886-DC0B3849545C}"/>
                  </a:ext>
                </a:extLst>
              </p:cNvPr>
              <p:cNvPicPr/>
              <p:nvPr/>
            </p:nvPicPr>
            <p:blipFill>
              <a:blip r:embed="rId10" cstate="screen">
                <a:extLst>
                  <a:ext uri="{28A0092B-C50C-407E-A947-70E740481C1C}">
                    <a14:useLocalDpi xmlns:a14="http://schemas.microsoft.com/office/drawing/2010/main" val="0"/>
                  </a:ext>
                </a:extLst>
              </a:blip>
              <a:srcRect/>
              <a:stretch/>
            </p:blipFill>
            <p:spPr>
              <a:xfrm>
                <a:off x="8501951" y="4175787"/>
                <a:ext cx="1498600" cy="1470660"/>
              </a:xfrm>
              <a:prstGeom prst="ellipse">
                <a:avLst/>
              </a:prstGeom>
            </p:spPr>
          </p:pic>
        </p:grpSp>
      </p:grpSp>
      <p:grpSp>
        <p:nvGrpSpPr>
          <p:cNvPr id="169" name="Group 168">
            <a:extLst>
              <a:ext uri="{FF2B5EF4-FFF2-40B4-BE49-F238E27FC236}">
                <a16:creationId xmlns:a16="http://schemas.microsoft.com/office/drawing/2014/main" id="{A3BCD1FC-1F48-4B37-A231-688972D71AFD}"/>
              </a:ext>
            </a:extLst>
          </p:cNvPr>
          <p:cNvGrpSpPr/>
          <p:nvPr userDrawn="1"/>
        </p:nvGrpSpPr>
        <p:grpSpPr>
          <a:xfrm>
            <a:off x="10397504" y="1768499"/>
            <a:ext cx="1190115" cy="1429434"/>
            <a:chOff x="8391726" y="4232762"/>
            <a:chExt cx="1614339" cy="1849693"/>
          </a:xfrm>
        </p:grpSpPr>
        <p:sp>
          <p:nvSpPr>
            <p:cNvPr id="170" name="object 36">
              <a:extLst>
                <a:ext uri="{FF2B5EF4-FFF2-40B4-BE49-F238E27FC236}">
                  <a16:creationId xmlns:a16="http://schemas.microsoft.com/office/drawing/2014/main" id="{9EC1A264-504F-49DB-9286-1D981564F317}"/>
                </a:ext>
              </a:extLst>
            </p:cNvPr>
            <p:cNvSpPr txBox="1"/>
            <p:nvPr/>
          </p:nvSpPr>
          <p:spPr>
            <a:xfrm>
              <a:off x="8391726" y="5866729"/>
              <a:ext cx="1614339" cy="215726"/>
            </a:xfrm>
            <a:prstGeom prst="rect">
              <a:avLst/>
            </a:prstGeom>
          </p:spPr>
          <p:txBody>
            <a:bodyPr vert="horz" wrap="square" lIns="0" tIns="12700" rIns="0" bIns="0" rtlCol="0">
              <a:spAutoFit/>
            </a:bodyPr>
            <a:lstStyle/>
            <a:p>
              <a:pPr marL="12700" algn="ctr">
                <a:lnSpc>
                  <a:spcPct val="100000"/>
                </a:lnSpc>
                <a:spcBef>
                  <a:spcPts val="100"/>
                </a:spcBef>
              </a:pPr>
              <a:endParaRPr sz="1000">
                <a:solidFill>
                  <a:schemeClr val="accent6"/>
                </a:solidFill>
                <a:cs typeface="Gill Sans MT"/>
              </a:endParaRPr>
            </a:p>
          </p:txBody>
        </p:sp>
        <p:grpSp>
          <p:nvGrpSpPr>
            <p:cNvPr id="171" name="Group 170">
              <a:extLst>
                <a:ext uri="{FF2B5EF4-FFF2-40B4-BE49-F238E27FC236}">
                  <a16:creationId xmlns:a16="http://schemas.microsoft.com/office/drawing/2014/main" id="{450FDFCF-0D2E-4A72-96B2-888C485D03EB}"/>
                </a:ext>
              </a:extLst>
            </p:cNvPr>
            <p:cNvGrpSpPr/>
            <p:nvPr/>
          </p:nvGrpSpPr>
          <p:grpSpPr>
            <a:xfrm>
              <a:off x="8478043" y="4232762"/>
              <a:ext cx="1450974" cy="1426766"/>
              <a:chOff x="8478462" y="4162769"/>
              <a:chExt cx="1522089" cy="1496695"/>
            </a:xfrm>
          </p:grpSpPr>
          <p:sp>
            <p:nvSpPr>
              <p:cNvPr id="172" name="object 46">
                <a:extLst>
                  <a:ext uri="{FF2B5EF4-FFF2-40B4-BE49-F238E27FC236}">
                    <a16:creationId xmlns:a16="http://schemas.microsoft.com/office/drawing/2014/main" id="{332A4BA2-96DC-4D85-BFF4-A0A2526241AB}"/>
                  </a:ext>
                </a:extLst>
              </p:cNvPr>
              <p:cNvSpPr/>
              <p:nvPr/>
            </p:nvSpPr>
            <p:spPr>
              <a:xfrm>
                <a:off x="8478462" y="4162769"/>
                <a:ext cx="1498600" cy="1496695"/>
              </a:xfrm>
              <a:custGeom>
                <a:avLst/>
                <a:gdLst/>
                <a:ahLst/>
                <a:cxnLst/>
                <a:rect l="l" t="t" r="r" b="b"/>
                <a:pathLst>
                  <a:path w="1498600" h="1496695">
                    <a:moveTo>
                      <a:pt x="749808" y="1496567"/>
                    </a:moveTo>
                    <a:lnTo>
                      <a:pt x="702344" y="1495094"/>
                    </a:lnTo>
                    <a:lnTo>
                      <a:pt x="655671" y="1490733"/>
                    </a:lnTo>
                    <a:lnTo>
                      <a:pt x="609876" y="1483572"/>
                    </a:lnTo>
                    <a:lnTo>
                      <a:pt x="565046" y="1473698"/>
                    </a:lnTo>
                    <a:lnTo>
                      <a:pt x="521270" y="1461201"/>
                    </a:lnTo>
                    <a:lnTo>
                      <a:pt x="478634" y="1446167"/>
                    </a:lnTo>
                    <a:lnTo>
                      <a:pt x="437226" y="1428685"/>
                    </a:lnTo>
                    <a:lnTo>
                      <a:pt x="397133" y="1408843"/>
                    </a:lnTo>
                    <a:lnTo>
                      <a:pt x="358443" y="1386728"/>
                    </a:lnTo>
                    <a:lnTo>
                      <a:pt x="321242" y="1362428"/>
                    </a:lnTo>
                    <a:lnTo>
                      <a:pt x="285619" y="1336032"/>
                    </a:lnTo>
                    <a:lnTo>
                      <a:pt x="251661" y="1307628"/>
                    </a:lnTo>
                    <a:lnTo>
                      <a:pt x="219456" y="1277302"/>
                    </a:lnTo>
                    <a:lnTo>
                      <a:pt x="189089" y="1245144"/>
                    </a:lnTo>
                    <a:lnTo>
                      <a:pt x="160650" y="1211240"/>
                    </a:lnTo>
                    <a:lnTo>
                      <a:pt x="134225" y="1175680"/>
                    </a:lnTo>
                    <a:lnTo>
                      <a:pt x="109902" y="1138550"/>
                    </a:lnTo>
                    <a:lnTo>
                      <a:pt x="87769" y="1099940"/>
                    </a:lnTo>
                    <a:lnTo>
                      <a:pt x="67911" y="1059936"/>
                    </a:lnTo>
                    <a:lnTo>
                      <a:pt x="50418" y="1018627"/>
                    </a:lnTo>
                    <a:lnTo>
                      <a:pt x="35377" y="976100"/>
                    </a:lnTo>
                    <a:lnTo>
                      <a:pt x="22874" y="932444"/>
                    </a:lnTo>
                    <a:lnTo>
                      <a:pt x="12998" y="887746"/>
                    </a:lnTo>
                    <a:lnTo>
                      <a:pt x="5835" y="842095"/>
                    </a:lnTo>
                    <a:lnTo>
                      <a:pt x="1473" y="795578"/>
                    </a:lnTo>
                    <a:lnTo>
                      <a:pt x="0" y="748283"/>
                    </a:lnTo>
                    <a:lnTo>
                      <a:pt x="1473" y="700989"/>
                    </a:lnTo>
                    <a:lnTo>
                      <a:pt x="5835" y="654472"/>
                    </a:lnTo>
                    <a:lnTo>
                      <a:pt x="12998" y="608821"/>
                    </a:lnTo>
                    <a:lnTo>
                      <a:pt x="22874" y="564123"/>
                    </a:lnTo>
                    <a:lnTo>
                      <a:pt x="35377" y="520467"/>
                    </a:lnTo>
                    <a:lnTo>
                      <a:pt x="50418" y="477940"/>
                    </a:lnTo>
                    <a:lnTo>
                      <a:pt x="67911" y="436631"/>
                    </a:lnTo>
                    <a:lnTo>
                      <a:pt x="87769" y="396627"/>
                    </a:lnTo>
                    <a:lnTo>
                      <a:pt x="109902" y="358017"/>
                    </a:lnTo>
                    <a:lnTo>
                      <a:pt x="134225" y="320887"/>
                    </a:lnTo>
                    <a:lnTo>
                      <a:pt x="160650" y="285327"/>
                    </a:lnTo>
                    <a:lnTo>
                      <a:pt x="189089" y="251423"/>
                    </a:lnTo>
                    <a:lnTo>
                      <a:pt x="219456" y="219265"/>
                    </a:lnTo>
                    <a:lnTo>
                      <a:pt x="251661" y="188939"/>
                    </a:lnTo>
                    <a:lnTo>
                      <a:pt x="285619" y="160535"/>
                    </a:lnTo>
                    <a:lnTo>
                      <a:pt x="321242" y="134139"/>
                    </a:lnTo>
                    <a:lnTo>
                      <a:pt x="358443" y="109839"/>
                    </a:lnTo>
                    <a:lnTo>
                      <a:pt x="397133" y="87724"/>
                    </a:lnTo>
                    <a:lnTo>
                      <a:pt x="437226" y="67882"/>
                    </a:lnTo>
                    <a:lnTo>
                      <a:pt x="478634" y="50400"/>
                    </a:lnTo>
                    <a:lnTo>
                      <a:pt x="521270" y="35366"/>
                    </a:lnTo>
                    <a:lnTo>
                      <a:pt x="565046" y="22869"/>
                    </a:lnTo>
                    <a:lnTo>
                      <a:pt x="609876" y="12995"/>
                    </a:lnTo>
                    <a:lnTo>
                      <a:pt x="655671" y="5834"/>
                    </a:lnTo>
                    <a:lnTo>
                      <a:pt x="702344" y="1473"/>
                    </a:lnTo>
                    <a:lnTo>
                      <a:pt x="749808" y="0"/>
                    </a:lnTo>
                    <a:lnTo>
                      <a:pt x="797102" y="1473"/>
                    </a:lnTo>
                    <a:lnTo>
                      <a:pt x="843619" y="5834"/>
                    </a:lnTo>
                    <a:lnTo>
                      <a:pt x="889270" y="12995"/>
                    </a:lnTo>
                    <a:lnTo>
                      <a:pt x="933968" y="22869"/>
                    </a:lnTo>
                    <a:lnTo>
                      <a:pt x="977624" y="35366"/>
                    </a:lnTo>
                    <a:lnTo>
                      <a:pt x="1020151" y="50400"/>
                    </a:lnTo>
                    <a:lnTo>
                      <a:pt x="1061460" y="67882"/>
                    </a:lnTo>
                    <a:lnTo>
                      <a:pt x="1101464" y="87724"/>
                    </a:lnTo>
                    <a:lnTo>
                      <a:pt x="1140074" y="109839"/>
                    </a:lnTo>
                    <a:lnTo>
                      <a:pt x="1177204" y="134139"/>
                    </a:lnTo>
                    <a:lnTo>
                      <a:pt x="1212764" y="160535"/>
                    </a:lnTo>
                    <a:lnTo>
                      <a:pt x="1246668" y="188939"/>
                    </a:lnTo>
                    <a:lnTo>
                      <a:pt x="1278826" y="219265"/>
                    </a:lnTo>
                    <a:lnTo>
                      <a:pt x="1309152" y="251423"/>
                    </a:lnTo>
                    <a:lnTo>
                      <a:pt x="1337556" y="285327"/>
                    </a:lnTo>
                    <a:lnTo>
                      <a:pt x="1363952" y="320887"/>
                    </a:lnTo>
                    <a:lnTo>
                      <a:pt x="1388252" y="358017"/>
                    </a:lnTo>
                    <a:lnTo>
                      <a:pt x="1410367" y="396627"/>
                    </a:lnTo>
                    <a:lnTo>
                      <a:pt x="1430209" y="436631"/>
                    </a:lnTo>
                    <a:lnTo>
                      <a:pt x="1447691" y="477940"/>
                    </a:lnTo>
                    <a:lnTo>
                      <a:pt x="1462725" y="520467"/>
                    </a:lnTo>
                    <a:lnTo>
                      <a:pt x="1475222" y="564123"/>
                    </a:lnTo>
                    <a:lnTo>
                      <a:pt x="1485096" y="608821"/>
                    </a:lnTo>
                    <a:lnTo>
                      <a:pt x="1492257" y="654472"/>
                    </a:lnTo>
                    <a:lnTo>
                      <a:pt x="1496618" y="700989"/>
                    </a:lnTo>
                    <a:lnTo>
                      <a:pt x="1498091" y="748283"/>
                    </a:lnTo>
                    <a:lnTo>
                      <a:pt x="1496618" y="795578"/>
                    </a:lnTo>
                    <a:lnTo>
                      <a:pt x="1492257" y="842095"/>
                    </a:lnTo>
                    <a:lnTo>
                      <a:pt x="1485096" y="887746"/>
                    </a:lnTo>
                    <a:lnTo>
                      <a:pt x="1475222" y="932444"/>
                    </a:lnTo>
                    <a:lnTo>
                      <a:pt x="1462725" y="976100"/>
                    </a:lnTo>
                    <a:lnTo>
                      <a:pt x="1447691" y="1018627"/>
                    </a:lnTo>
                    <a:lnTo>
                      <a:pt x="1430209" y="1059936"/>
                    </a:lnTo>
                    <a:lnTo>
                      <a:pt x="1410367" y="1099940"/>
                    </a:lnTo>
                    <a:lnTo>
                      <a:pt x="1388252" y="1138550"/>
                    </a:lnTo>
                    <a:lnTo>
                      <a:pt x="1363952" y="1175680"/>
                    </a:lnTo>
                    <a:lnTo>
                      <a:pt x="1337556" y="1211240"/>
                    </a:lnTo>
                    <a:lnTo>
                      <a:pt x="1309152" y="1245144"/>
                    </a:lnTo>
                    <a:lnTo>
                      <a:pt x="1278826" y="1277302"/>
                    </a:lnTo>
                    <a:lnTo>
                      <a:pt x="1246668" y="1307628"/>
                    </a:lnTo>
                    <a:lnTo>
                      <a:pt x="1212764" y="1336032"/>
                    </a:lnTo>
                    <a:lnTo>
                      <a:pt x="1177204" y="1362428"/>
                    </a:lnTo>
                    <a:lnTo>
                      <a:pt x="1140074" y="1386728"/>
                    </a:lnTo>
                    <a:lnTo>
                      <a:pt x="1101464" y="1408843"/>
                    </a:lnTo>
                    <a:lnTo>
                      <a:pt x="1061460" y="1428685"/>
                    </a:lnTo>
                    <a:lnTo>
                      <a:pt x="1020151" y="1446167"/>
                    </a:lnTo>
                    <a:lnTo>
                      <a:pt x="977624" y="1461201"/>
                    </a:lnTo>
                    <a:lnTo>
                      <a:pt x="933968" y="1473698"/>
                    </a:lnTo>
                    <a:lnTo>
                      <a:pt x="889270" y="1483572"/>
                    </a:lnTo>
                    <a:lnTo>
                      <a:pt x="843619" y="1490733"/>
                    </a:lnTo>
                    <a:lnTo>
                      <a:pt x="797102" y="1495094"/>
                    </a:lnTo>
                    <a:lnTo>
                      <a:pt x="749808" y="1496567"/>
                    </a:lnTo>
                    <a:close/>
                  </a:path>
                </a:pathLst>
              </a:custGeom>
              <a:solidFill>
                <a:srgbClr val="EDEFEF"/>
              </a:solidFill>
            </p:spPr>
            <p:txBody>
              <a:bodyPr wrap="square" lIns="0" tIns="0" rIns="0" bIns="0" rtlCol="0"/>
              <a:lstStyle/>
              <a:p>
                <a:endParaRPr sz="1100"/>
              </a:p>
            </p:txBody>
          </p:sp>
          <p:pic>
            <p:nvPicPr>
              <p:cNvPr id="173" name="object 47">
                <a:extLst>
                  <a:ext uri="{FF2B5EF4-FFF2-40B4-BE49-F238E27FC236}">
                    <a16:creationId xmlns:a16="http://schemas.microsoft.com/office/drawing/2014/main" id="{92F71DCD-642E-4F2A-9C14-9D4B460203B3}"/>
                  </a:ext>
                </a:extLst>
              </p:cNvPr>
              <p:cNvPicPr/>
              <p:nvPr/>
            </p:nvPicPr>
            <p:blipFill rotWithShape="1">
              <a:blip r:embed="rId11" cstate="screen">
                <a:extLst>
                  <a:ext uri="{28A0092B-C50C-407E-A947-70E740481C1C}">
                    <a14:useLocalDpi xmlns:a14="http://schemas.microsoft.com/office/drawing/2010/main" val="0"/>
                  </a:ext>
                </a:extLst>
              </a:blip>
              <a:srcRect/>
              <a:stretch/>
            </p:blipFill>
            <p:spPr>
              <a:xfrm>
                <a:off x="8501950" y="4175787"/>
                <a:ext cx="1498601" cy="1470660"/>
              </a:xfrm>
              <a:prstGeom prst="ellipse">
                <a:avLst/>
              </a:prstGeom>
            </p:spPr>
          </p:pic>
        </p:grpSp>
      </p:grpSp>
      <p:grpSp>
        <p:nvGrpSpPr>
          <p:cNvPr id="174" name="Group 173">
            <a:extLst>
              <a:ext uri="{FF2B5EF4-FFF2-40B4-BE49-F238E27FC236}">
                <a16:creationId xmlns:a16="http://schemas.microsoft.com/office/drawing/2014/main" id="{19F5C295-D535-455C-905F-D05F502906DB}"/>
              </a:ext>
            </a:extLst>
          </p:cNvPr>
          <p:cNvGrpSpPr/>
          <p:nvPr userDrawn="1"/>
        </p:nvGrpSpPr>
        <p:grpSpPr>
          <a:xfrm>
            <a:off x="8586673" y="1776916"/>
            <a:ext cx="1190115" cy="1429434"/>
            <a:chOff x="8391726" y="4232762"/>
            <a:chExt cx="1614339" cy="1849693"/>
          </a:xfrm>
        </p:grpSpPr>
        <p:sp>
          <p:nvSpPr>
            <p:cNvPr id="175" name="object 36">
              <a:extLst>
                <a:ext uri="{FF2B5EF4-FFF2-40B4-BE49-F238E27FC236}">
                  <a16:creationId xmlns:a16="http://schemas.microsoft.com/office/drawing/2014/main" id="{CD248BCF-E073-4985-AD98-8CD52EE85FC1}"/>
                </a:ext>
              </a:extLst>
            </p:cNvPr>
            <p:cNvSpPr txBox="1"/>
            <p:nvPr/>
          </p:nvSpPr>
          <p:spPr>
            <a:xfrm>
              <a:off x="8391726" y="5866729"/>
              <a:ext cx="1614339" cy="215726"/>
            </a:xfrm>
            <a:prstGeom prst="rect">
              <a:avLst/>
            </a:prstGeom>
          </p:spPr>
          <p:txBody>
            <a:bodyPr vert="horz" wrap="square" lIns="0" tIns="12700" rIns="0" bIns="0" rtlCol="0">
              <a:spAutoFit/>
            </a:bodyPr>
            <a:lstStyle/>
            <a:p>
              <a:pPr marL="12700" algn="ctr">
                <a:lnSpc>
                  <a:spcPct val="100000"/>
                </a:lnSpc>
                <a:spcBef>
                  <a:spcPts val="100"/>
                </a:spcBef>
              </a:pPr>
              <a:endParaRPr sz="1000">
                <a:solidFill>
                  <a:schemeClr val="accent6"/>
                </a:solidFill>
                <a:cs typeface="Gill Sans MT"/>
              </a:endParaRPr>
            </a:p>
          </p:txBody>
        </p:sp>
        <p:grpSp>
          <p:nvGrpSpPr>
            <p:cNvPr id="176" name="Group 175">
              <a:extLst>
                <a:ext uri="{FF2B5EF4-FFF2-40B4-BE49-F238E27FC236}">
                  <a16:creationId xmlns:a16="http://schemas.microsoft.com/office/drawing/2014/main" id="{47D1AC50-DA11-4E30-AAFE-91F35ABF92C7}"/>
                </a:ext>
              </a:extLst>
            </p:cNvPr>
            <p:cNvGrpSpPr/>
            <p:nvPr/>
          </p:nvGrpSpPr>
          <p:grpSpPr>
            <a:xfrm>
              <a:off x="8478043" y="4232762"/>
              <a:ext cx="1450974" cy="1426766"/>
              <a:chOff x="8478462" y="4162769"/>
              <a:chExt cx="1522089" cy="1496695"/>
            </a:xfrm>
          </p:grpSpPr>
          <p:sp>
            <p:nvSpPr>
              <p:cNvPr id="177" name="object 46">
                <a:extLst>
                  <a:ext uri="{FF2B5EF4-FFF2-40B4-BE49-F238E27FC236}">
                    <a16:creationId xmlns:a16="http://schemas.microsoft.com/office/drawing/2014/main" id="{B2674826-2105-46ED-99CC-274ED4709A84}"/>
                  </a:ext>
                </a:extLst>
              </p:cNvPr>
              <p:cNvSpPr/>
              <p:nvPr/>
            </p:nvSpPr>
            <p:spPr>
              <a:xfrm>
                <a:off x="8478462" y="4162769"/>
                <a:ext cx="1498600" cy="1496695"/>
              </a:xfrm>
              <a:custGeom>
                <a:avLst/>
                <a:gdLst/>
                <a:ahLst/>
                <a:cxnLst/>
                <a:rect l="l" t="t" r="r" b="b"/>
                <a:pathLst>
                  <a:path w="1498600" h="1496695">
                    <a:moveTo>
                      <a:pt x="749808" y="1496567"/>
                    </a:moveTo>
                    <a:lnTo>
                      <a:pt x="702344" y="1495094"/>
                    </a:lnTo>
                    <a:lnTo>
                      <a:pt x="655671" y="1490733"/>
                    </a:lnTo>
                    <a:lnTo>
                      <a:pt x="609876" y="1483572"/>
                    </a:lnTo>
                    <a:lnTo>
                      <a:pt x="565046" y="1473698"/>
                    </a:lnTo>
                    <a:lnTo>
                      <a:pt x="521270" y="1461201"/>
                    </a:lnTo>
                    <a:lnTo>
                      <a:pt x="478634" y="1446167"/>
                    </a:lnTo>
                    <a:lnTo>
                      <a:pt x="437226" y="1428685"/>
                    </a:lnTo>
                    <a:lnTo>
                      <a:pt x="397133" y="1408843"/>
                    </a:lnTo>
                    <a:lnTo>
                      <a:pt x="358443" y="1386728"/>
                    </a:lnTo>
                    <a:lnTo>
                      <a:pt x="321242" y="1362428"/>
                    </a:lnTo>
                    <a:lnTo>
                      <a:pt x="285619" y="1336032"/>
                    </a:lnTo>
                    <a:lnTo>
                      <a:pt x="251661" y="1307628"/>
                    </a:lnTo>
                    <a:lnTo>
                      <a:pt x="219456" y="1277302"/>
                    </a:lnTo>
                    <a:lnTo>
                      <a:pt x="189089" y="1245144"/>
                    </a:lnTo>
                    <a:lnTo>
                      <a:pt x="160650" y="1211240"/>
                    </a:lnTo>
                    <a:lnTo>
                      <a:pt x="134225" y="1175680"/>
                    </a:lnTo>
                    <a:lnTo>
                      <a:pt x="109902" y="1138550"/>
                    </a:lnTo>
                    <a:lnTo>
                      <a:pt x="87769" y="1099940"/>
                    </a:lnTo>
                    <a:lnTo>
                      <a:pt x="67911" y="1059936"/>
                    </a:lnTo>
                    <a:lnTo>
                      <a:pt x="50418" y="1018627"/>
                    </a:lnTo>
                    <a:lnTo>
                      <a:pt x="35377" y="976100"/>
                    </a:lnTo>
                    <a:lnTo>
                      <a:pt x="22874" y="932444"/>
                    </a:lnTo>
                    <a:lnTo>
                      <a:pt x="12998" y="887746"/>
                    </a:lnTo>
                    <a:lnTo>
                      <a:pt x="5835" y="842095"/>
                    </a:lnTo>
                    <a:lnTo>
                      <a:pt x="1473" y="795578"/>
                    </a:lnTo>
                    <a:lnTo>
                      <a:pt x="0" y="748283"/>
                    </a:lnTo>
                    <a:lnTo>
                      <a:pt x="1473" y="700989"/>
                    </a:lnTo>
                    <a:lnTo>
                      <a:pt x="5835" y="654472"/>
                    </a:lnTo>
                    <a:lnTo>
                      <a:pt x="12998" y="608821"/>
                    </a:lnTo>
                    <a:lnTo>
                      <a:pt x="22874" y="564123"/>
                    </a:lnTo>
                    <a:lnTo>
                      <a:pt x="35377" y="520467"/>
                    </a:lnTo>
                    <a:lnTo>
                      <a:pt x="50418" y="477940"/>
                    </a:lnTo>
                    <a:lnTo>
                      <a:pt x="67911" y="436631"/>
                    </a:lnTo>
                    <a:lnTo>
                      <a:pt x="87769" y="396627"/>
                    </a:lnTo>
                    <a:lnTo>
                      <a:pt x="109902" y="358017"/>
                    </a:lnTo>
                    <a:lnTo>
                      <a:pt x="134225" y="320887"/>
                    </a:lnTo>
                    <a:lnTo>
                      <a:pt x="160650" y="285327"/>
                    </a:lnTo>
                    <a:lnTo>
                      <a:pt x="189089" y="251423"/>
                    </a:lnTo>
                    <a:lnTo>
                      <a:pt x="219456" y="219265"/>
                    </a:lnTo>
                    <a:lnTo>
                      <a:pt x="251661" y="188939"/>
                    </a:lnTo>
                    <a:lnTo>
                      <a:pt x="285619" y="160535"/>
                    </a:lnTo>
                    <a:lnTo>
                      <a:pt x="321242" y="134139"/>
                    </a:lnTo>
                    <a:lnTo>
                      <a:pt x="358443" y="109839"/>
                    </a:lnTo>
                    <a:lnTo>
                      <a:pt x="397133" y="87724"/>
                    </a:lnTo>
                    <a:lnTo>
                      <a:pt x="437226" y="67882"/>
                    </a:lnTo>
                    <a:lnTo>
                      <a:pt x="478634" y="50400"/>
                    </a:lnTo>
                    <a:lnTo>
                      <a:pt x="521270" y="35366"/>
                    </a:lnTo>
                    <a:lnTo>
                      <a:pt x="565046" y="22869"/>
                    </a:lnTo>
                    <a:lnTo>
                      <a:pt x="609876" y="12995"/>
                    </a:lnTo>
                    <a:lnTo>
                      <a:pt x="655671" y="5834"/>
                    </a:lnTo>
                    <a:lnTo>
                      <a:pt x="702344" y="1473"/>
                    </a:lnTo>
                    <a:lnTo>
                      <a:pt x="749808" y="0"/>
                    </a:lnTo>
                    <a:lnTo>
                      <a:pt x="797102" y="1473"/>
                    </a:lnTo>
                    <a:lnTo>
                      <a:pt x="843619" y="5834"/>
                    </a:lnTo>
                    <a:lnTo>
                      <a:pt x="889270" y="12995"/>
                    </a:lnTo>
                    <a:lnTo>
                      <a:pt x="933968" y="22869"/>
                    </a:lnTo>
                    <a:lnTo>
                      <a:pt x="977624" y="35366"/>
                    </a:lnTo>
                    <a:lnTo>
                      <a:pt x="1020151" y="50400"/>
                    </a:lnTo>
                    <a:lnTo>
                      <a:pt x="1061460" y="67882"/>
                    </a:lnTo>
                    <a:lnTo>
                      <a:pt x="1101464" y="87724"/>
                    </a:lnTo>
                    <a:lnTo>
                      <a:pt x="1140074" y="109839"/>
                    </a:lnTo>
                    <a:lnTo>
                      <a:pt x="1177204" y="134139"/>
                    </a:lnTo>
                    <a:lnTo>
                      <a:pt x="1212764" y="160535"/>
                    </a:lnTo>
                    <a:lnTo>
                      <a:pt x="1246668" y="188939"/>
                    </a:lnTo>
                    <a:lnTo>
                      <a:pt x="1278826" y="219265"/>
                    </a:lnTo>
                    <a:lnTo>
                      <a:pt x="1309152" y="251423"/>
                    </a:lnTo>
                    <a:lnTo>
                      <a:pt x="1337556" y="285327"/>
                    </a:lnTo>
                    <a:lnTo>
                      <a:pt x="1363952" y="320887"/>
                    </a:lnTo>
                    <a:lnTo>
                      <a:pt x="1388252" y="358017"/>
                    </a:lnTo>
                    <a:lnTo>
                      <a:pt x="1410367" y="396627"/>
                    </a:lnTo>
                    <a:lnTo>
                      <a:pt x="1430209" y="436631"/>
                    </a:lnTo>
                    <a:lnTo>
                      <a:pt x="1447691" y="477940"/>
                    </a:lnTo>
                    <a:lnTo>
                      <a:pt x="1462725" y="520467"/>
                    </a:lnTo>
                    <a:lnTo>
                      <a:pt x="1475222" y="564123"/>
                    </a:lnTo>
                    <a:lnTo>
                      <a:pt x="1485096" y="608821"/>
                    </a:lnTo>
                    <a:lnTo>
                      <a:pt x="1492257" y="654472"/>
                    </a:lnTo>
                    <a:lnTo>
                      <a:pt x="1496618" y="700989"/>
                    </a:lnTo>
                    <a:lnTo>
                      <a:pt x="1498091" y="748283"/>
                    </a:lnTo>
                    <a:lnTo>
                      <a:pt x="1496618" y="795578"/>
                    </a:lnTo>
                    <a:lnTo>
                      <a:pt x="1492257" y="842095"/>
                    </a:lnTo>
                    <a:lnTo>
                      <a:pt x="1485096" y="887746"/>
                    </a:lnTo>
                    <a:lnTo>
                      <a:pt x="1475222" y="932444"/>
                    </a:lnTo>
                    <a:lnTo>
                      <a:pt x="1462725" y="976100"/>
                    </a:lnTo>
                    <a:lnTo>
                      <a:pt x="1447691" y="1018627"/>
                    </a:lnTo>
                    <a:lnTo>
                      <a:pt x="1430209" y="1059936"/>
                    </a:lnTo>
                    <a:lnTo>
                      <a:pt x="1410367" y="1099940"/>
                    </a:lnTo>
                    <a:lnTo>
                      <a:pt x="1388252" y="1138550"/>
                    </a:lnTo>
                    <a:lnTo>
                      <a:pt x="1363952" y="1175680"/>
                    </a:lnTo>
                    <a:lnTo>
                      <a:pt x="1337556" y="1211240"/>
                    </a:lnTo>
                    <a:lnTo>
                      <a:pt x="1309152" y="1245144"/>
                    </a:lnTo>
                    <a:lnTo>
                      <a:pt x="1278826" y="1277302"/>
                    </a:lnTo>
                    <a:lnTo>
                      <a:pt x="1246668" y="1307628"/>
                    </a:lnTo>
                    <a:lnTo>
                      <a:pt x="1212764" y="1336032"/>
                    </a:lnTo>
                    <a:lnTo>
                      <a:pt x="1177204" y="1362428"/>
                    </a:lnTo>
                    <a:lnTo>
                      <a:pt x="1140074" y="1386728"/>
                    </a:lnTo>
                    <a:lnTo>
                      <a:pt x="1101464" y="1408843"/>
                    </a:lnTo>
                    <a:lnTo>
                      <a:pt x="1061460" y="1428685"/>
                    </a:lnTo>
                    <a:lnTo>
                      <a:pt x="1020151" y="1446167"/>
                    </a:lnTo>
                    <a:lnTo>
                      <a:pt x="977624" y="1461201"/>
                    </a:lnTo>
                    <a:lnTo>
                      <a:pt x="933968" y="1473698"/>
                    </a:lnTo>
                    <a:lnTo>
                      <a:pt x="889270" y="1483572"/>
                    </a:lnTo>
                    <a:lnTo>
                      <a:pt x="843619" y="1490733"/>
                    </a:lnTo>
                    <a:lnTo>
                      <a:pt x="797102" y="1495094"/>
                    </a:lnTo>
                    <a:lnTo>
                      <a:pt x="749808" y="1496567"/>
                    </a:lnTo>
                    <a:close/>
                  </a:path>
                </a:pathLst>
              </a:custGeom>
              <a:solidFill>
                <a:srgbClr val="EDEFEF"/>
              </a:solidFill>
            </p:spPr>
            <p:txBody>
              <a:bodyPr wrap="square" lIns="0" tIns="0" rIns="0" bIns="0" rtlCol="0"/>
              <a:lstStyle/>
              <a:p>
                <a:endParaRPr sz="1100"/>
              </a:p>
            </p:txBody>
          </p:sp>
          <p:pic>
            <p:nvPicPr>
              <p:cNvPr id="178" name="object 47">
                <a:extLst>
                  <a:ext uri="{FF2B5EF4-FFF2-40B4-BE49-F238E27FC236}">
                    <a16:creationId xmlns:a16="http://schemas.microsoft.com/office/drawing/2014/main" id="{90C4DF13-0315-4B47-BDDD-4358C8C40E7E}"/>
                  </a:ext>
                </a:extLst>
              </p:cNvPr>
              <p:cNvPicPr/>
              <p:nvPr/>
            </p:nvPicPr>
            <p:blipFill rotWithShape="1">
              <a:blip r:embed="rId12" cstate="screen">
                <a:extLst>
                  <a:ext uri="{28A0092B-C50C-407E-A947-70E740481C1C}">
                    <a14:useLocalDpi xmlns:a14="http://schemas.microsoft.com/office/drawing/2010/main" val="0"/>
                  </a:ext>
                </a:extLst>
              </a:blip>
              <a:srcRect/>
              <a:stretch/>
            </p:blipFill>
            <p:spPr>
              <a:xfrm>
                <a:off x="8501950" y="4175787"/>
                <a:ext cx="1498601" cy="1470660"/>
              </a:xfrm>
              <a:prstGeom prst="ellipse">
                <a:avLst/>
              </a:prstGeom>
            </p:spPr>
          </p:pic>
        </p:grpSp>
      </p:grpSp>
      <p:pic>
        <p:nvPicPr>
          <p:cNvPr id="4" name="Picture 3" descr="A person in a suit&#10;&#10;Description automatically generated with medium confidence">
            <a:extLst>
              <a:ext uri="{FF2B5EF4-FFF2-40B4-BE49-F238E27FC236}">
                <a16:creationId xmlns:a16="http://schemas.microsoft.com/office/drawing/2014/main" id="{6CAABEE0-3B69-4723-B7EA-D656D65FF1D3}"/>
              </a:ext>
            </a:extLst>
          </p:cNvPr>
          <p:cNvPicPr>
            <a:picLocks noChangeAspect="1"/>
          </p:cNvPicPr>
          <p:nvPr userDrawn="1"/>
        </p:nvPicPr>
        <p:blipFill rotWithShape="1">
          <a:blip r:embed="rId13" cstate="screen">
            <a:extLst>
              <a:ext uri="{28A0092B-C50C-407E-A947-70E740481C1C}">
                <a14:useLocalDpi xmlns:a14="http://schemas.microsoft.com/office/drawing/2010/main" val="0"/>
              </a:ext>
            </a:extLst>
          </a:blip>
          <a:srcRect/>
          <a:stretch/>
        </p:blipFill>
        <p:spPr>
          <a:xfrm>
            <a:off x="3797800" y="4000819"/>
            <a:ext cx="1066149" cy="1052495"/>
          </a:xfrm>
          <a:prstGeom prst="ellipse">
            <a:avLst/>
          </a:prstGeom>
        </p:spPr>
      </p:pic>
    </p:spTree>
    <p:extLst>
      <p:ext uri="{BB962C8B-B14F-4D97-AF65-F5344CB8AC3E}">
        <p14:creationId xmlns:p14="http://schemas.microsoft.com/office/powerpoint/2010/main" val="2860033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SG Leader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Shape&#10;&#10;Description automatically generated with medium confidence">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6DD253C8-D929-4CE3-88CC-3554EADFA1C3}"/>
              </a:ext>
            </a:extLst>
          </p:cNvPr>
          <p:cNvSpPr>
            <a:spLocks noGrp="1"/>
          </p:cNvSpPr>
          <p:nvPr userDrawn="1">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
        <p:nvSpPr>
          <p:cNvPr id="57" name="Titre 13">
            <a:extLst>
              <a:ext uri="{FF2B5EF4-FFF2-40B4-BE49-F238E27FC236}">
                <a16:creationId xmlns:a16="http://schemas.microsoft.com/office/drawing/2014/main" id="{9FAF497E-0DC9-4542-A1D9-FB4B93D00D29}"/>
              </a:ext>
            </a:extLst>
          </p:cNvPr>
          <p:cNvSpPr>
            <a:spLocks noGrp="1"/>
          </p:cNvSpPr>
          <p:nvPr>
            <p:ph type="title"/>
          </p:nvPr>
        </p:nvSpPr>
        <p:spPr>
          <a:xfrm>
            <a:off x="838200" y="684951"/>
            <a:ext cx="6365848" cy="685909"/>
          </a:xfrm>
        </p:spPr>
        <p:txBody>
          <a:bodyPr>
            <a:normAutofit fontScale="90000"/>
          </a:bodyPr>
          <a:lstStyle/>
          <a:p>
            <a:r>
              <a:rPr lang="en-US">
                <a:ea typeface="Roboto Thin" panose="02000000000000000000" pitchFamily="2" charset="0"/>
              </a:rPr>
              <a:t>Click to edit Master title style</a:t>
            </a:r>
            <a:endParaRPr lang="fr-FR"/>
          </a:p>
        </p:txBody>
      </p:sp>
      <p:grpSp>
        <p:nvGrpSpPr>
          <p:cNvPr id="3" name="Group 2">
            <a:extLst>
              <a:ext uri="{FF2B5EF4-FFF2-40B4-BE49-F238E27FC236}">
                <a16:creationId xmlns:a16="http://schemas.microsoft.com/office/drawing/2014/main" id="{D9AC8F6A-6326-4B8A-88A5-946D4D798E8B}"/>
              </a:ext>
            </a:extLst>
          </p:cNvPr>
          <p:cNvGrpSpPr/>
          <p:nvPr userDrawn="1"/>
        </p:nvGrpSpPr>
        <p:grpSpPr>
          <a:xfrm>
            <a:off x="5053093" y="4111103"/>
            <a:ext cx="1413817" cy="2071471"/>
            <a:chOff x="5389092" y="4111103"/>
            <a:chExt cx="1413817" cy="2071471"/>
          </a:xfrm>
        </p:grpSpPr>
        <p:sp>
          <p:nvSpPr>
            <p:cNvPr id="58" name="TextBox 57">
              <a:extLst>
                <a:ext uri="{FF2B5EF4-FFF2-40B4-BE49-F238E27FC236}">
                  <a16:creationId xmlns:a16="http://schemas.microsoft.com/office/drawing/2014/main" id="{6B046A01-93DE-4CE3-BD8A-0C3AD8F37F7B}"/>
                </a:ext>
              </a:extLst>
            </p:cNvPr>
            <p:cNvSpPr txBox="1"/>
            <p:nvPr userDrawn="1"/>
          </p:nvSpPr>
          <p:spPr>
            <a:xfrm>
              <a:off x="5389092" y="5474688"/>
              <a:ext cx="1413817" cy="707886"/>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7239"/>
                  </a:solidFill>
                  <a:effectLst/>
                  <a:uLnTx/>
                  <a:uFillTx/>
                  <a:latin typeface="Arial" panose="020B0604020202020204" pitchFamily="34" charset="0"/>
                  <a:ea typeface="Roboto"/>
                  <a:cs typeface="Arial" panose="020B0604020202020204" pitchFamily="34" charset="0"/>
                </a:rPr>
                <a:t>Nate </a:t>
              </a:r>
              <a:r>
                <a:rPr kumimoji="0" lang="en-US" sz="1000" i="0" u="none" strike="noStrike" kern="1200" cap="none" spc="0" normalizeH="0" baseline="0" noProof="0" dirty="0" err="1">
                  <a:ln>
                    <a:noFill/>
                  </a:ln>
                  <a:solidFill>
                    <a:srgbClr val="007239"/>
                  </a:solidFill>
                  <a:effectLst/>
                  <a:uLnTx/>
                  <a:uFillTx/>
                  <a:latin typeface="Arial" panose="020B0604020202020204" pitchFamily="34" charset="0"/>
                  <a:ea typeface="Roboto"/>
                  <a:cs typeface="Arial" panose="020B0604020202020204" pitchFamily="34" charset="0"/>
                </a:rPr>
                <a:t>Nilles</a:t>
              </a:r>
              <a:endParaRPr kumimoji="0" lang="en-US" sz="1000" i="0" u="none" strike="noStrike" kern="1200" cap="none" spc="0" normalizeH="0" baseline="0" noProof="0" dirty="0">
                <a:ln>
                  <a:noFill/>
                </a:ln>
                <a:solidFill>
                  <a:srgbClr val="007239"/>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6"/>
                  </a:solidFill>
                  <a:effectLst/>
                  <a:uLnTx/>
                  <a:uFillTx/>
                  <a:latin typeface="Arial" panose="020B0604020202020204" pitchFamily="34" charset="0"/>
                  <a:ea typeface="Roboto"/>
                  <a:cs typeface="Arial" panose="020B0604020202020204" pitchFamily="34" charset="0"/>
                </a:rPr>
                <a:t>Vice President Customer Experience &amp; Operations</a:t>
              </a:r>
              <a:endParaRPr kumimoji="0" lang="en-US" sz="1800" b="0" i="0" u="none" strike="noStrike" kern="1200" cap="none" spc="0" normalizeH="0" baseline="0" noProof="0" dirty="0">
                <a:ln>
                  <a:noFill/>
                </a:ln>
                <a:solidFill>
                  <a:schemeClr val="accent6"/>
                </a:solidFill>
                <a:effectLst/>
                <a:uLnTx/>
                <a:uFillTx/>
                <a:latin typeface="Arial" panose="020B0604020202020204" pitchFamily="34" charset="0"/>
                <a:ea typeface="Roboto"/>
                <a:cs typeface="Arial" panose="020B0604020202020204" pitchFamily="34" charset="0"/>
              </a:endParaRPr>
            </a:p>
          </p:txBody>
        </p:sp>
        <p:grpSp>
          <p:nvGrpSpPr>
            <p:cNvPr id="64" name="Group 63">
              <a:extLst>
                <a:ext uri="{FF2B5EF4-FFF2-40B4-BE49-F238E27FC236}">
                  <a16:creationId xmlns:a16="http://schemas.microsoft.com/office/drawing/2014/main" id="{B0A83702-61B7-4E92-949A-A7102C23B12E}"/>
                </a:ext>
              </a:extLst>
            </p:cNvPr>
            <p:cNvGrpSpPr/>
            <p:nvPr userDrawn="1"/>
          </p:nvGrpSpPr>
          <p:grpSpPr>
            <a:xfrm>
              <a:off x="5475016" y="4111103"/>
              <a:ext cx="1275578" cy="1256235"/>
              <a:chOff x="5464271" y="3737782"/>
              <a:chExt cx="1275578" cy="1256235"/>
            </a:xfrm>
          </p:grpSpPr>
          <p:sp>
            <p:nvSpPr>
              <p:cNvPr id="76" name="Oval 75">
                <a:extLst>
                  <a:ext uri="{FF2B5EF4-FFF2-40B4-BE49-F238E27FC236}">
                    <a16:creationId xmlns:a16="http://schemas.microsoft.com/office/drawing/2014/main" id="{91CF2233-07CC-4526-AC3E-3B760E748830}"/>
                  </a:ext>
                </a:extLst>
              </p:cNvPr>
              <p:cNvSpPr/>
              <p:nvPr/>
            </p:nvSpPr>
            <p:spPr>
              <a:xfrm>
                <a:off x="5464271" y="3737782"/>
                <a:ext cx="1275578" cy="1233298"/>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7" name="Picture 76" descr="A picture containing person, suit, person, wall&#10;&#10;Description automatically generated">
                <a:extLst>
                  <a:ext uri="{FF2B5EF4-FFF2-40B4-BE49-F238E27FC236}">
                    <a16:creationId xmlns:a16="http://schemas.microsoft.com/office/drawing/2014/main" id="{2AA3DC90-780D-40A5-872F-069A46D0FFD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t="-9128"/>
              <a:stretch/>
            </p:blipFill>
            <p:spPr>
              <a:xfrm>
                <a:off x="5470485" y="3750773"/>
                <a:ext cx="1251029" cy="1243244"/>
              </a:xfrm>
              <a:prstGeom prst="ellipse">
                <a:avLst/>
              </a:prstGeom>
            </p:spPr>
          </p:pic>
        </p:grpSp>
      </p:grpSp>
      <p:sp>
        <p:nvSpPr>
          <p:cNvPr id="78" name="TextBox 77">
            <a:extLst>
              <a:ext uri="{FF2B5EF4-FFF2-40B4-BE49-F238E27FC236}">
                <a16:creationId xmlns:a16="http://schemas.microsoft.com/office/drawing/2014/main" id="{37324AB5-9774-48E8-9062-A6F4783B499C}"/>
              </a:ext>
            </a:extLst>
          </p:cNvPr>
          <p:cNvSpPr txBox="1"/>
          <p:nvPr userDrawn="1"/>
        </p:nvSpPr>
        <p:spPr>
          <a:xfrm>
            <a:off x="7637253" y="3247989"/>
            <a:ext cx="1116854" cy="40011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dirty="0">
                <a:ln>
                  <a:noFill/>
                </a:ln>
                <a:solidFill>
                  <a:srgbClr val="007239"/>
                </a:solidFill>
                <a:effectLst/>
                <a:uLnTx/>
                <a:uFillTx/>
                <a:latin typeface="Arial" panose="020B0604020202020204" pitchFamily="34" charset="0"/>
                <a:ea typeface="Roboto"/>
                <a:cs typeface="Arial" panose="020B0604020202020204" pitchFamily="34" charset="0"/>
              </a:rPr>
              <a:t>Eugene </a:t>
            </a:r>
            <a:r>
              <a:rPr kumimoji="0" lang="en-US" sz="1000" i="0" u="none" strike="noStrike" kern="1200" cap="none" spc="0" normalizeH="0" baseline="0" noProof="0" dirty="0" err="1">
                <a:ln>
                  <a:noFill/>
                </a:ln>
                <a:solidFill>
                  <a:srgbClr val="007239"/>
                </a:solidFill>
                <a:effectLst/>
                <a:uLnTx/>
                <a:uFillTx/>
                <a:latin typeface="Arial" panose="020B0604020202020204" pitchFamily="34" charset="0"/>
                <a:ea typeface="Roboto"/>
                <a:cs typeface="Arial" panose="020B0604020202020204" pitchFamily="34" charset="0"/>
              </a:rPr>
              <a:t>Mazo</a:t>
            </a:r>
            <a:endParaRPr kumimoji="0" lang="en-US" sz="1000" i="0" u="none" strike="noStrike" kern="1200" cap="none" spc="0" normalizeH="0" baseline="0" noProof="0" dirty="0">
              <a:ln>
                <a:noFill/>
              </a:ln>
              <a:solidFill>
                <a:srgbClr val="007239"/>
              </a:solidFill>
              <a:effectLst/>
              <a:uLnTx/>
              <a:uFillTx/>
              <a:latin typeface="Arial" panose="020B0604020202020204" pitchFamily="34" charset="0"/>
              <a:ea typeface="Roboto"/>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accent6"/>
                </a:solidFill>
                <a:effectLst/>
                <a:uLnTx/>
                <a:uFillTx/>
                <a:latin typeface="Arial" panose="020B0604020202020204" pitchFamily="34" charset="0"/>
                <a:ea typeface="Roboto"/>
                <a:cs typeface="Arial" panose="020B0604020202020204" pitchFamily="34" charset="0"/>
              </a:rPr>
              <a:t>Chief of Staff</a:t>
            </a:r>
          </a:p>
        </p:txBody>
      </p:sp>
      <p:grpSp>
        <p:nvGrpSpPr>
          <p:cNvPr id="87" name="Group 86">
            <a:extLst>
              <a:ext uri="{FF2B5EF4-FFF2-40B4-BE49-F238E27FC236}">
                <a16:creationId xmlns:a16="http://schemas.microsoft.com/office/drawing/2014/main" id="{CF8BBA51-DF43-4961-A919-4F2A5F58E0F3}"/>
              </a:ext>
            </a:extLst>
          </p:cNvPr>
          <p:cNvGrpSpPr/>
          <p:nvPr userDrawn="1"/>
        </p:nvGrpSpPr>
        <p:grpSpPr>
          <a:xfrm>
            <a:off x="7528139" y="1801215"/>
            <a:ext cx="1335083" cy="1335740"/>
            <a:chOff x="6751695" y="1573177"/>
            <a:chExt cx="1290061" cy="1290696"/>
          </a:xfrm>
        </p:grpSpPr>
        <p:sp>
          <p:nvSpPr>
            <p:cNvPr id="89" name="Oval 88">
              <a:extLst>
                <a:ext uri="{FF2B5EF4-FFF2-40B4-BE49-F238E27FC236}">
                  <a16:creationId xmlns:a16="http://schemas.microsoft.com/office/drawing/2014/main" id="{CF40D317-F406-42B9-B602-FB719C27B8D3}"/>
                </a:ext>
              </a:extLst>
            </p:cNvPr>
            <p:cNvSpPr/>
            <p:nvPr/>
          </p:nvSpPr>
          <p:spPr>
            <a:xfrm>
              <a:off x="6751695" y="1573177"/>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 name="Picture 91">
              <a:extLst>
                <a:ext uri="{FF2B5EF4-FFF2-40B4-BE49-F238E27FC236}">
                  <a16:creationId xmlns:a16="http://schemas.microsoft.com/office/drawing/2014/main" id="{D383628A-828E-4D89-BEC9-3C484D4711C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6778029" y="1663653"/>
              <a:ext cx="1200220" cy="1200220"/>
            </a:xfrm>
            <a:prstGeom prst="ellipse">
              <a:avLst/>
            </a:prstGeom>
          </p:spPr>
        </p:pic>
      </p:grpSp>
      <p:grpSp>
        <p:nvGrpSpPr>
          <p:cNvPr id="93" name="Group 92">
            <a:extLst>
              <a:ext uri="{FF2B5EF4-FFF2-40B4-BE49-F238E27FC236}">
                <a16:creationId xmlns:a16="http://schemas.microsoft.com/office/drawing/2014/main" id="{40D2BF56-695E-47A8-907F-B35B5AF22C36}"/>
              </a:ext>
            </a:extLst>
          </p:cNvPr>
          <p:cNvGrpSpPr/>
          <p:nvPr userDrawn="1"/>
        </p:nvGrpSpPr>
        <p:grpSpPr>
          <a:xfrm>
            <a:off x="1070664" y="4111357"/>
            <a:ext cx="1303255" cy="1917329"/>
            <a:chOff x="1569278" y="4111357"/>
            <a:chExt cx="1303255" cy="1917329"/>
          </a:xfrm>
        </p:grpSpPr>
        <p:sp>
          <p:nvSpPr>
            <p:cNvPr id="98" name="TextBox 97">
              <a:extLst>
                <a:ext uri="{FF2B5EF4-FFF2-40B4-BE49-F238E27FC236}">
                  <a16:creationId xmlns:a16="http://schemas.microsoft.com/office/drawing/2014/main" id="{6F2F8F20-E202-4EBD-A1AC-43E2885ECD78}"/>
                </a:ext>
              </a:extLst>
            </p:cNvPr>
            <p:cNvSpPr txBox="1"/>
            <p:nvPr/>
          </p:nvSpPr>
          <p:spPr>
            <a:xfrm>
              <a:off x="1601803" y="5474688"/>
              <a:ext cx="1238204"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Martin Villeneuve</a:t>
              </a:r>
              <a:endParaRPr kumimoji="0" lang="en-US" sz="1000" i="0" u="none" strike="noStrike" kern="1200" cap="none" spc="0" normalizeH="0" baseline="0" noProof="0">
                <a:ln>
                  <a:noFill/>
                </a:ln>
                <a:solidFill>
                  <a:srgbClr val="007239"/>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President</a:t>
              </a:r>
              <a:endPar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Distech Controls</a:t>
              </a:r>
              <a:endParaRPr kumimoji="0" lang="en-US" sz="1800" b="0" i="0" u="none" strike="noStrike" kern="1200" cap="none" spc="0" normalizeH="0" baseline="0" noProof="0">
                <a:ln>
                  <a:noFill/>
                </a:ln>
                <a:solidFill>
                  <a:schemeClr val="accent6"/>
                </a:solidFill>
                <a:effectLst/>
                <a:uLnTx/>
                <a:uFillTx/>
                <a:latin typeface="Arial" panose="020B0604020202020204" pitchFamily="34" charset="0"/>
                <a:cs typeface="Arial" panose="020B0604020202020204" pitchFamily="34" charset="0"/>
              </a:endParaRPr>
            </a:p>
          </p:txBody>
        </p:sp>
        <p:grpSp>
          <p:nvGrpSpPr>
            <p:cNvPr id="99" name="Group 98">
              <a:extLst>
                <a:ext uri="{FF2B5EF4-FFF2-40B4-BE49-F238E27FC236}">
                  <a16:creationId xmlns:a16="http://schemas.microsoft.com/office/drawing/2014/main" id="{4B5F64CA-EF4E-42FE-B7E8-1F0BD0D87C69}"/>
                </a:ext>
              </a:extLst>
            </p:cNvPr>
            <p:cNvGrpSpPr/>
            <p:nvPr/>
          </p:nvGrpSpPr>
          <p:grpSpPr>
            <a:xfrm>
              <a:off x="1569278" y="4111357"/>
              <a:ext cx="1303255" cy="1239542"/>
              <a:chOff x="1912452" y="3679935"/>
              <a:chExt cx="1303255" cy="1239542"/>
            </a:xfrm>
          </p:grpSpPr>
          <p:sp>
            <p:nvSpPr>
              <p:cNvPr id="100" name="Oval 99">
                <a:extLst>
                  <a:ext uri="{FF2B5EF4-FFF2-40B4-BE49-F238E27FC236}">
                    <a16:creationId xmlns:a16="http://schemas.microsoft.com/office/drawing/2014/main" id="{AB06D735-AEA5-4F8A-BA6E-715DBA0E97E1}"/>
                  </a:ext>
                </a:extLst>
              </p:cNvPr>
              <p:cNvSpPr/>
              <p:nvPr/>
            </p:nvSpPr>
            <p:spPr>
              <a:xfrm>
                <a:off x="1912452" y="3680037"/>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1" name="Picture 24">
                <a:extLst>
                  <a:ext uri="{FF2B5EF4-FFF2-40B4-BE49-F238E27FC236}">
                    <a16:creationId xmlns:a16="http://schemas.microsoft.com/office/drawing/2014/main" id="{C20C5167-78DF-46BA-A259-E352CDE13432}"/>
                  </a:ext>
                </a:extLst>
              </p:cNvPr>
              <p:cNvPicPr>
                <a:picLocks noChangeAspect="1" noChangeArrowheads="1"/>
              </p:cNvPicPr>
              <p:nvPr/>
            </p:nvPicPr>
            <p:blipFill rotWithShape="1">
              <a:blip r:embed="rId5" cstate="screen">
                <a:clrChange>
                  <a:clrFrom>
                    <a:srgbClr val="FDFDFD"/>
                  </a:clrFrom>
                  <a:clrTo>
                    <a:srgbClr val="FDFDFD">
                      <a:alpha val="0"/>
                    </a:srgbClr>
                  </a:clrTo>
                </a:clrChange>
                <a:extLst>
                  <a:ext uri="{28A0092B-C50C-407E-A947-70E740481C1C}">
                    <a14:useLocalDpi xmlns:a14="http://schemas.microsoft.com/office/drawing/2010/main" val="0"/>
                  </a:ext>
                </a:extLst>
              </a:blip>
              <a:srcRect l="-10307" t="-12610" r="-6894" b="-2"/>
              <a:stretch/>
            </p:blipFill>
            <p:spPr bwMode="auto">
              <a:xfrm>
                <a:off x="1925646" y="3679935"/>
                <a:ext cx="1290061" cy="1239542"/>
              </a:xfrm>
              <a:prstGeom prst="flowChartConnector">
                <a:avLst/>
              </a:prstGeom>
              <a:noFill/>
              <a:extLst>
                <a:ext uri="{909E8E84-426E-40DD-AFC4-6F175D3DCCD1}">
                  <a14:hiddenFill xmlns:a14="http://schemas.microsoft.com/office/drawing/2010/main">
                    <a:solidFill>
                      <a:srgbClr val="FFFFFF"/>
                    </a:solidFill>
                  </a14:hiddenFill>
                </a:ext>
              </a:extLst>
            </p:spPr>
          </p:pic>
        </p:grpSp>
      </p:grpSp>
      <p:grpSp>
        <p:nvGrpSpPr>
          <p:cNvPr id="102" name="Group 101">
            <a:extLst>
              <a:ext uri="{FF2B5EF4-FFF2-40B4-BE49-F238E27FC236}">
                <a16:creationId xmlns:a16="http://schemas.microsoft.com/office/drawing/2014/main" id="{927E45E7-1F6A-4BB1-892F-41C1EBE3BF9E}"/>
              </a:ext>
            </a:extLst>
          </p:cNvPr>
          <p:cNvGrpSpPr/>
          <p:nvPr userDrawn="1"/>
        </p:nvGrpSpPr>
        <p:grpSpPr>
          <a:xfrm>
            <a:off x="5346314" y="1805988"/>
            <a:ext cx="1493512" cy="2002077"/>
            <a:chOff x="4310793" y="1805988"/>
            <a:chExt cx="1493512" cy="2002077"/>
          </a:xfrm>
        </p:grpSpPr>
        <p:sp>
          <p:nvSpPr>
            <p:cNvPr id="103" name="TextBox 102">
              <a:extLst>
                <a:ext uri="{FF2B5EF4-FFF2-40B4-BE49-F238E27FC236}">
                  <a16:creationId xmlns:a16="http://schemas.microsoft.com/office/drawing/2014/main" id="{1A8EDCE8-C65B-4850-8DEC-B3CC43F8118D}"/>
                </a:ext>
              </a:extLst>
            </p:cNvPr>
            <p:cNvSpPr txBox="1"/>
            <p:nvPr/>
          </p:nvSpPr>
          <p:spPr>
            <a:xfrm>
              <a:off x="4310793" y="3254067"/>
              <a:ext cx="1493512"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Dinesh Narayanan</a:t>
              </a:r>
              <a:endParaRPr kumimoji="0" lang="en-US" sz="1000" i="0" u="none" strike="noStrike" kern="1200" cap="none" spc="0" normalizeH="0" baseline="0" noProof="0">
                <a:ln>
                  <a:noFill/>
                </a:ln>
                <a:solidFill>
                  <a:srgbClr val="007239"/>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 Business Development</a:t>
              </a:r>
              <a:endParaRPr kumimoji="0" lang="en-US" sz="1800" b="0" i="0" u="none" strike="noStrike" kern="1200" cap="none" spc="0" normalizeH="0" baseline="0" noProof="0">
                <a:ln>
                  <a:noFill/>
                </a:ln>
                <a:solidFill>
                  <a:schemeClr val="accent6"/>
                </a:solidFill>
                <a:effectLst/>
                <a:uLnTx/>
                <a:uFillTx/>
                <a:latin typeface="Arial" panose="020B0604020202020204" pitchFamily="34" charset="0"/>
                <a:cs typeface="Arial" panose="020B0604020202020204" pitchFamily="34" charset="0"/>
              </a:endParaRPr>
            </a:p>
          </p:txBody>
        </p:sp>
        <p:grpSp>
          <p:nvGrpSpPr>
            <p:cNvPr id="104" name="Group 103">
              <a:extLst>
                <a:ext uri="{FF2B5EF4-FFF2-40B4-BE49-F238E27FC236}">
                  <a16:creationId xmlns:a16="http://schemas.microsoft.com/office/drawing/2014/main" id="{F4565773-30EC-4819-A33B-60B0C6FA0C08}"/>
                </a:ext>
              </a:extLst>
            </p:cNvPr>
            <p:cNvGrpSpPr/>
            <p:nvPr/>
          </p:nvGrpSpPr>
          <p:grpSpPr>
            <a:xfrm>
              <a:off x="4412519" y="1805988"/>
              <a:ext cx="1338580" cy="1310218"/>
              <a:chOff x="5104223" y="1587626"/>
              <a:chExt cx="1290061" cy="1262727"/>
            </a:xfrm>
          </p:grpSpPr>
          <p:sp>
            <p:nvSpPr>
              <p:cNvPr id="105" name="Oval 104">
                <a:extLst>
                  <a:ext uri="{FF2B5EF4-FFF2-40B4-BE49-F238E27FC236}">
                    <a16:creationId xmlns:a16="http://schemas.microsoft.com/office/drawing/2014/main" id="{ACC03288-1FEA-4B91-BB28-B808E37AECD0}"/>
                  </a:ext>
                </a:extLst>
              </p:cNvPr>
              <p:cNvSpPr/>
              <p:nvPr/>
            </p:nvSpPr>
            <p:spPr>
              <a:xfrm>
                <a:off x="5104223" y="1587626"/>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6" name="Picture 105">
                <a:extLst>
                  <a:ext uri="{FF2B5EF4-FFF2-40B4-BE49-F238E27FC236}">
                    <a16:creationId xmlns:a16="http://schemas.microsoft.com/office/drawing/2014/main" id="{A5DCB4C9-EAD9-42A2-9AA7-6090885B4D30}"/>
                  </a:ext>
                </a:extLst>
              </p:cNvPr>
              <p:cNvPicPr>
                <a:picLocks noChangeAspect="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val="0"/>
                  </a:ext>
                </a:extLst>
              </a:blip>
              <a:srcRect l="-1411" t="2774" r="11777" b="15792"/>
              <a:stretch/>
            </p:blipFill>
            <p:spPr>
              <a:xfrm>
                <a:off x="5173181" y="1698209"/>
                <a:ext cx="1152144" cy="1152144"/>
              </a:xfrm>
              <a:prstGeom prst="ellipse">
                <a:avLst/>
              </a:prstGeom>
            </p:spPr>
          </p:pic>
        </p:grpSp>
      </p:grpSp>
      <p:grpSp>
        <p:nvGrpSpPr>
          <p:cNvPr id="107" name="Group 106">
            <a:extLst>
              <a:ext uri="{FF2B5EF4-FFF2-40B4-BE49-F238E27FC236}">
                <a16:creationId xmlns:a16="http://schemas.microsoft.com/office/drawing/2014/main" id="{EDBCEADE-A3DE-4CA2-8A38-14A265CE3031}"/>
              </a:ext>
            </a:extLst>
          </p:cNvPr>
          <p:cNvGrpSpPr/>
          <p:nvPr userDrawn="1"/>
        </p:nvGrpSpPr>
        <p:grpSpPr>
          <a:xfrm>
            <a:off x="9612972" y="4088461"/>
            <a:ext cx="1411064" cy="1940225"/>
            <a:chOff x="9153436" y="4088461"/>
            <a:chExt cx="1411064" cy="1940225"/>
          </a:xfrm>
        </p:grpSpPr>
        <p:sp>
          <p:nvSpPr>
            <p:cNvPr id="108" name="TextBox 107">
              <a:extLst>
                <a:ext uri="{FF2B5EF4-FFF2-40B4-BE49-F238E27FC236}">
                  <a16:creationId xmlns:a16="http://schemas.microsoft.com/office/drawing/2014/main" id="{07FB6CF8-654E-48E4-9295-4986B8D8A2B4}"/>
                </a:ext>
              </a:extLst>
            </p:cNvPr>
            <p:cNvSpPr txBox="1"/>
            <p:nvPr/>
          </p:nvSpPr>
          <p:spPr>
            <a:xfrm>
              <a:off x="9153436" y="5474688"/>
              <a:ext cx="1411064"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Sandeep </a:t>
              </a:r>
              <a:r>
                <a:rPr kumimoji="0" lang="en-US" sz="1000" i="0" u="none" strike="noStrike" kern="1200" cap="none" spc="0" normalizeH="0" baseline="0" noProof="0" err="1">
                  <a:ln>
                    <a:noFill/>
                  </a:ln>
                  <a:solidFill>
                    <a:srgbClr val="007239"/>
                  </a:solidFill>
                  <a:effectLst/>
                  <a:uLnTx/>
                  <a:uFillTx/>
                  <a:latin typeface="Arial" panose="020B0604020202020204" pitchFamily="34" charset="0"/>
                  <a:ea typeface="Roboto"/>
                  <a:cs typeface="Arial" panose="020B0604020202020204" pitchFamily="34" charset="0"/>
                </a:rPr>
                <a:t>Modhvadia</a:t>
              </a:r>
              <a:endParaRPr kumimoji="0" lang="en-US" sz="1000" i="0" u="none" strike="noStrike" kern="1200" cap="none" spc="0" normalizeH="0" baseline="0" noProof="0">
                <a:ln>
                  <a:noFill/>
                </a:ln>
                <a:solidFill>
                  <a:srgbClr val="007239"/>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 Product Management</a:t>
              </a:r>
              <a:endParaRPr kumimoji="0" lang="en-US" sz="1800" b="0" i="0" u="none" strike="noStrike" kern="1200" cap="none" spc="0" normalizeH="0" baseline="0" noProof="0">
                <a:ln>
                  <a:noFill/>
                </a:ln>
                <a:solidFill>
                  <a:schemeClr val="accent6"/>
                </a:solidFill>
                <a:effectLst/>
                <a:uLnTx/>
                <a:uFillTx/>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id="{AF423179-14CB-4233-93A2-422FDAE0D6B4}"/>
                </a:ext>
              </a:extLst>
            </p:cNvPr>
            <p:cNvGrpSpPr/>
            <p:nvPr/>
          </p:nvGrpSpPr>
          <p:grpSpPr>
            <a:xfrm>
              <a:off x="9213938" y="4088461"/>
              <a:ext cx="1290061" cy="1256561"/>
              <a:chOff x="8722314" y="4078936"/>
              <a:chExt cx="1290061" cy="1256561"/>
            </a:xfrm>
          </p:grpSpPr>
          <p:sp>
            <p:nvSpPr>
              <p:cNvPr id="110" name="Oval 109">
                <a:extLst>
                  <a:ext uri="{FF2B5EF4-FFF2-40B4-BE49-F238E27FC236}">
                    <a16:creationId xmlns:a16="http://schemas.microsoft.com/office/drawing/2014/main" id="{A736AD74-B30A-43B2-8567-F42C21A96150}"/>
                  </a:ext>
                </a:extLst>
              </p:cNvPr>
              <p:cNvSpPr/>
              <p:nvPr/>
            </p:nvSpPr>
            <p:spPr>
              <a:xfrm>
                <a:off x="8722314" y="4099839"/>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1" name="Picture 110" descr="A picture containing person, necktie, person, wearing&#10;&#10;Description automatically generated">
                <a:extLst>
                  <a:ext uri="{FF2B5EF4-FFF2-40B4-BE49-F238E27FC236}">
                    <a16:creationId xmlns:a16="http://schemas.microsoft.com/office/drawing/2014/main" id="{D08C5A0B-1E51-4C8B-A316-2767AF7244D0}"/>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l="-657" t="-13288"/>
              <a:stretch/>
            </p:blipFill>
            <p:spPr>
              <a:xfrm>
                <a:off x="8738794" y="4078936"/>
                <a:ext cx="1256561" cy="1256561"/>
              </a:xfrm>
              <a:prstGeom prst="ellipse">
                <a:avLst/>
              </a:prstGeom>
            </p:spPr>
          </p:pic>
        </p:grpSp>
      </p:grpSp>
      <p:grpSp>
        <p:nvGrpSpPr>
          <p:cNvPr id="112" name="Group 111">
            <a:extLst>
              <a:ext uri="{FF2B5EF4-FFF2-40B4-BE49-F238E27FC236}">
                <a16:creationId xmlns:a16="http://schemas.microsoft.com/office/drawing/2014/main" id="{53AE642E-9CA9-4784-B08F-1D1A52DBA42F}"/>
              </a:ext>
            </a:extLst>
          </p:cNvPr>
          <p:cNvGrpSpPr/>
          <p:nvPr userDrawn="1"/>
        </p:nvGrpSpPr>
        <p:grpSpPr>
          <a:xfrm>
            <a:off x="7126156" y="4106868"/>
            <a:ext cx="1827570" cy="2017718"/>
            <a:chOff x="9897705" y="1803212"/>
            <a:chExt cx="1827570" cy="2017718"/>
          </a:xfrm>
        </p:grpSpPr>
        <p:sp>
          <p:nvSpPr>
            <p:cNvPr id="113" name="TextBox 112">
              <a:extLst>
                <a:ext uri="{FF2B5EF4-FFF2-40B4-BE49-F238E27FC236}">
                  <a16:creationId xmlns:a16="http://schemas.microsoft.com/office/drawing/2014/main" id="{E63DE001-602A-45E5-B592-66C3DE4EE3F0}"/>
                </a:ext>
              </a:extLst>
            </p:cNvPr>
            <p:cNvSpPr txBox="1"/>
            <p:nvPr/>
          </p:nvSpPr>
          <p:spPr>
            <a:xfrm>
              <a:off x="9897705" y="3266932"/>
              <a:ext cx="1827570"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Lauren Scott</a:t>
              </a:r>
              <a:endParaRPr kumimoji="0" lang="en-US" sz="1000" i="0" u="none" strike="noStrike" kern="1200" cap="none" spc="0" normalizeH="0" baseline="0" noProof="0">
                <a:ln>
                  <a:noFill/>
                </a:ln>
                <a:solidFill>
                  <a:srgbClr val="007239"/>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a:t>
              </a:r>
              <a:br>
                <a:rPr kumimoji="0" lang="en-US" sz="100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br>
              <a:r>
                <a:rPr kumimoji="0" lang="en-US" sz="100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Marketing &amp; Sustainability</a:t>
              </a:r>
            </a:p>
          </p:txBody>
        </p:sp>
        <p:grpSp>
          <p:nvGrpSpPr>
            <p:cNvPr id="114" name="Group 113">
              <a:extLst>
                <a:ext uri="{FF2B5EF4-FFF2-40B4-BE49-F238E27FC236}">
                  <a16:creationId xmlns:a16="http://schemas.microsoft.com/office/drawing/2014/main" id="{768538E7-DC3E-48D6-864C-3832E73760A7}"/>
                </a:ext>
              </a:extLst>
            </p:cNvPr>
            <p:cNvGrpSpPr/>
            <p:nvPr/>
          </p:nvGrpSpPr>
          <p:grpSpPr>
            <a:xfrm>
              <a:off x="10171110" y="1803212"/>
              <a:ext cx="1366059" cy="1320988"/>
              <a:chOff x="285359" y="3775175"/>
              <a:chExt cx="1290061" cy="1247497"/>
            </a:xfrm>
          </p:grpSpPr>
          <p:sp>
            <p:nvSpPr>
              <p:cNvPr id="115" name="Oval 114">
                <a:extLst>
                  <a:ext uri="{FF2B5EF4-FFF2-40B4-BE49-F238E27FC236}">
                    <a16:creationId xmlns:a16="http://schemas.microsoft.com/office/drawing/2014/main" id="{62C7A2A4-D61A-42B5-8154-CEF6A8D3B00A}"/>
                  </a:ext>
                </a:extLst>
              </p:cNvPr>
              <p:cNvSpPr/>
              <p:nvPr/>
            </p:nvSpPr>
            <p:spPr>
              <a:xfrm>
                <a:off x="285359" y="3775175"/>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6" name="Picture 115" descr="A person in a black suit&#10;&#10;Description automatically generated with low confidence">
                <a:extLst>
                  <a:ext uri="{FF2B5EF4-FFF2-40B4-BE49-F238E27FC236}">
                    <a16:creationId xmlns:a16="http://schemas.microsoft.com/office/drawing/2014/main" id="{608D939B-3BCC-40DA-8699-71CAD9A7298D}"/>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285359" y="3775175"/>
                <a:ext cx="1261271" cy="1247497"/>
              </a:xfrm>
              <a:prstGeom prst="ellipse">
                <a:avLst/>
              </a:prstGeom>
            </p:spPr>
          </p:pic>
        </p:grpSp>
      </p:grpSp>
      <p:grpSp>
        <p:nvGrpSpPr>
          <p:cNvPr id="117" name="Group 116">
            <a:extLst>
              <a:ext uri="{FF2B5EF4-FFF2-40B4-BE49-F238E27FC236}">
                <a16:creationId xmlns:a16="http://schemas.microsoft.com/office/drawing/2014/main" id="{E2B2965C-C266-4DB6-9CFF-A601A0D8C316}"/>
              </a:ext>
            </a:extLst>
          </p:cNvPr>
          <p:cNvGrpSpPr/>
          <p:nvPr userDrawn="1"/>
        </p:nvGrpSpPr>
        <p:grpSpPr>
          <a:xfrm>
            <a:off x="3294695" y="1811388"/>
            <a:ext cx="1363306" cy="1990599"/>
            <a:chOff x="2430979" y="1811388"/>
            <a:chExt cx="1363306" cy="1990599"/>
          </a:xfrm>
        </p:grpSpPr>
        <p:sp>
          <p:nvSpPr>
            <p:cNvPr id="118" name="TextBox 117">
              <a:extLst>
                <a:ext uri="{FF2B5EF4-FFF2-40B4-BE49-F238E27FC236}">
                  <a16:creationId xmlns:a16="http://schemas.microsoft.com/office/drawing/2014/main" id="{E20D78C7-3AFE-495A-B2A3-C6BF9FD95250}"/>
                </a:ext>
              </a:extLst>
            </p:cNvPr>
            <p:cNvSpPr txBox="1"/>
            <p:nvPr/>
          </p:nvSpPr>
          <p:spPr>
            <a:xfrm>
              <a:off x="2555050" y="3247989"/>
              <a:ext cx="1041920"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Carl </a:t>
              </a:r>
              <a:r>
                <a:rPr kumimoji="0" lang="en-US" sz="1000" i="0" u="none" strike="noStrike" kern="1200" cap="none" spc="0" normalizeH="0" baseline="0" noProof="0" err="1">
                  <a:ln>
                    <a:noFill/>
                  </a:ln>
                  <a:solidFill>
                    <a:srgbClr val="007239"/>
                  </a:solidFill>
                  <a:effectLst/>
                  <a:uLnTx/>
                  <a:uFillTx/>
                  <a:latin typeface="Arial" panose="020B0604020202020204" pitchFamily="34" charset="0"/>
                  <a:ea typeface="Roboto"/>
                  <a:cs typeface="Arial" panose="020B0604020202020204" pitchFamily="34" charset="0"/>
                </a:rPr>
                <a:t>Coken</a:t>
              </a:r>
              <a:endParaRPr kumimoji="0" lang="en-US" sz="1000" i="0" u="none" strike="noStrike" kern="1200" cap="none" spc="0" normalizeH="0" baseline="0" noProof="0">
                <a:ln>
                  <a:noFill/>
                </a:ln>
                <a:solidFill>
                  <a:srgbClr val="007239"/>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Engineering</a:t>
              </a:r>
            </a:p>
          </p:txBody>
        </p:sp>
        <p:grpSp>
          <p:nvGrpSpPr>
            <p:cNvPr id="119" name="Group 118">
              <a:extLst>
                <a:ext uri="{FF2B5EF4-FFF2-40B4-BE49-F238E27FC236}">
                  <a16:creationId xmlns:a16="http://schemas.microsoft.com/office/drawing/2014/main" id="{AB428CA5-6CCF-479A-8C5D-A77C271A534A}"/>
                </a:ext>
              </a:extLst>
            </p:cNvPr>
            <p:cNvGrpSpPr/>
            <p:nvPr/>
          </p:nvGrpSpPr>
          <p:grpSpPr>
            <a:xfrm>
              <a:off x="2430979" y="1811388"/>
              <a:ext cx="1363306" cy="1312812"/>
              <a:chOff x="3547117" y="1643893"/>
              <a:chExt cx="1290061" cy="1242280"/>
            </a:xfrm>
          </p:grpSpPr>
          <p:sp>
            <p:nvSpPr>
              <p:cNvPr id="120" name="Oval 119">
                <a:extLst>
                  <a:ext uri="{FF2B5EF4-FFF2-40B4-BE49-F238E27FC236}">
                    <a16:creationId xmlns:a16="http://schemas.microsoft.com/office/drawing/2014/main" id="{4103DCC4-33F4-44ED-82AE-585572854838}"/>
                  </a:ext>
                </a:extLst>
              </p:cNvPr>
              <p:cNvSpPr/>
              <p:nvPr/>
            </p:nvSpPr>
            <p:spPr>
              <a:xfrm>
                <a:off x="3547117" y="1643893"/>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1" name="Picture 120" descr="A person wearing glasses&#10;&#10;Description automatically generated with medium confidence">
                <a:extLst>
                  <a:ext uri="{FF2B5EF4-FFF2-40B4-BE49-F238E27FC236}">
                    <a16:creationId xmlns:a16="http://schemas.microsoft.com/office/drawing/2014/main" id="{0E61F283-863C-4F04-950F-6DBF1F22BAB7}"/>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t="-1" r="-204" b="-203"/>
              <a:stretch/>
            </p:blipFill>
            <p:spPr>
              <a:xfrm>
                <a:off x="3565350" y="1835328"/>
                <a:ext cx="1176611" cy="1050845"/>
              </a:xfrm>
              <a:prstGeom prst="ellipse">
                <a:avLst/>
              </a:prstGeom>
            </p:spPr>
          </p:pic>
        </p:grpSp>
      </p:grpSp>
      <p:sp>
        <p:nvSpPr>
          <p:cNvPr id="122" name="Oval 121">
            <a:extLst>
              <a:ext uri="{FF2B5EF4-FFF2-40B4-BE49-F238E27FC236}">
                <a16:creationId xmlns:a16="http://schemas.microsoft.com/office/drawing/2014/main" id="{B26C39B6-8527-4CB1-AD31-87C35BE900ED}"/>
              </a:ext>
            </a:extLst>
          </p:cNvPr>
          <p:cNvSpPr/>
          <p:nvPr userDrawn="1"/>
        </p:nvSpPr>
        <p:spPr>
          <a:xfrm>
            <a:off x="3068475" y="4106868"/>
            <a:ext cx="1290061" cy="1232336"/>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Oval 124">
            <a:extLst>
              <a:ext uri="{FF2B5EF4-FFF2-40B4-BE49-F238E27FC236}">
                <a16:creationId xmlns:a16="http://schemas.microsoft.com/office/drawing/2014/main" id="{21BEDED7-4F90-4C0E-9757-4C14808B99B4}"/>
              </a:ext>
            </a:extLst>
          </p:cNvPr>
          <p:cNvSpPr/>
          <p:nvPr/>
        </p:nvSpPr>
        <p:spPr>
          <a:xfrm>
            <a:off x="9615003" y="1780819"/>
            <a:ext cx="1426804" cy="1362960"/>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6" name="Picture 125" descr="A person wearing glasses&#10;&#10;Description automatically generated with medium confidence">
            <a:extLst>
              <a:ext uri="{FF2B5EF4-FFF2-40B4-BE49-F238E27FC236}">
                <a16:creationId xmlns:a16="http://schemas.microsoft.com/office/drawing/2014/main" id="{97D5AE82-D2EE-4F8C-ACAD-A07BDA87C213}"/>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t="-15711" r="-7162"/>
          <a:stretch/>
        </p:blipFill>
        <p:spPr>
          <a:xfrm>
            <a:off x="9559349" y="1598178"/>
            <a:ext cx="1518312" cy="1542035"/>
          </a:xfrm>
          <a:prstGeom prst="ellipse">
            <a:avLst/>
          </a:prstGeom>
        </p:spPr>
      </p:pic>
      <p:sp>
        <p:nvSpPr>
          <p:cNvPr id="127" name="TextBox 126">
            <a:extLst>
              <a:ext uri="{FF2B5EF4-FFF2-40B4-BE49-F238E27FC236}">
                <a16:creationId xmlns:a16="http://schemas.microsoft.com/office/drawing/2014/main" id="{F465856A-05FD-4620-B45C-FC5ACBF65625}"/>
              </a:ext>
            </a:extLst>
          </p:cNvPr>
          <p:cNvSpPr txBox="1"/>
          <p:nvPr/>
        </p:nvSpPr>
        <p:spPr>
          <a:xfrm>
            <a:off x="9551534" y="3256022"/>
            <a:ext cx="1533943"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Kunal Sikka</a:t>
            </a:r>
            <a:endParaRPr kumimoji="0" lang="en-US" sz="1000" i="0" u="none" strike="noStrike" kern="1200" cap="none" spc="0" normalizeH="0" baseline="0" noProof="0">
              <a:ln>
                <a:noFill/>
              </a:ln>
              <a:solidFill>
                <a:srgbClr val="007239"/>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 </a:t>
            </a:r>
            <a:b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br>
            <a:r>
              <a:rPr kumimoji="0" lang="en-US" sz="1000" b="0" i="0" u="none" strike="noStrike" kern="1200" cap="none" spc="0" normalizeH="0" baseline="0" noProof="0" err="1">
                <a:ln>
                  <a:noFill/>
                </a:ln>
                <a:solidFill>
                  <a:schemeClr val="accent6"/>
                </a:solidFill>
                <a:effectLst/>
                <a:uLnTx/>
                <a:uFillTx/>
                <a:latin typeface="Arial" panose="020B0604020202020204" pitchFamily="34" charset="0"/>
                <a:ea typeface="Roboto"/>
                <a:cs typeface="Arial" panose="020B0604020202020204" pitchFamily="34" charset="0"/>
              </a:rPr>
              <a:t>Atrius</a:t>
            </a: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 Sales and Pricing</a:t>
            </a:r>
            <a:endParaRPr kumimoji="0" lang="en-US" sz="1800" b="0" i="0" u="none" strike="noStrike" kern="1200" cap="none" spc="0" normalizeH="0" baseline="0" noProof="0">
              <a:ln>
                <a:noFill/>
              </a:ln>
              <a:solidFill>
                <a:schemeClr val="accent6"/>
              </a:solidFill>
              <a:effectLst/>
              <a:uLnTx/>
              <a:uFillTx/>
              <a:latin typeface="Arial" panose="020B0604020202020204" pitchFamily="34" charset="0"/>
              <a:cs typeface="Arial" panose="020B0604020202020204" pitchFamily="34" charset="0"/>
            </a:endParaRPr>
          </a:p>
        </p:txBody>
      </p:sp>
      <p:grpSp>
        <p:nvGrpSpPr>
          <p:cNvPr id="128" name="Group 127">
            <a:extLst>
              <a:ext uri="{FF2B5EF4-FFF2-40B4-BE49-F238E27FC236}">
                <a16:creationId xmlns:a16="http://schemas.microsoft.com/office/drawing/2014/main" id="{5B458E09-A46B-4B25-9E2A-9213AFB11661}"/>
              </a:ext>
            </a:extLst>
          </p:cNvPr>
          <p:cNvGrpSpPr/>
          <p:nvPr userDrawn="1"/>
        </p:nvGrpSpPr>
        <p:grpSpPr>
          <a:xfrm>
            <a:off x="838200" y="1803212"/>
            <a:ext cx="1768182" cy="1991655"/>
            <a:chOff x="247287" y="1803212"/>
            <a:chExt cx="1768182" cy="1991655"/>
          </a:xfrm>
        </p:grpSpPr>
        <p:sp>
          <p:nvSpPr>
            <p:cNvPr id="129" name="TextBox 128">
              <a:extLst>
                <a:ext uri="{FF2B5EF4-FFF2-40B4-BE49-F238E27FC236}">
                  <a16:creationId xmlns:a16="http://schemas.microsoft.com/office/drawing/2014/main" id="{2D9D52F0-FEDC-476E-899B-C27C83602A82}"/>
                </a:ext>
              </a:extLst>
            </p:cNvPr>
            <p:cNvSpPr txBox="1"/>
            <p:nvPr/>
          </p:nvSpPr>
          <p:spPr>
            <a:xfrm>
              <a:off x="247287" y="3240869"/>
              <a:ext cx="1768182" cy="553998"/>
            </a:xfrm>
            <a:prstGeom prst="rect">
              <a:avLst/>
            </a:prstGeom>
            <a:noFill/>
          </p:spPr>
          <p:txBody>
            <a:bodyPr wrap="square">
              <a:spAutoFit/>
            </a:bodyPr>
            <a:lstStyle/>
            <a:p>
              <a:pPr algn="ctr"/>
              <a:r>
                <a:rPr lang="en-US" sz="1000">
                  <a:solidFill>
                    <a:srgbClr val="007239"/>
                  </a:solidFill>
                  <a:effectLst/>
                  <a:latin typeface="Arial" panose="020B0604020202020204" pitchFamily="34" charset="0"/>
                </a:rPr>
                <a:t>Peter Han</a:t>
              </a:r>
            </a:p>
            <a:p>
              <a:pPr algn="ctr"/>
              <a:r>
                <a:rPr lang="en-US" sz="1000">
                  <a:solidFill>
                    <a:srgbClr val="333333"/>
                  </a:solidFill>
                  <a:effectLst/>
                  <a:latin typeface="Arial" panose="020B0604020202020204" pitchFamily="34" charset="0"/>
                </a:rPr>
                <a:t>President</a:t>
              </a:r>
              <a:br>
                <a:rPr lang="en-US" sz="1000">
                  <a:solidFill>
                    <a:srgbClr val="333333"/>
                  </a:solidFill>
                  <a:effectLst/>
                  <a:latin typeface="Arial" panose="020B0604020202020204" pitchFamily="34" charset="0"/>
                </a:rPr>
              </a:br>
              <a:r>
                <a:rPr lang="en-US" sz="1000">
                  <a:solidFill>
                    <a:srgbClr val="333333"/>
                  </a:solidFill>
                  <a:effectLst/>
                  <a:latin typeface="Arial" panose="020B0604020202020204" pitchFamily="34" charset="0"/>
                </a:rPr>
                <a:t>Intelligent Spaces Business</a:t>
              </a:r>
            </a:p>
          </p:txBody>
        </p:sp>
        <p:grpSp>
          <p:nvGrpSpPr>
            <p:cNvPr id="130" name="Groupe 12">
              <a:extLst>
                <a:ext uri="{FF2B5EF4-FFF2-40B4-BE49-F238E27FC236}">
                  <a16:creationId xmlns:a16="http://schemas.microsoft.com/office/drawing/2014/main" id="{AF2D42EC-35C1-496D-AE12-B5E41DA6969A}"/>
                </a:ext>
              </a:extLst>
            </p:cNvPr>
            <p:cNvGrpSpPr/>
            <p:nvPr/>
          </p:nvGrpSpPr>
          <p:grpSpPr>
            <a:xfrm>
              <a:off x="516696" y="1803212"/>
              <a:ext cx="1343565" cy="1306117"/>
              <a:chOff x="9085319" y="4223142"/>
              <a:chExt cx="1543450" cy="1500431"/>
            </a:xfrm>
          </p:grpSpPr>
          <p:sp>
            <p:nvSpPr>
              <p:cNvPr id="142" name="Oval 141">
                <a:extLst>
                  <a:ext uri="{FF2B5EF4-FFF2-40B4-BE49-F238E27FC236}">
                    <a16:creationId xmlns:a16="http://schemas.microsoft.com/office/drawing/2014/main" id="{B347CE8F-ED53-4509-952E-4B0D869D93E4}"/>
                  </a:ext>
                </a:extLst>
              </p:cNvPr>
              <p:cNvSpPr/>
              <p:nvPr/>
            </p:nvSpPr>
            <p:spPr>
              <a:xfrm>
                <a:off x="9085320" y="4223142"/>
                <a:ext cx="1543449" cy="1492291"/>
              </a:xfrm>
              <a:prstGeom prst="ellipse">
                <a:avLst/>
              </a:prstGeom>
              <a:solidFill>
                <a:srgbClr val="EEF0F0"/>
              </a:solidFill>
              <a:ln>
                <a:solidFill>
                  <a:srgbClr val="EEF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3" name="Picture 24">
                <a:extLst>
                  <a:ext uri="{FF2B5EF4-FFF2-40B4-BE49-F238E27FC236}">
                    <a16:creationId xmlns:a16="http://schemas.microsoft.com/office/drawing/2014/main" id="{301EE4CE-757D-43CE-ACE8-F59D9FF9EC24}"/>
                  </a:ext>
                </a:extLst>
              </p:cNvPr>
              <p:cNvPicPr>
                <a:picLocks noChangeAspect="1" noChangeArrowheads="1"/>
              </p:cNvPicPr>
              <p:nvPr/>
            </p:nvPicPr>
            <p:blipFill rotWithShape="1">
              <a:blip r:embed="rId11" cstate="screen">
                <a:extLst>
                  <a:ext uri="{28A0092B-C50C-407E-A947-70E740481C1C}">
                    <a14:useLocalDpi xmlns:a14="http://schemas.microsoft.com/office/drawing/2010/main" val="0"/>
                  </a:ext>
                </a:extLst>
              </a:blip>
              <a:srcRect t="-8683"/>
              <a:stretch/>
            </p:blipFill>
            <p:spPr bwMode="auto">
              <a:xfrm>
                <a:off x="9085319" y="4223142"/>
                <a:ext cx="1543449" cy="1500431"/>
              </a:xfrm>
              <a:prstGeom prst="flowChartConnector">
                <a:avLst/>
              </a:prstGeom>
              <a:noFill/>
              <a:extLst>
                <a:ext uri="{909E8E84-426E-40DD-AFC4-6F175D3DCCD1}">
                  <a14:hiddenFill xmlns:a14="http://schemas.microsoft.com/office/drawing/2010/main">
                    <a:solidFill>
                      <a:srgbClr val="FFFFFF"/>
                    </a:solidFill>
                  </a14:hiddenFill>
                </a:ext>
              </a:extLst>
            </p:spPr>
          </p:pic>
        </p:grpSp>
      </p:grpSp>
      <p:sp>
        <p:nvSpPr>
          <p:cNvPr id="123" name="TextBox 122">
            <a:extLst>
              <a:ext uri="{FF2B5EF4-FFF2-40B4-BE49-F238E27FC236}">
                <a16:creationId xmlns:a16="http://schemas.microsoft.com/office/drawing/2014/main" id="{97067432-D514-4D7D-92FB-0B65680E868D}"/>
              </a:ext>
            </a:extLst>
          </p:cNvPr>
          <p:cNvSpPr txBox="1"/>
          <p:nvPr userDrawn="1"/>
        </p:nvSpPr>
        <p:spPr>
          <a:xfrm>
            <a:off x="3091115" y="5474688"/>
            <a:ext cx="1238204" cy="553998"/>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srgbClr val="007239"/>
                </a:solidFill>
                <a:effectLst/>
                <a:uLnTx/>
                <a:uFillTx/>
                <a:latin typeface="Arial" panose="020B0604020202020204" pitchFamily="34" charset="0"/>
                <a:ea typeface="Roboto"/>
                <a:cs typeface="Arial" panose="020B0604020202020204" pitchFamily="34" charset="0"/>
              </a:rPr>
              <a:t>Melissa Peer</a:t>
            </a:r>
            <a:endParaRPr kumimoji="0" lang="en-US" sz="1000" i="0" u="none" strike="noStrike" kern="1200" cap="none" spc="0" normalizeH="0" baseline="0" noProof="0">
              <a:ln>
                <a:noFill/>
              </a:ln>
              <a:solidFill>
                <a:srgbClr val="007239"/>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Vice Presid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6"/>
                </a:solidFill>
                <a:effectLst/>
                <a:uLnTx/>
                <a:uFillTx/>
                <a:latin typeface="Arial" panose="020B0604020202020204" pitchFamily="34" charset="0"/>
                <a:ea typeface="Roboto"/>
                <a:cs typeface="Arial" panose="020B0604020202020204" pitchFamily="34" charset="0"/>
              </a:rPr>
              <a:t>Human Resources</a:t>
            </a:r>
          </a:p>
        </p:txBody>
      </p:sp>
      <p:pic>
        <p:nvPicPr>
          <p:cNvPr id="144" name="Picture 143" descr="A person with blonde hair&#10;&#10;Description automatically generated with medium confidence">
            <a:extLst>
              <a:ext uri="{FF2B5EF4-FFF2-40B4-BE49-F238E27FC236}">
                <a16:creationId xmlns:a16="http://schemas.microsoft.com/office/drawing/2014/main" id="{AC50C137-BCEF-46A5-BFE2-383DFD3872F7}"/>
              </a:ext>
            </a:extLst>
          </p:cNvPr>
          <p:cNvPicPr>
            <a:picLocks noChangeAspect="1"/>
          </p:cNvPicPr>
          <p:nvPr userDrawn="1"/>
        </p:nvPicPr>
        <p:blipFill rotWithShape="1">
          <a:blip r:embed="rId12" cstate="screen">
            <a:extLst>
              <a:ext uri="{28A0092B-C50C-407E-A947-70E740481C1C}">
                <a14:useLocalDpi xmlns:a14="http://schemas.microsoft.com/office/drawing/2010/main" val="0"/>
              </a:ext>
            </a:extLst>
          </a:blip>
          <a:srcRect l="-3196" t="-1193"/>
          <a:stretch/>
        </p:blipFill>
        <p:spPr>
          <a:xfrm>
            <a:off x="3033164" y="3978520"/>
            <a:ext cx="1360684" cy="1360684"/>
          </a:xfrm>
          <a:prstGeom prst="ellipse">
            <a:avLst/>
          </a:prstGeom>
        </p:spPr>
      </p:pic>
    </p:spTree>
    <p:extLst>
      <p:ext uri="{BB962C8B-B14F-4D97-AF65-F5344CB8AC3E}">
        <p14:creationId xmlns:p14="http://schemas.microsoft.com/office/powerpoint/2010/main" val="1782781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Our Brand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10" name="Picture 9">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81064" y="6462795"/>
            <a:ext cx="1184456" cy="168599"/>
          </a:xfrm>
          <a:prstGeom prst="rect">
            <a:avLst/>
          </a:prstGeom>
        </p:spPr>
      </p:pic>
      <p:sp>
        <p:nvSpPr>
          <p:cNvPr id="9" name="Content Placeholder 3">
            <a:extLst>
              <a:ext uri="{FF2B5EF4-FFF2-40B4-BE49-F238E27FC236}">
                <a16:creationId xmlns:a16="http://schemas.microsoft.com/office/drawing/2014/main" id="{0CCC8F55-808F-2445-9547-E563FA54297D}"/>
              </a:ext>
            </a:extLst>
          </p:cNvPr>
          <p:cNvSpPr txBox="1">
            <a:spLocks/>
          </p:cNvSpPr>
          <p:nvPr userDrawn="1"/>
        </p:nvSpPr>
        <p:spPr>
          <a:xfrm>
            <a:off x="838200" y="1690688"/>
            <a:ext cx="1611134" cy="341632"/>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Lighting</a:t>
            </a:r>
          </a:p>
        </p:txBody>
      </p:sp>
      <p:sp>
        <p:nvSpPr>
          <p:cNvPr id="11" name="Content Placeholder 3">
            <a:extLst>
              <a:ext uri="{FF2B5EF4-FFF2-40B4-BE49-F238E27FC236}">
                <a16:creationId xmlns:a16="http://schemas.microsoft.com/office/drawing/2014/main" id="{BFE8A462-4865-BF4E-B08F-CD05A7FBB79E}"/>
              </a:ext>
            </a:extLst>
          </p:cNvPr>
          <p:cNvSpPr txBox="1">
            <a:spLocks/>
          </p:cNvSpPr>
          <p:nvPr userDrawn="1"/>
        </p:nvSpPr>
        <p:spPr>
          <a:xfrm>
            <a:off x="838200" y="3526509"/>
            <a:ext cx="1611134"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Controls</a:t>
            </a:r>
          </a:p>
        </p:txBody>
      </p:sp>
      <p:sp>
        <p:nvSpPr>
          <p:cNvPr id="12" name="Content Placeholder 3">
            <a:extLst>
              <a:ext uri="{FF2B5EF4-FFF2-40B4-BE49-F238E27FC236}">
                <a16:creationId xmlns:a16="http://schemas.microsoft.com/office/drawing/2014/main" id="{C248DEB2-FC14-E04F-B021-DD0669CEF7D5}"/>
              </a:ext>
            </a:extLst>
          </p:cNvPr>
          <p:cNvSpPr txBox="1">
            <a:spLocks/>
          </p:cNvSpPr>
          <p:nvPr userDrawn="1"/>
        </p:nvSpPr>
        <p:spPr>
          <a:xfrm>
            <a:off x="838200" y="4311961"/>
            <a:ext cx="2214364"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Components</a:t>
            </a:r>
            <a:endParaRPr kumimoji="0" lang="en-US" sz="1800" b="0" i="0" u="none" strike="noStrike" kern="1200" cap="none" spc="0" normalizeH="0" baseline="0" noProof="0" dirty="0">
              <a:ln>
                <a:noFill/>
              </a:ln>
              <a:solidFill>
                <a:srgbClr val="007239"/>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13" name="Content Placeholder 3">
            <a:extLst>
              <a:ext uri="{FF2B5EF4-FFF2-40B4-BE49-F238E27FC236}">
                <a16:creationId xmlns:a16="http://schemas.microsoft.com/office/drawing/2014/main" id="{4B7240EB-A4BF-1E46-9E97-1E2D9E8D96BE}"/>
              </a:ext>
            </a:extLst>
          </p:cNvPr>
          <p:cNvSpPr txBox="1">
            <a:spLocks/>
          </p:cNvSpPr>
          <p:nvPr userDrawn="1"/>
        </p:nvSpPr>
        <p:spPr>
          <a:xfrm>
            <a:off x="838200" y="5072293"/>
            <a:ext cx="1961968"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Daylighting</a:t>
            </a:r>
          </a:p>
        </p:txBody>
      </p:sp>
      <p:sp>
        <p:nvSpPr>
          <p:cNvPr id="44" name="Content Placeholder 3">
            <a:extLst>
              <a:ext uri="{FF2B5EF4-FFF2-40B4-BE49-F238E27FC236}">
                <a16:creationId xmlns:a16="http://schemas.microsoft.com/office/drawing/2014/main" id="{2DC1ED16-63DD-4C16-9737-FB1F817515E7}"/>
              </a:ext>
            </a:extLst>
          </p:cNvPr>
          <p:cNvSpPr txBox="1">
            <a:spLocks/>
          </p:cNvSpPr>
          <p:nvPr userDrawn="1"/>
        </p:nvSpPr>
        <p:spPr>
          <a:xfrm>
            <a:off x="838200" y="5701594"/>
            <a:ext cx="2106381"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Intelligent Spaces</a:t>
            </a:r>
            <a:endParaRPr kumimoji="0" lang="en-US" sz="1800" b="0" i="0" u="none" strike="noStrike" kern="1200" cap="none" spc="0" normalizeH="0" baseline="0" noProof="0" dirty="0">
              <a:ln>
                <a:noFill/>
              </a:ln>
              <a:solidFill>
                <a:srgbClr val="007239"/>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2" name="Footer Placeholder 1">
            <a:extLst>
              <a:ext uri="{FF2B5EF4-FFF2-40B4-BE49-F238E27FC236}">
                <a16:creationId xmlns:a16="http://schemas.microsoft.com/office/drawing/2014/main" id="{6DCD5D5A-76C1-4213-A018-3A9E32CF721F}"/>
              </a:ext>
            </a:extLst>
          </p:cNvPr>
          <p:cNvSpPr>
            <a:spLocks noGrp="1"/>
          </p:cNvSpPr>
          <p:nvPr>
            <p:ph type="ftr" sz="quarter" idx="10"/>
          </p:nvPr>
        </p:nvSpPr>
        <p:spPr>
          <a:xfrm>
            <a:off x="7239000" y="6356350"/>
            <a:ext cx="4114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95965"/>
                </a:solidFill>
                <a:effectLst/>
                <a:uLnTx/>
                <a:uFillTx/>
                <a:latin typeface="Arial"/>
                <a:ea typeface="Times New Roman" panose="02020603050405020304" pitchFamily="18" charset="0"/>
                <a:cs typeface="+mn-cs"/>
              </a:rPr>
              <a:t>Proprietary &amp; Confidential</a:t>
            </a:r>
            <a:endParaRPr kumimoji="0" lang="en-US" sz="800" b="0" i="0" u="none" strike="noStrike" kern="1200" cap="none" spc="0" normalizeH="0" baseline="0" noProof="0" dirty="0">
              <a:ln>
                <a:noFill/>
              </a:ln>
              <a:solidFill>
                <a:srgbClr val="495965"/>
              </a:solidFill>
              <a:effectLst/>
              <a:uLnTx/>
              <a:uFillTx/>
              <a:latin typeface="Arial"/>
              <a:ea typeface="+mn-ea"/>
              <a:cs typeface="+mn-cs"/>
            </a:endParaRPr>
          </a:p>
        </p:txBody>
      </p:sp>
      <p:sp>
        <p:nvSpPr>
          <p:cNvPr id="300" name="TextBox 299">
            <a:extLst>
              <a:ext uri="{FF2B5EF4-FFF2-40B4-BE49-F238E27FC236}">
                <a16:creationId xmlns:a16="http://schemas.microsoft.com/office/drawing/2014/main" id="{1C43139C-FCA6-4868-8078-E05535D11E48}"/>
              </a:ext>
            </a:extLst>
          </p:cNvPr>
          <p:cNvSpPr txBox="1"/>
          <p:nvPr userDrawn="1"/>
        </p:nvSpPr>
        <p:spPr>
          <a:xfrm>
            <a:off x="838200" y="679764"/>
            <a:ext cx="105156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495965"/>
                </a:solidFill>
                <a:effectLst/>
                <a:uLnTx/>
                <a:uFillTx/>
                <a:latin typeface="Avenir Next LT Pro"/>
                <a:ea typeface="+mn-ea"/>
                <a:cs typeface="+mn-cs"/>
              </a:rPr>
              <a:t>Our Brands</a:t>
            </a:r>
          </a:p>
        </p:txBody>
      </p:sp>
      <p:grpSp>
        <p:nvGrpSpPr>
          <p:cNvPr id="5" name="Group 4">
            <a:extLst>
              <a:ext uri="{FF2B5EF4-FFF2-40B4-BE49-F238E27FC236}">
                <a16:creationId xmlns:a16="http://schemas.microsoft.com/office/drawing/2014/main" id="{64B16C98-CCEE-4A02-816F-48848BB49CAA}"/>
              </a:ext>
            </a:extLst>
          </p:cNvPr>
          <p:cNvGrpSpPr/>
          <p:nvPr userDrawn="1"/>
        </p:nvGrpSpPr>
        <p:grpSpPr>
          <a:xfrm>
            <a:off x="3339353" y="1690688"/>
            <a:ext cx="7746123" cy="218095"/>
            <a:chOff x="3339353" y="1729940"/>
            <a:chExt cx="7746123" cy="218095"/>
          </a:xfrm>
        </p:grpSpPr>
        <p:grpSp>
          <p:nvGrpSpPr>
            <p:cNvPr id="116" name="Group 115">
              <a:extLst>
                <a:ext uri="{FF2B5EF4-FFF2-40B4-BE49-F238E27FC236}">
                  <a16:creationId xmlns:a16="http://schemas.microsoft.com/office/drawing/2014/main" id="{C3A6D314-56C0-4EFC-B292-5BD9CF1F7531}"/>
                </a:ext>
              </a:extLst>
            </p:cNvPr>
            <p:cNvGrpSpPr/>
            <p:nvPr userDrawn="1"/>
          </p:nvGrpSpPr>
          <p:grpSpPr>
            <a:xfrm>
              <a:off x="4890533" y="1736670"/>
              <a:ext cx="793339" cy="204635"/>
              <a:chOff x="5381625" y="3243262"/>
              <a:chExt cx="1430178" cy="368902"/>
            </a:xfrm>
          </p:grpSpPr>
          <p:sp>
            <p:nvSpPr>
              <p:cNvPr id="117" name="Freeform: Shape 116">
                <a:extLst>
                  <a:ext uri="{FF2B5EF4-FFF2-40B4-BE49-F238E27FC236}">
                    <a16:creationId xmlns:a16="http://schemas.microsoft.com/office/drawing/2014/main" id="{F41868EF-ECAA-4FC4-B819-383DDC1A312B}"/>
                  </a:ext>
                </a:extLst>
              </p:cNvPr>
              <p:cNvSpPr/>
              <p:nvPr/>
            </p:nvSpPr>
            <p:spPr>
              <a:xfrm>
                <a:off x="5381625" y="3601878"/>
                <a:ext cx="1430178" cy="10286"/>
              </a:xfrm>
              <a:custGeom>
                <a:avLst/>
                <a:gdLst>
                  <a:gd name="connsiteX0" fmla="*/ 1430179 w 1430178"/>
                  <a:gd name="connsiteY0" fmla="*/ 10287 h 10286"/>
                  <a:gd name="connsiteX1" fmla="*/ 0 w 1430178"/>
                  <a:gd name="connsiteY1" fmla="*/ 10287 h 10286"/>
                  <a:gd name="connsiteX2" fmla="*/ 0 w 1430178"/>
                  <a:gd name="connsiteY2" fmla="*/ 0 h 10286"/>
                  <a:gd name="connsiteX3" fmla="*/ 1430179 w 1430178"/>
                  <a:gd name="connsiteY3" fmla="*/ 0 h 10286"/>
                  <a:gd name="connsiteX4" fmla="*/ 1430179 w 1430178"/>
                  <a:gd name="connsiteY4" fmla="*/ 10287 h 10286"/>
                  <a:gd name="connsiteX5" fmla="*/ 1430179 w 1430178"/>
                  <a:gd name="connsiteY5"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0178" h="10286">
                    <a:moveTo>
                      <a:pt x="1430179" y="10287"/>
                    </a:moveTo>
                    <a:lnTo>
                      <a:pt x="0" y="10287"/>
                    </a:lnTo>
                    <a:lnTo>
                      <a:pt x="0" y="0"/>
                    </a:lnTo>
                    <a:lnTo>
                      <a:pt x="1430179" y="0"/>
                    </a:lnTo>
                    <a:lnTo>
                      <a:pt x="1430179" y="10287"/>
                    </a:lnTo>
                    <a:lnTo>
                      <a:pt x="1430179" y="10287"/>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8" name="Freeform: Shape 117">
                <a:extLst>
                  <a:ext uri="{FF2B5EF4-FFF2-40B4-BE49-F238E27FC236}">
                    <a16:creationId xmlns:a16="http://schemas.microsoft.com/office/drawing/2014/main" id="{905C0B0F-A1F9-4655-AAF7-6BFFD9BA491C}"/>
                  </a:ext>
                </a:extLst>
              </p:cNvPr>
              <p:cNvSpPr/>
              <p:nvPr/>
            </p:nvSpPr>
            <p:spPr>
              <a:xfrm>
                <a:off x="5434679" y="3324510"/>
                <a:ext cx="151828" cy="176212"/>
              </a:xfrm>
              <a:custGeom>
                <a:avLst/>
                <a:gdLst>
                  <a:gd name="connsiteX0" fmla="*/ 93440 w 151828"/>
                  <a:gd name="connsiteY0" fmla="*/ 72104 h 176212"/>
                  <a:gd name="connsiteX1" fmla="*/ 58674 w 151828"/>
                  <a:gd name="connsiteY1" fmla="*/ 87439 h 176212"/>
                  <a:gd name="connsiteX2" fmla="*/ 32385 w 151828"/>
                  <a:gd name="connsiteY2" fmla="*/ 124397 h 176212"/>
                  <a:gd name="connsiteX3" fmla="*/ 43339 w 151828"/>
                  <a:gd name="connsiteY3" fmla="*/ 148876 h 176212"/>
                  <a:gd name="connsiteX4" fmla="*/ 59245 w 151828"/>
                  <a:gd name="connsiteY4" fmla="*/ 154019 h 176212"/>
                  <a:gd name="connsiteX5" fmla="*/ 82391 w 151828"/>
                  <a:gd name="connsiteY5" fmla="*/ 147257 h 176212"/>
                  <a:gd name="connsiteX6" fmla="*/ 93440 w 151828"/>
                  <a:gd name="connsiteY6" fmla="*/ 130112 h 176212"/>
                  <a:gd name="connsiteX7" fmla="*/ 93440 w 151828"/>
                  <a:gd name="connsiteY7" fmla="*/ 72104 h 176212"/>
                  <a:gd name="connsiteX8" fmla="*/ 93440 w 151828"/>
                  <a:gd name="connsiteY8" fmla="*/ 72104 h 176212"/>
                  <a:gd name="connsiteX9" fmla="*/ 26384 w 151828"/>
                  <a:gd name="connsiteY9" fmla="*/ 92774 h 176212"/>
                  <a:gd name="connsiteX10" fmla="*/ 93440 w 151828"/>
                  <a:gd name="connsiteY10" fmla="*/ 62960 h 176212"/>
                  <a:gd name="connsiteX11" fmla="*/ 93440 w 151828"/>
                  <a:gd name="connsiteY11" fmla="*/ 47435 h 176212"/>
                  <a:gd name="connsiteX12" fmla="*/ 89821 w 151828"/>
                  <a:gd name="connsiteY12" fmla="*/ 21431 h 176212"/>
                  <a:gd name="connsiteX13" fmla="*/ 64008 w 151828"/>
                  <a:gd name="connsiteY13" fmla="*/ 9144 h 176212"/>
                  <a:gd name="connsiteX14" fmla="*/ 46292 w 151828"/>
                  <a:gd name="connsiteY14" fmla="*/ 13907 h 176212"/>
                  <a:gd name="connsiteX15" fmla="*/ 37910 w 151828"/>
                  <a:gd name="connsiteY15" fmla="*/ 27432 h 176212"/>
                  <a:gd name="connsiteX16" fmla="*/ 38862 w 151828"/>
                  <a:gd name="connsiteY16" fmla="*/ 34862 h 176212"/>
                  <a:gd name="connsiteX17" fmla="*/ 39815 w 151828"/>
                  <a:gd name="connsiteY17" fmla="*/ 41529 h 176212"/>
                  <a:gd name="connsiteX18" fmla="*/ 33052 w 151828"/>
                  <a:gd name="connsiteY18" fmla="*/ 55817 h 176212"/>
                  <a:gd name="connsiteX19" fmla="*/ 23908 w 151828"/>
                  <a:gd name="connsiteY19" fmla="*/ 58198 h 176212"/>
                  <a:gd name="connsiteX20" fmla="*/ 11335 w 151828"/>
                  <a:gd name="connsiteY20" fmla="*/ 52769 h 176212"/>
                  <a:gd name="connsiteX21" fmla="*/ 6953 w 151828"/>
                  <a:gd name="connsiteY21" fmla="*/ 40767 h 176212"/>
                  <a:gd name="connsiteX22" fmla="*/ 22765 w 151828"/>
                  <a:gd name="connsiteY22" fmla="*/ 14002 h 176212"/>
                  <a:gd name="connsiteX23" fmla="*/ 69152 w 151828"/>
                  <a:gd name="connsiteY23" fmla="*/ 0 h 176212"/>
                  <a:gd name="connsiteX24" fmla="*/ 117253 w 151828"/>
                  <a:gd name="connsiteY24" fmla="*/ 23051 h 176212"/>
                  <a:gd name="connsiteX25" fmla="*/ 124016 w 151828"/>
                  <a:gd name="connsiteY25" fmla="*/ 59817 h 176212"/>
                  <a:gd name="connsiteX26" fmla="*/ 124016 w 151828"/>
                  <a:gd name="connsiteY26" fmla="*/ 133160 h 176212"/>
                  <a:gd name="connsiteX27" fmla="*/ 125444 w 151828"/>
                  <a:gd name="connsiteY27" fmla="*/ 147828 h 176212"/>
                  <a:gd name="connsiteX28" fmla="*/ 135350 w 151828"/>
                  <a:gd name="connsiteY28" fmla="*/ 154972 h 176212"/>
                  <a:gd name="connsiteX29" fmla="*/ 142304 w 151828"/>
                  <a:gd name="connsiteY29" fmla="*/ 153638 h 176212"/>
                  <a:gd name="connsiteX30" fmla="*/ 151829 w 151828"/>
                  <a:gd name="connsiteY30" fmla="*/ 147447 h 176212"/>
                  <a:gd name="connsiteX31" fmla="*/ 151829 w 151828"/>
                  <a:gd name="connsiteY31" fmla="*/ 156972 h 176212"/>
                  <a:gd name="connsiteX32" fmla="*/ 139160 w 151828"/>
                  <a:gd name="connsiteY32" fmla="*/ 168688 h 176212"/>
                  <a:gd name="connsiteX33" fmla="*/ 118301 w 151828"/>
                  <a:gd name="connsiteY33" fmla="*/ 175641 h 176212"/>
                  <a:gd name="connsiteX34" fmla="*/ 100298 w 151828"/>
                  <a:gd name="connsiteY34" fmla="*/ 167545 h 176212"/>
                  <a:gd name="connsiteX35" fmla="*/ 94202 w 151828"/>
                  <a:gd name="connsiteY35" fmla="*/ 148400 h 176212"/>
                  <a:gd name="connsiteX36" fmla="*/ 70390 w 151828"/>
                  <a:gd name="connsiteY36" fmla="*/ 166307 h 176212"/>
                  <a:gd name="connsiteX37" fmla="*/ 38767 w 151828"/>
                  <a:gd name="connsiteY37" fmla="*/ 176213 h 176212"/>
                  <a:gd name="connsiteX38" fmla="*/ 11525 w 151828"/>
                  <a:gd name="connsiteY38" fmla="*/ 165164 h 176212"/>
                  <a:gd name="connsiteX39" fmla="*/ 0 w 151828"/>
                  <a:gd name="connsiteY39" fmla="*/ 137065 h 176212"/>
                  <a:gd name="connsiteX40" fmla="*/ 26480 w 151828"/>
                  <a:gd name="connsiteY40" fmla="*/ 92869 h 176212"/>
                  <a:gd name="connsiteX41" fmla="*/ 26480 w 151828"/>
                  <a:gd name="connsiteY41" fmla="*/ 92869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1828" h="176212">
                    <a:moveTo>
                      <a:pt x="93440" y="72104"/>
                    </a:moveTo>
                    <a:cubicBezTo>
                      <a:pt x="79439" y="76772"/>
                      <a:pt x="67818" y="81820"/>
                      <a:pt x="58674" y="87439"/>
                    </a:cubicBezTo>
                    <a:cubicBezTo>
                      <a:pt x="41148" y="98298"/>
                      <a:pt x="32385" y="110585"/>
                      <a:pt x="32385" y="124397"/>
                    </a:cubicBezTo>
                    <a:cubicBezTo>
                      <a:pt x="32385" y="135446"/>
                      <a:pt x="36005" y="143637"/>
                      <a:pt x="43339" y="148876"/>
                    </a:cubicBezTo>
                    <a:cubicBezTo>
                      <a:pt x="48101" y="152305"/>
                      <a:pt x="53435" y="154019"/>
                      <a:pt x="59245" y="154019"/>
                    </a:cubicBezTo>
                    <a:cubicBezTo>
                      <a:pt x="67342" y="154019"/>
                      <a:pt x="74962" y="151733"/>
                      <a:pt x="82391" y="147257"/>
                    </a:cubicBezTo>
                    <a:cubicBezTo>
                      <a:pt x="89726" y="142780"/>
                      <a:pt x="93440" y="137065"/>
                      <a:pt x="93440" y="130112"/>
                    </a:cubicBezTo>
                    <a:lnTo>
                      <a:pt x="93440" y="72104"/>
                    </a:lnTo>
                    <a:lnTo>
                      <a:pt x="93440" y="72104"/>
                    </a:lnTo>
                    <a:close/>
                    <a:moveTo>
                      <a:pt x="26384" y="92774"/>
                    </a:moveTo>
                    <a:cubicBezTo>
                      <a:pt x="37624" y="85439"/>
                      <a:pt x="60007" y="75533"/>
                      <a:pt x="93440" y="62960"/>
                    </a:cubicBezTo>
                    <a:lnTo>
                      <a:pt x="93440" y="47435"/>
                    </a:lnTo>
                    <a:cubicBezTo>
                      <a:pt x="93440" y="34957"/>
                      <a:pt x="92202" y="26384"/>
                      <a:pt x="89821" y="21431"/>
                    </a:cubicBezTo>
                    <a:cubicBezTo>
                      <a:pt x="85725" y="13240"/>
                      <a:pt x="77057" y="9144"/>
                      <a:pt x="64008" y="9144"/>
                    </a:cubicBezTo>
                    <a:cubicBezTo>
                      <a:pt x="57817" y="9144"/>
                      <a:pt x="51816" y="10763"/>
                      <a:pt x="46292" y="13907"/>
                    </a:cubicBezTo>
                    <a:cubicBezTo>
                      <a:pt x="40672" y="17240"/>
                      <a:pt x="37910" y="21717"/>
                      <a:pt x="37910" y="27432"/>
                    </a:cubicBezTo>
                    <a:cubicBezTo>
                      <a:pt x="37910" y="28861"/>
                      <a:pt x="38195" y="31337"/>
                      <a:pt x="38862" y="34862"/>
                    </a:cubicBezTo>
                    <a:cubicBezTo>
                      <a:pt x="39529" y="38291"/>
                      <a:pt x="39815" y="40577"/>
                      <a:pt x="39815" y="41529"/>
                    </a:cubicBezTo>
                    <a:cubicBezTo>
                      <a:pt x="39815" y="48387"/>
                      <a:pt x="37529" y="53150"/>
                      <a:pt x="33052" y="55817"/>
                    </a:cubicBezTo>
                    <a:cubicBezTo>
                      <a:pt x="30480" y="57436"/>
                      <a:pt x="27432" y="58198"/>
                      <a:pt x="23908" y="58198"/>
                    </a:cubicBezTo>
                    <a:cubicBezTo>
                      <a:pt x="18479" y="58198"/>
                      <a:pt x="14192" y="56388"/>
                      <a:pt x="11335" y="52769"/>
                    </a:cubicBezTo>
                    <a:cubicBezTo>
                      <a:pt x="8382" y="49149"/>
                      <a:pt x="6953" y="45149"/>
                      <a:pt x="6953" y="40767"/>
                    </a:cubicBezTo>
                    <a:cubicBezTo>
                      <a:pt x="6953" y="32290"/>
                      <a:pt x="12192" y="23336"/>
                      <a:pt x="22765" y="14002"/>
                    </a:cubicBezTo>
                    <a:cubicBezTo>
                      <a:pt x="33337" y="4667"/>
                      <a:pt x="48768" y="0"/>
                      <a:pt x="69152" y="0"/>
                    </a:cubicBezTo>
                    <a:cubicBezTo>
                      <a:pt x="92774" y="0"/>
                      <a:pt x="108871" y="7715"/>
                      <a:pt x="117253" y="23051"/>
                    </a:cubicBezTo>
                    <a:cubicBezTo>
                      <a:pt x="121730" y="31433"/>
                      <a:pt x="124016" y="43720"/>
                      <a:pt x="124016" y="59817"/>
                    </a:cubicBezTo>
                    <a:lnTo>
                      <a:pt x="124016" y="133160"/>
                    </a:lnTo>
                    <a:cubicBezTo>
                      <a:pt x="124016" y="140208"/>
                      <a:pt x="124492" y="145066"/>
                      <a:pt x="125444" y="147828"/>
                    </a:cubicBezTo>
                    <a:cubicBezTo>
                      <a:pt x="126968" y="152591"/>
                      <a:pt x="130302" y="154972"/>
                      <a:pt x="135350" y="154972"/>
                    </a:cubicBezTo>
                    <a:cubicBezTo>
                      <a:pt x="138113" y="154972"/>
                      <a:pt x="140494" y="154496"/>
                      <a:pt x="142304" y="153638"/>
                    </a:cubicBezTo>
                    <a:cubicBezTo>
                      <a:pt x="144113" y="152781"/>
                      <a:pt x="147352" y="150686"/>
                      <a:pt x="151829" y="147447"/>
                    </a:cubicBezTo>
                    <a:lnTo>
                      <a:pt x="151829" y="156972"/>
                    </a:lnTo>
                    <a:cubicBezTo>
                      <a:pt x="147923" y="161735"/>
                      <a:pt x="143732" y="165640"/>
                      <a:pt x="139160" y="168688"/>
                    </a:cubicBezTo>
                    <a:cubicBezTo>
                      <a:pt x="132302" y="173355"/>
                      <a:pt x="125349" y="175641"/>
                      <a:pt x="118301" y="175641"/>
                    </a:cubicBezTo>
                    <a:cubicBezTo>
                      <a:pt x="110014" y="175641"/>
                      <a:pt x="104013" y="172974"/>
                      <a:pt x="100298" y="167545"/>
                    </a:cubicBezTo>
                    <a:cubicBezTo>
                      <a:pt x="96584" y="162211"/>
                      <a:pt x="94488" y="155829"/>
                      <a:pt x="94202" y="148400"/>
                    </a:cubicBezTo>
                    <a:cubicBezTo>
                      <a:pt x="84868" y="156401"/>
                      <a:pt x="76962" y="162401"/>
                      <a:pt x="70390" y="166307"/>
                    </a:cubicBezTo>
                    <a:cubicBezTo>
                      <a:pt x="59341" y="172879"/>
                      <a:pt x="48768" y="176213"/>
                      <a:pt x="38767" y="176213"/>
                    </a:cubicBezTo>
                    <a:cubicBezTo>
                      <a:pt x="28766" y="176213"/>
                      <a:pt x="19241" y="172498"/>
                      <a:pt x="11525" y="165164"/>
                    </a:cubicBezTo>
                    <a:cubicBezTo>
                      <a:pt x="3810" y="157829"/>
                      <a:pt x="0" y="148400"/>
                      <a:pt x="0" y="137065"/>
                    </a:cubicBezTo>
                    <a:cubicBezTo>
                      <a:pt x="0" y="119444"/>
                      <a:pt x="8858" y="104680"/>
                      <a:pt x="26480" y="92869"/>
                    </a:cubicBezTo>
                    <a:lnTo>
                      <a:pt x="26480" y="92869"/>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9" name="Freeform: Shape 118">
                <a:extLst>
                  <a:ext uri="{FF2B5EF4-FFF2-40B4-BE49-F238E27FC236}">
                    <a16:creationId xmlns:a16="http://schemas.microsoft.com/office/drawing/2014/main" id="{A00827BB-2492-4894-9B17-11C014D1AEDB}"/>
                  </a:ext>
                </a:extLst>
              </p:cNvPr>
              <p:cNvSpPr/>
              <p:nvPr/>
            </p:nvSpPr>
            <p:spPr>
              <a:xfrm>
                <a:off x="5665184" y="3383851"/>
                <a:ext cx="31051" cy="31146"/>
              </a:xfrm>
              <a:custGeom>
                <a:avLst/>
                <a:gdLst>
                  <a:gd name="connsiteX0" fmla="*/ 4477 w 31051"/>
                  <a:gd name="connsiteY0" fmla="*/ 26575 h 31146"/>
                  <a:gd name="connsiteX1" fmla="*/ 0 w 31051"/>
                  <a:gd name="connsiteY1" fmla="*/ 15526 h 31146"/>
                  <a:gd name="connsiteX2" fmla="*/ 4572 w 31051"/>
                  <a:gd name="connsiteY2" fmla="*/ 4572 h 31146"/>
                  <a:gd name="connsiteX3" fmla="*/ 15621 w 31051"/>
                  <a:gd name="connsiteY3" fmla="*/ 0 h 31146"/>
                  <a:gd name="connsiteX4" fmla="*/ 26575 w 31051"/>
                  <a:gd name="connsiteY4" fmla="*/ 4572 h 31146"/>
                  <a:gd name="connsiteX5" fmla="*/ 31051 w 31051"/>
                  <a:gd name="connsiteY5" fmla="*/ 15526 h 31146"/>
                  <a:gd name="connsiteX6" fmla="*/ 26479 w 31051"/>
                  <a:gd name="connsiteY6" fmla="*/ 26575 h 31146"/>
                  <a:gd name="connsiteX7" fmla="*/ 15621 w 31051"/>
                  <a:gd name="connsiteY7" fmla="*/ 31147 h 31146"/>
                  <a:gd name="connsiteX8" fmla="*/ 4572 w 31051"/>
                  <a:gd name="connsiteY8" fmla="*/ 26575 h 31146"/>
                  <a:gd name="connsiteX9" fmla="*/ 4572 w 31051"/>
                  <a:gd name="connsiteY9" fmla="*/ 26575 h 3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1" h="31146">
                    <a:moveTo>
                      <a:pt x="4477" y="26575"/>
                    </a:moveTo>
                    <a:cubicBezTo>
                      <a:pt x="1429" y="23527"/>
                      <a:pt x="0" y="19812"/>
                      <a:pt x="0" y="15526"/>
                    </a:cubicBezTo>
                    <a:cubicBezTo>
                      <a:pt x="0" y="11239"/>
                      <a:pt x="1524" y="7525"/>
                      <a:pt x="4572" y="4572"/>
                    </a:cubicBezTo>
                    <a:cubicBezTo>
                      <a:pt x="7620" y="1524"/>
                      <a:pt x="11240" y="0"/>
                      <a:pt x="15621" y="0"/>
                    </a:cubicBezTo>
                    <a:cubicBezTo>
                      <a:pt x="20003" y="0"/>
                      <a:pt x="23527" y="1524"/>
                      <a:pt x="26575" y="4572"/>
                    </a:cubicBezTo>
                    <a:cubicBezTo>
                      <a:pt x="29527" y="7620"/>
                      <a:pt x="31051" y="11239"/>
                      <a:pt x="31051" y="15526"/>
                    </a:cubicBezTo>
                    <a:cubicBezTo>
                      <a:pt x="31051" y="19812"/>
                      <a:pt x="29527" y="23527"/>
                      <a:pt x="26479" y="26575"/>
                    </a:cubicBezTo>
                    <a:cubicBezTo>
                      <a:pt x="23431" y="29623"/>
                      <a:pt x="19812" y="31147"/>
                      <a:pt x="15621" y="31147"/>
                    </a:cubicBezTo>
                    <a:cubicBezTo>
                      <a:pt x="11430" y="31147"/>
                      <a:pt x="7620" y="29623"/>
                      <a:pt x="4572" y="26575"/>
                    </a:cubicBezTo>
                    <a:lnTo>
                      <a:pt x="4572" y="2657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0" name="Freeform: Shape 119">
                <a:extLst>
                  <a:ext uri="{FF2B5EF4-FFF2-40B4-BE49-F238E27FC236}">
                    <a16:creationId xmlns:a16="http://schemas.microsoft.com/office/drawing/2014/main" id="{7F8F1B39-8F97-440E-AE42-6FE18B1BEA25}"/>
                  </a:ext>
                </a:extLst>
              </p:cNvPr>
              <p:cNvSpPr/>
              <p:nvPr/>
            </p:nvSpPr>
            <p:spPr>
              <a:xfrm>
                <a:off x="5788818" y="3243262"/>
                <a:ext cx="84296" cy="257460"/>
              </a:xfrm>
              <a:custGeom>
                <a:avLst/>
                <a:gdLst>
                  <a:gd name="connsiteX0" fmla="*/ 57531 w 84296"/>
                  <a:gd name="connsiteY0" fmla="*/ 0 h 257460"/>
                  <a:gd name="connsiteX1" fmla="*/ 57531 w 84296"/>
                  <a:gd name="connsiteY1" fmla="*/ 219932 h 257460"/>
                  <a:gd name="connsiteX2" fmla="*/ 59817 w 84296"/>
                  <a:gd name="connsiteY2" fmla="*/ 240602 h 257460"/>
                  <a:gd name="connsiteX3" fmla="*/ 66770 w 84296"/>
                  <a:gd name="connsiteY3" fmla="*/ 248317 h 257460"/>
                  <a:gd name="connsiteX4" fmla="*/ 84296 w 84296"/>
                  <a:gd name="connsiteY4" fmla="*/ 250984 h 257460"/>
                  <a:gd name="connsiteX5" fmla="*/ 84296 w 84296"/>
                  <a:gd name="connsiteY5" fmla="*/ 257461 h 257460"/>
                  <a:gd name="connsiteX6" fmla="*/ 3048 w 84296"/>
                  <a:gd name="connsiteY6" fmla="*/ 257461 h 257460"/>
                  <a:gd name="connsiteX7" fmla="*/ 3048 w 84296"/>
                  <a:gd name="connsiteY7" fmla="*/ 250984 h 257460"/>
                  <a:gd name="connsiteX8" fmla="*/ 18574 w 84296"/>
                  <a:gd name="connsiteY8" fmla="*/ 248603 h 257460"/>
                  <a:gd name="connsiteX9" fmla="*/ 25051 w 84296"/>
                  <a:gd name="connsiteY9" fmla="*/ 240792 h 257460"/>
                  <a:gd name="connsiteX10" fmla="*/ 27432 w 84296"/>
                  <a:gd name="connsiteY10" fmla="*/ 219932 h 257460"/>
                  <a:gd name="connsiteX11" fmla="*/ 27432 w 84296"/>
                  <a:gd name="connsiteY11" fmla="*/ 69342 h 257460"/>
                  <a:gd name="connsiteX12" fmla="*/ 26194 w 84296"/>
                  <a:gd name="connsiteY12" fmla="*/ 34862 h 257460"/>
                  <a:gd name="connsiteX13" fmla="*/ 22098 w 84296"/>
                  <a:gd name="connsiteY13" fmla="*/ 26099 h 257460"/>
                  <a:gd name="connsiteX14" fmla="*/ 14954 w 84296"/>
                  <a:gd name="connsiteY14" fmla="*/ 23717 h 257460"/>
                  <a:gd name="connsiteX15" fmla="*/ 3048 w 84296"/>
                  <a:gd name="connsiteY15" fmla="*/ 26575 h 257460"/>
                  <a:gd name="connsiteX16" fmla="*/ 0 w 84296"/>
                  <a:gd name="connsiteY16" fmla="*/ 20288 h 257460"/>
                  <a:gd name="connsiteX17" fmla="*/ 49435 w 84296"/>
                  <a:gd name="connsiteY17" fmla="*/ 0 h 257460"/>
                  <a:gd name="connsiteX18" fmla="*/ 57531 w 84296"/>
                  <a:gd name="connsiteY18" fmla="*/ 0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96" h="257460">
                    <a:moveTo>
                      <a:pt x="57531" y="0"/>
                    </a:moveTo>
                    <a:lnTo>
                      <a:pt x="57531" y="219932"/>
                    </a:lnTo>
                    <a:cubicBezTo>
                      <a:pt x="57531" y="230315"/>
                      <a:pt x="58293" y="237173"/>
                      <a:pt x="59817" y="240602"/>
                    </a:cubicBezTo>
                    <a:cubicBezTo>
                      <a:pt x="61341" y="243935"/>
                      <a:pt x="63627" y="246507"/>
                      <a:pt x="66770" y="248317"/>
                    </a:cubicBezTo>
                    <a:cubicBezTo>
                      <a:pt x="69914" y="250031"/>
                      <a:pt x="75724" y="250984"/>
                      <a:pt x="84296" y="250984"/>
                    </a:cubicBezTo>
                    <a:lnTo>
                      <a:pt x="84296" y="257461"/>
                    </a:lnTo>
                    <a:lnTo>
                      <a:pt x="3048" y="257461"/>
                    </a:lnTo>
                    <a:lnTo>
                      <a:pt x="3048" y="250984"/>
                    </a:lnTo>
                    <a:cubicBezTo>
                      <a:pt x="10668" y="250984"/>
                      <a:pt x="15811" y="250222"/>
                      <a:pt x="18574" y="248603"/>
                    </a:cubicBezTo>
                    <a:cubicBezTo>
                      <a:pt x="21336" y="247079"/>
                      <a:pt x="23527" y="244412"/>
                      <a:pt x="25051" y="240792"/>
                    </a:cubicBezTo>
                    <a:cubicBezTo>
                      <a:pt x="26575" y="237173"/>
                      <a:pt x="27432" y="230219"/>
                      <a:pt x="27432" y="219932"/>
                    </a:cubicBezTo>
                    <a:lnTo>
                      <a:pt x="27432" y="69342"/>
                    </a:lnTo>
                    <a:cubicBezTo>
                      <a:pt x="27432" y="50673"/>
                      <a:pt x="27051" y="39148"/>
                      <a:pt x="26194" y="34862"/>
                    </a:cubicBezTo>
                    <a:cubicBezTo>
                      <a:pt x="25336" y="30575"/>
                      <a:pt x="24003" y="27623"/>
                      <a:pt x="22098" y="26099"/>
                    </a:cubicBezTo>
                    <a:cubicBezTo>
                      <a:pt x="20193" y="24575"/>
                      <a:pt x="17812" y="23717"/>
                      <a:pt x="14954" y="23717"/>
                    </a:cubicBezTo>
                    <a:cubicBezTo>
                      <a:pt x="11811" y="23717"/>
                      <a:pt x="7810" y="24670"/>
                      <a:pt x="3048" y="26575"/>
                    </a:cubicBezTo>
                    <a:lnTo>
                      <a:pt x="0" y="20288"/>
                    </a:lnTo>
                    <a:lnTo>
                      <a:pt x="49435" y="0"/>
                    </a:lnTo>
                    <a:lnTo>
                      <a:pt x="57531"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4624FEC0-A729-44D4-A99C-06CDA5EDF834}"/>
                  </a:ext>
                </a:extLst>
              </p:cNvPr>
              <p:cNvSpPr/>
              <p:nvPr/>
            </p:nvSpPr>
            <p:spPr>
              <a:xfrm>
                <a:off x="5965793" y="3243262"/>
                <a:ext cx="83153" cy="257460"/>
              </a:xfrm>
              <a:custGeom>
                <a:avLst/>
                <a:gdLst>
                  <a:gd name="connsiteX0" fmla="*/ 42958 w 83153"/>
                  <a:gd name="connsiteY0" fmla="*/ 0 h 257460"/>
                  <a:gd name="connsiteX1" fmla="*/ 55912 w 83153"/>
                  <a:gd name="connsiteY1" fmla="*/ 5334 h 257460"/>
                  <a:gd name="connsiteX2" fmla="*/ 61246 w 83153"/>
                  <a:gd name="connsiteY2" fmla="*/ 18288 h 257460"/>
                  <a:gd name="connsiteX3" fmla="*/ 55912 w 83153"/>
                  <a:gd name="connsiteY3" fmla="*/ 31337 h 257460"/>
                  <a:gd name="connsiteX4" fmla="*/ 42958 w 83153"/>
                  <a:gd name="connsiteY4" fmla="*/ 36767 h 257460"/>
                  <a:gd name="connsiteX5" fmla="*/ 29908 w 83153"/>
                  <a:gd name="connsiteY5" fmla="*/ 31337 h 257460"/>
                  <a:gd name="connsiteX6" fmla="*/ 24479 w 83153"/>
                  <a:gd name="connsiteY6" fmla="*/ 18288 h 257460"/>
                  <a:gd name="connsiteX7" fmla="*/ 29813 w 83153"/>
                  <a:gd name="connsiteY7" fmla="*/ 5334 h 257460"/>
                  <a:gd name="connsiteX8" fmla="*/ 42958 w 83153"/>
                  <a:gd name="connsiteY8" fmla="*/ 0 h 257460"/>
                  <a:gd name="connsiteX9" fmla="*/ 42958 w 83153"/>
                  <a:gd name="connsiteY9" fmla="*/ 0 h 257460"/>
                  <a:gd name="connsiteX10" fmla="*/ 58007 w 83153"/>
                  <a:gd name="connsiteY10" fmla="*/ 86678 h 257460"/>
                  <a:gd name="connsiteX11" fmla="*/ 58007 w 83153"/>
                  <a:gd name="connsiteY11" fmla="*/ 219932 h 257460"/>
                  <a:gd name="connsiteX12" fmla="*/ 60293 w 83153"/>
                  <a:gd name="connsiteY12" fmla="*/ 240697 h 257460"/>
                  <a:gd name="connsiteX13" fmla="*/ 66961 w 83153"/>
                  <a:gd name="connsiteY13" fmla="*/ 248412 h 257460"/>
                  <a:gd name="connsiteX14" fmla="*/ 83153 w 83153"/>
                  <a:gd name="connsiteY14" fmla="*/ 250984 h 257460"/>
                  <a:gd name="connsiteX15" fmla="*/ 83153 w 83153"/>
                  <a:gd name="connsiteY15" fmla="*/ 257461 h 257460"/>
                  <a:gd name="connsiteX16" fmla="*/ 2572 w 83153"/>
                  <a:gd name="connsiteY16" fmla="*/ 257461 h 257460"/>
                  <a:gd name="connsiteX17" fmla="*/ 2572 w 83153"/>
                  <a:gd name="connsiteY17" fmla="*/ 250984 h 257460"/>
                  <a:gd name="connsiteX18" fmla="*/ 18859 w 83153"/>
                  <a:gd name="connsiteY18" fmla="*/ 248603 h 257460"/>
                  <a:gd name="connsiteX19" fmla="*/ 25432 w 83153"/>
                  <a:gd name="connsiteY19" fmla="*/ 240792 h 257460"/>
                  <a:gd name="connsiteX20" fmla="*/ 27908 w 83153"/>
                  <a:gd name="connsiteY20" fmla="*/ 219932 h 257460"/>
                  <a:gd name="connsiteX21" fmla="*/ 27908 w 83153"/>
                  <a:gd name="connsiteY21" fmla="*/ 156019 h 257460"/>
                  <a:gd name="connsiteX22" fmla="*/ 26289 w 83153"/>
                  <a:gd name="connsiteY22" fmla="*/ 121063 h 257460"/>
                  <a:gd name="connsiteX23" fmla="*/ 22288 w 83153"/>
                  <a:gd name="connsiteY23" fmla="*/ 112967 h 257460"/>
                  <a:gd name="connsiteX24" fmla="*/ 14859 w 83153"/>
                  <a:gd name="connsiteY24" fmla="*/ 110681 h 257460"/>
                  <a:gd name="connsiteX25" fmla="*/ 2572 w 83153"/>
                  <a:gd name="connsiteY25" fmla="*/ 113348 h 257460"/>
                  <a:gd name="connsiteX26" fmla="*/ 0 w 83153"/>
                  <a:gd name="connsiteY26" fmla="*/ 106871 h 257460"/>
                  <a:gd name="connsiteX27" fmla="*/ 50006 w 83153"/>
                  <a:gd name="connsiteY27" fmla="*/ 86582 h 257460"/>
                  <a:gd name="connsiteX28" fmla="*/ 58007 w 83153"/>
                  <a:gd name="connsiteY28" fmla="*/ 86582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153" h="257460">
                    <a:moveTo>
                      <a:pt x="42958" y="0"/>
                    </a:moveTo>
                    <a:cubicBezTo>
                      <a:pt x="48006" y="0"/>
                      <a:pt x="52292" y="1810"/>
                      <a:pt x="55912" y="5334"/>
                    </a:cubicBezTo>
                    <a:cubicBezTo>
                      <a:pt x="59436" y="8858"/>
                      <a:pt x="61246" y="13240"/>
                      <a:pt x="61246" y="18288"/>
                    </a:cubicBezTo>
                    <a:cubicBezTo>
                      <a:pt x="61246" y="23336"/>
                      <a:pt x="59436" y="27718"/>
                      <a:pt x="55912" y="31337"/>
                    </a:cubicBezTo>
                    <a:cubicBezTo>
                      <a:pt x="52388" y="34957"/>
                      <a:pt x="48101" y="36767"/>
                      <a:pt x="42958" y="36767"/>
                    </a:cubicBezTo>
                    <a:cubicBezTo>
                      <a:pt x="37814" y="36767"/>
                      <a:pt x="33528" y="34957"/>
                      <a:pt x="29908" y="31337"/>
                    </a:cubicBezTo>
                    <a:cubicBezTo>
                      <a:pt x="26289" y="27718"/>
                      <a:pt x="24479" y="23336"/>
                      <a:pt x="24479" y="18288"/>
                    </a:cubicBezTo>
                    <a:cubicBezTo>
                      <a:pt x="24479" y="13240"/>
                      <a:pt x="26194" y="8858"/>
                      <a:pt x="29813" y="5334"/>
                    </a:cubicBezTo>
                    <a:cubicBezTo>
                      <a:pt x="33338" y="1810"/>
                      <a:pt x="37719" y="0"/>
                      <a:pt x="42958" y="0"/>
                    </a:cubicBezTo>
                    <a:lnTo>
                      <a:pt x="42958" y="0"/>
                    </a:lnTo>
                    <a:close/>
                    <a:moveTo>
                      <a:pt x="58007" y="86678"/>
                    </a:moveTo>
                    <a:lnTo>
                      <a:pt x="58007" y="219932"/>
                    </a:lnTo>
                    <a:cubicBezTo>
                      <a:pt x="58007" y="230315"/>
                      <a:pt x="58769" y="237173"/>
                      <a:pt x="60293" y="240697"/>
                    </a:cubicBezTo>
                    <a:cubicBezTo>
                      <a:pt x="61817" y="244126"/>
                      <a:pt x="64008" y="246698"/>
                      <a:pt x="66961" y="248412"/>
                    </a:cubicBezTo>
                    <a:cubicBezTo>
                      <a:pt x="69913" y="250127"/>
                      <a:pt x="75343" y="250984"/>
                      <a:pt x="83153" y="250984"/>
                    </a:cubicBezTo>
                    <a:lnTo>
                      <a:pt x="83153" y="257461"/>
                    </a:lnTo>
                    <a:lnTo>
                      <a:pt x="2572" y="257461"/>
                    </a:lnTo>
                    <a:lnTo>
                      <a:pt x="2572" y="250984"/>
                    </a:lnTo>
                    <a:cubicBezTo>
                      <a:pt x="10668" y="250984"/>
                      <a:pt x="16097" y="250222"/>
                      <a:pt x="18859" y="248603"/>
                    </a:cubicBezTo>
                    <a:cubicBezTo>
                      <a:pt x="21622" y="247079"/>
                      <a:pt x="23813" y="244412"/>
                      <a:pt x="25432" y="240792"/>
                    </a:cubicBezTo>
                    <a:cubicBezTo>
                      <a:pt x="27051" y="237173"/>
                      <a:pt x="27908" y="230219"/>
                      <a:pt x="27908" y="219932"/>
                    </a:cubicBezTo>
                    <a:lnTo>
                      <a:pt x="27908" y="156019"/>
                    </a:lnTo>
                    <a:cubicBezTo>
                      <a:pt x="27908" y="138017"/>
                      <a:pt x="27337" y="126397"/>
                      <a:pt x="26289" y="121063"/>
                    </a:cubicBezTo>
                    <a:cubicBezTo>
                      <a:pt x="25432" y="117253"/>
                      <a:pt x="24098" y="114491"/>
                      <a:pt x="22288" y="112967"/>
                    </a:cubicBezTo>
                    <a:cubicBezTo>
                      <a:pt x="20479" y="111443"/>
                      <a:pt x="18002" y="110681"/>
                      <a:pt x="14859" y="110681"/>
                    </a:cubicBezTo>
                    <a:cubicBezTo>
                      <a:pt x="11430" y="110681"/>
                      <a:pt x="7334" y="111633"/>
                      <a:pt x="2572" y="113348"/>
                    </a:cubicBezTo>
                    <a:lnTo>
                      <a:pt x="0" y="106871"/>
                    </a:lnTo>
                    <a:lnTo>
                      <a:pt x="50006" y="86582"/>
                    </a:lnTo>
                    <a:lnTo>
                      <a:pt x="58007" y="86582"/>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2" name="Freeform: Shape 121">
                <a:extLst>
                  <a:ext uri="{FF2B5EF4-FFF2-40B4-BE49-F238E27FC236}">
                    <a16:creationId xmlns:a16="http://schemas.microsoft.com/office/drawing/2014/main" id="{9EFC7B16-1EB1-4F9A-93FC-436B48B41E42}"/>
                  </a:ext>
                </a:extLst>
              </p:cNvPr>
              <p:cNvSpPr/>
              <p:nvPr/>
            </p:nvSpPr>
            <p:spPr>
              <a:xfrm>
                <a:off x="6143053" y="3329939"/>
                <a:ext cx="167735" cy="250697"/>
              </a:xfrm>
              <a:custGeom>
                <a:avLst/>
                <a:gdLst>
                  <a:gd name="connsiteX0" fmla="*/ 76486 w 167735"/>
                  <a:gd name="connsiteY0" fmla="*/ 8763 h 250697"/>
                  <a:gd name="connsiteX1" fmla="*/ 54007 w 167735"/>
                  <a:gd name="connsiteY1" fmla="*/ 19431 h 250697"/>
                  <a:gd name="connsiteX2" fmla="*/ 44958 w 167735"/>
                  <a:gd name="connsiteY2" fmla="*/ 52197 h 250697"/>
                  <a:gd name="connsiteX3" fmla="*/ 57245 w 167735"/>
                  <a:gd name="connsiteY3" fmla="*/ 96583 h 250697"/>
                  <a:gd name="connsiteX4" fmla="*/ 81153 w 167735"/>
                  <a:gd name="connsiteY4" fmla="*/ 108490 h 250697"/>
                  <a:gd name="connsiteX5" fmla="*/ 103822 w 167735"/>
                  <a:gd name="connsiteY5" fmla="*/ 98203 h 250697"/>
                  <a:gd name="connsiteX6" fmla="*/ 112681 w 167735"/>
                  <a:gd name="connsiteY6" fmla="*/ 65818 h 250697"/>
                  <a:gd name="connsiteX7" fmla="*/ 100203 w 167735"/>
                  <a:gd name="connsiteY7" fmla="*/ 20764 h 250697"/>
                  <a:gd name="connsiteX8" fmla="*/ 76486 w 167735"/>
                  <a:gd name="connsiteY8" fmla="*/ 8858 h 250697"/>
                  <a:gd name="connsiteX9" fmla="*/ 76486 w 167735"/>
                  <a:gd name="connsiteY9" fmla="*/ 8858 h 250697"/>
                  <a:gd name="connsiteX10" fmla="*/ 43148 w 167735"/>
                  <a:gd name="connsiteY10" fmla="*/ 170783 h 250697"/>
                  <a:gd name="connsiteX11" fmla="*/ 30290 w 167735"/>
                  <a:gd name="connsiteY11" fmla="*/ 188024 h 250697"/>
                  <a:gd name="connsiteX12" fmla="*/ 25908 w 167735"/>
                  <a:gd name="connsiteY12" fmla="*/ 202692 h 250697"/>
                  <a:gd name="connsiteX13" fmla="*/ 36385 w 167735"/>
                  <a:gd name="connsiteY13" fmla="*/ 217932 h 250697"/>
                  <a:gd name="connsiteX14" fmla="*/ 88678 w 167735"/>
                  <a:gd name="connsiteY14" fmla="*/ 229172 h 250697"/>
                  <a:gd name="connsiteX15" fmla="*/ 136779 w 167735"/>
                  <a:gd name="connsiteY15" fmla="*/ 217646 h 250697"/>
                  <a:gd name="connsiteX16" fmla="*/ 152209 w 167735"/>
                  <a:gd name="connsiteY16" fmla="*/ 193072 h 250697"/>
                  <a:gd name="connsiteX17" fmla="*/ 142970 w 167735"/>
                  <a:gd name="connsiteY17" fmla="*/ 179641 h 250697"/>
                  <a:gd name="connsiteX18" fmla="*/ 105727 w 167735"/>
                  <a:gd name="connsiteY18" fmla="*/ 174974 h 250697"/>
                  <a:gd name="connsiteX19" fmla="*/ 43053 w 167735"/>
                  <a:gd name="connsiteY19" fmla="*/ 170783 h 250697"/>
                  <a:gd name="connsiteX20" fmla="*/ 43053 w 167735"/>
                  <a:gd name="connsiteY20" fmla="*/ 170783 h 250697"/>
                  <a:gd name="connsiteX21" fmla="*/ 44958 w 167735"/>
                  <a:gd name="connsiteY21" fmla="*/ 110300 h 250697"/>
                  <a:gd name="connsiteX22" fmla="*/ 21622 w 167735"/>
                  <a:gd name="connsiteY22" fmla="*/ 89535 h 250697"/>
                  <a:gd name="connsiteX23" fmla="*/ 13525 w 167735"/>
                  <a:gd name="connsiteY23" fmla="*/ 60103 h 250697"/>
                  <a:gd name="connsiteX24" fmla="*/ 32099 w 167735"/>
                  <a:gd name="connsiteY24" fmla="*/ 17716 h 250697"/>
                  <a:gd name="connsiteX25" fmla="*/ 79629 w 167735"/>
                  <a:gd name="connsiteY25" fmla="*/ 0 h 250697"/>
                  <a:gd name="connsiteX26" fmla="*/ 120682 w 167735"/>
                  <a:gd name="connsiteY26" fmla="*/ 11620 h 250697"/>
                  <a:gd name="connsiteX27" fmla="*/ 155829 w 167735"/>
                  <a:gd name="connsiteY27" fmla="*/ 11620 h 250697"/>
                  <a:gd name="connsiteX28" fmla="*/ 164878 w 167735"/>
                  <a:gd name="connsiteY28" fmla="*/ 12097 h 250697"/>
                  <a:gd name="connsiteX29" fmla="*/ 166688 w 167735"/>
                  <a:gd name="connsiteY29" fmla="*/ 13621 h 250697"/>
                  <a:gd name="connsiteX30" fmla="*/ 167735 w 167735"/>
                  <a:gd name="connsiteY30" fmla="*/ 19431 h 250697"/>
                  <a:gd name="connsiteX31" fmla="*/ 166783 w 167735"/>
                  <a:gd name="connsiteY31" fmla="*/ 25908 h 250697"/>
                  <a:gd name="connsiteX32" fmla="*/ 164878 w 167735"/>
                  <a:gd name="connsiteY32" fmla="*/ 27337 h 250697"/>
                  <a:gd name="connsiteX33" fmla="*/ 155734 w 167735"/>
                  <a:gd name="connsiteY33" fmla="*/ 27908 h 250697"/>
                  <a:gd name="connsiteX34" fmla="*/ 134207 w 167735"/>
                  <a:gd name="connsiteY34" fmla="*/ 27908 h 250697"/>
                  <a:gd name="connsiteX35" fmla="*/ 144304 w 167735"/>
                  <a:gd name="connsiteY35" fmla="*/ 61246 h 250697"/>
                  <a:gd name="connsiteX36" fmla="*/ 126587 w 167735"/>
                  <a:gd name="connsiteY36" fmla="*/ 100870 h 250697"/>
                  <a:gd name="connsiteX37" fmla="*/ 78962 w 167735"/>
                  <a:gd name="connsiteY37" fmla="*/ 117348 h 250697"/>
                  <a:gd name="connsiteX38" fmla="*/ 53816 w 167735"/>
                  <a:gd name="connsiteY38" fmla="*/ 113729 h 250697"/>
                  <a:gd name="connsiteX39" fmla="*/ 43053 w 167735"/>
                  <a:gd name="connsiteY39" fmla="*/ 125730 h 250697"/>
                  <a:gd name="connsiteX40" fmla="*/ 40291 w 167735"/>
                  <a:gd name="connsiteY40" fmla="*/ 134493 h 250697"/>
                  <a:gd name="connsiteX41" fmla="*/ 43244 w 167735"/>
                  <a:gd name="connsiteY41" fmla="*/ 140494 h 250697"/>
                  <a:gd name="connsiteX42" fmla="*/ 54959 w 167735"/>
                  <a:gd name="connsiteY42" fmla="*/ 144685 h 250697"/>
                  <a:gd name="connsiteX43" fmla="*/ 80296 w 167735"/>
                  <a:gd name="connsiteY43" fmla="*/ 145923 h 250697"/>
                  <a:gd name="connsiteX44" fmla="*/ 128588 w 167735"/>
                  <a:gd name="connsiteY44" fmla="*/ 148495 h 250697"/>
                  <a:gd name="connsiteX45" fmla="*/ 155448 w 167735"/>
                  <a:gd name="connsiteY45" fmla="*/ 160973 h 250697"/>
                  <a:gd name="connsiteX46" fmla="*/ 165449 w 167735"/>
                  <a:gd name="connsiteY46" fmla="*/ 185928 h 250697"/>
                  <a:gd name="connsiteX47" fmla="*/ 146209 w 167735"/>
                  <a:gd name="connsiteY47" fmla="*/ 224314 h 250697"/>
                  <a:gd name="connsiteX48" fmla="*/ 72580 w 167735"/>
                  <a:gd name="connsiteY48" fmla="*/ 250698 h 250697"/>
                  <a:gd name="connsiteX49" fmla="*/ 13525 w 167735"/>
                  <a:gd name="connsiteY49" fmla="*/ 234982 h 250697"/>
                  <a:gd name="connsiteX50" fmla="*/ 0 w 167735"/>
                  <a:gd name="connsiteY50" fmla="*/ 216122 h 250697"/>
                  <a:gd name="connsiteX51" fmla="*/ 2000 w 167735"/>
                  <a:gd name="connsiteY51" fmla="*/ 207454 h 250697"/>
                  <a:gd name="connsiteX52" fmla="*/ 14669 w 167735"/>
                  <a:gd name="connsiteY52" fmla="*/ 188786 h 250697"/>
                  <a:gd name="connsiteX53" fmla="*/ 33147 w 167735"/>
                  <a:gd name="connsiteY53" fmla="*/ 169259 h 250697"/>
                  <a:gd name="connsiteX54" fmla="*/ 19812 w 167735"/>
                  <a:gd name="connsiteY54" fmla="*/ 159258 h 250697"/>
                  <a:gd name="connsiteX55" fmla="*/ 15907 w 167735"/>
                  <a:gd name="connsiteY55" fmla="*/ 149162 h 250697"/>
                  <a:gd name="connsiteX56" fmla="*/ 21050 w 167735"/>
                  <a:gd name="connsiteY56" fmla="*/ 134303 h 250697"/>
                  <a:gd name="connsiteX57" fmla="*/ 44863 w 167735"/>
                  <a:gd name="connsiteY57" fmla="*/ 110204 h 250697"/>
                  <a:gd name="connsiteX58" fmla="*/ 44863 w 167735"/>
                  <a:gd name="connsiteY58" fmla="*/ 110204 h 25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7735" h="250697">
                    <a:moveTo>
                      <a:pt x="76486" y="8763"/>
                    </a:moveTo>
                    <a:cubicBezTo>
                      <a:pt x="67532" y="8763"/>
                      <a:pt x="60103" y="12287"/>
                      <a:pt x="54007" y="19431"/>
                    </a:cubicBezTo>
                    <a:cubicBezTo>
                      <a:pt x="48006" y="26575"/>
                      <a:pt x="44958" y="37433"/>
                      <a:pt x="44958" y="52197"/>
                    </a:cubicBezTo>
                    <a:cubicBezTo>
                      <a:pt x="44958" y="71247"/>
                      <a:pt x="49054" y="86011"/>
                      <a:pt x="57245" y="96583"/>
                    </a:cubicBezTo>
                    <a:cubicBezTo>
                      <a:pt x="63532" y="104584"/>
                      <a:pt x="71438" y="108490"/>
                      <a:pt x="81153" y="108490"/>
                    </a:cubicBezTo>
                    <a:cubicBezTo>
                      <a:pt x="90869" y="108490"/>
                      <a:pt x="97822" y="105061"/>
                      <a:pt x="103822" y="98203"/>
                    </a:cubicBezTo>
                    <a:cubicBezTo>
                      <a:pt x="109728" y="91345"/>
                      <a:pt x="112681" y="80486"/>
                      <a:pt x="112681" y="65818"/>
                    </a:cubicBezTo>
                    <a:cubicBezTo>
                      <a:pt x="112681" y="46672"/>
                      <a:pt x="108490" y="31623"/>
                      <a:pt x="100203" y="20764"/>
                    </a:cubicBezTo>
                    <a:cubicBezTo>
                      <a:pt x="94012" y="12763"/>
                      <a:pt x="86106" y="8858"/>
                      <a:pt x="76486" y="8858"/>
                    </a:cubicBezTo>
                    <a:lnTo>
                      <a:pt x="76486" y="8858"/>
                    </a:lnTo>
                    <a:close/>
                    <a:moveTo>
                      <a:pt x="43148" y="170783"/>
                    </a:moveTo>
                    <a:cubicBezTo>
                      <a:pt x="37433" y="176975"/>
                      <a:pt x="33242" y="182690"/>
                      <a:pt x="30290" y="188024"/>
                    </a:cubicBezTo>
                    <a:cubicBezTo>
                      <a:pt x="27432" y="193358"/>
                      <a:pt x="25908" y="198215"/>
                      <a:pt x="25908" y="202692"/>
                    </a:cubicBezTo>
                    <a:cubicBezTo>
                      <a:pt x="25908" y="208502"/>
                      <a:pt x="29432" y="213551"/>
                      <a:pt x="36385" y="217932"/>
                    </a:cubicBezTo>
                    <a:cubicBezTo>
                      <a:pt x="48482" y="225457"/>
                      <a:pt x="65913" y="229172"/>
                      <a:pt x="88678" y="229172"/>
                    </a:cubicBezTo>
                    <a:cubicBezTo>
                      <a:pt x="111442" y="229172"/>
                      <a:pt x="126397" y="225361"/>
                      <a:pt x="136779" y="217646"/>
                    </a:cubicBezTo>
                    <a:cubicBezTo>
                      <a:pt x="147066" y="210026"/>
                      <a:pt x="152209" y="201835"/>
                      <a:pt x="152209" y="193072"/>
                    </a:cubicBezTo>
                    <a:cubicBezTo>
                      <a:pt x="152209" y="186785"/>
                      <a:pt x="149161" y="182309"/>
                      <a:pt x="142970" y="179641"/>
                    </a:cubicBezTo>
                    <a:cubicBezTo>
                      <a:pt x="136684" y="176975"/>
                      <a:pt x="124301" y="175451"/>
                      <a:pt x="105727" y="174974"/>
                    </a:cubicBezTo>
                    <a:cubicBezTo>
                      <a:pt x="78581" y="174212"/>
                      <a:pt x="57721" y="172879"/>
                      <a:pt x="43053" y="170783"/>
                    </a:cubicBezTo>
                    <a:lnTo>
                      <a:pt x="43053" y="170783"/>
                    </a:lnTo>
                    <a:close/>
                    <a:moveTo>
                      <a:pt x="44958" y="110300"/>
                    </a:moveTo>
                    <a:cubicBezTo>
                      <a:pt x="34861" y="105346"/>
                      <a:pt x="27051" y="98393"/>
                      <a:pt x="21622" y="89535"/>
                    </a:cubicBezTo>
                    <a:cubicBezTo>
                      <a:pt x="16192" y="80677"/>
                      <a:pt x="13525" y="70866"/>
                      <a:pt x="13525" y="60103"/>
                    </a:cubicBezTo>
                    <a:cubicBezTo>
                      <a:pt x="13525" y="43720"/>
                      <a:pt x="19717" y="29527"/>
                      <a:pt x="32099" y="17716"/>
                    </a:cubicBezTo>
                    <a:cubicBezTo>
                      <a:pt x="44482" y="5905"/>
                      <a:pt x="60293" y="0"/>
                      <a:pt x="79629" y="0"/>
                    </a:cubicBezTo>
                    <a:cubicBezTo>
                      <a:pt x="95440" y="0"/>
                      <a:pt x="109156" y="3905"/>
                      <a:pt x="120682" y="11620"/>
                    </a:cubicBezTo>
                    <a:lnTo>
                      <a:pt x="155829" y="11620"/>
                    </a:lnTo>
                    <a:cubicBezTo>
                      <a:pt x="160972" y="11620"/>
                      <a:pt x="164021" y="11811"/>
                      <a:pt x="164878" y="12097"/>
                    </a:cubicBezTo>
                    <a:cubicBezTo>
                      <a:pt x="165735" y="12382"/>
                      <a:pt x="166306" y="12954"/>
                      <a:pt x="166688" y="13621"/>
                    </a:cubicBezTo>
                    <a:cubicBezTo>
                      <a:pt x="167449" y="14669"/>
                      <a:pt x="167735" y="16669"/>
                      <a:pt x="167735" y="19431"/>
                    </a:cubicBezTo>
                    <a:cubicBezTo>
                      <a:pt x="167735" y="22574"/>
                      <a:pt x="167449" y="24765"/>
                      <a:pt x="166783" y="25908"/>
                    </a:cubicBezTo>
                    <a:cubicBezTo>
                      <a:pt x="166402" y="26479"/>
                      <a:pt x="165830" y="26956"/>
                      <a:pt x="164878" y="27337"/>
                    </a:cubicBezTo>
                    <a:cubicBezTo>
                      <a:pt x="164021" y="27718"/>
                      <a:pt x="160877" y="27908"/>
                      <a:pt x="155734" y="27908"/>
                    </a:cubicBezTo>
                    <a:lnTo>
                      <a:pt x="134207" y="27908"/>
                    </a:lnTo>
                    <a:cubicBezTo>
                      <a:pt x="140970" y="36576"/>
                      <a:pt x="144304" y="47720"/>
                      <a:pt x="144304" y="61246"/>
                    </a:cubicBezTo>
                    <a:cubicBezTo>
                      <a:pt x="144304" y="76676"/>
                      <a:pt x="138398" y="89916"/>
                      <a:pt x="126587" y="100870"/>
                    </a:cubicBezTo>
                    <a:cubicBezTo>
                      <a:pt x="114776" y="111824"/>
                      <a:pt x="98869" y="117348"/>
                      <a:pt x="78962" y="117348"/>
                    </a:cubicBezTo>
                    <a:cubicBezTo>
                      <a:pt x="70771" y="117348"/>
                      <a:pt x="62389" y="116110"/>
                      <a:pt x="53816" y="113729"/>
                    </a:cubicBezTo>
                    <a:cubicBezTo>
                      <a:pt x="48482" y="118301"/>
                      <a:pt x="44958" y="122301"/>
                      <a:pt x="43053" y="125730"/>
                    </a:cubicBezTo>
                    <a:cubicBezTo>
                      <a:pt x="41148" y="129159"/>
                      <a:pt x="40291" y="132112"/>
                      <a:pt x="40291" y="134493"/>
                    </a:cubicBezTo>
                    <a:cubicBezTo>
                      <a:pt x="40291" y="136589"/>
                      <a:pt x="41243" y="138493"/>
                      <a:pt x="43244" y="140494"/>
                    </a:cubicBezTo>
                    <a:cubicBezTo>
                      <a:pt x="45244" y="142399"/>
                      <a:pt x="49149" y="143828"/>
                      <a:pt x="54959" y="144685"/>
                    </a:cubicBezTo>
                    <a:cubicBezTo>
                      <a:pt x="58293" y="145161"/>
                      <a:pt x="66770" y="145637"/>
                      <a:pt x="80296" y="145923"/>
                    </a:cubicBezTo>
                    <a:cubicBezTo>
                      <a:pt x="105156" y="146494"/>
                      <a:pt x="121253" y="147352"/>
                      <a:pt x="128588" y="148495"/>
                    </a:cubicBezTo>
                    <a:cubicBezTo>
                      <a:pt x="139827" y="150019"/>
                      <a:pt x="148780" y="154210"/>
                      <a:pt x="155448" y="160973"/>
                    </a:cubicBezTo>
                    <a:cubicBezTo>
                      <a:pt x="162115" y="167735"/>
                      <a:pt x="165449" y="176022"/>
                      <a:pt x="165449" y="185928"/>
                    </a:cubicBezTo>
                    <a:cubicBezTo>
                      <a:pt x="165449" y="199549"/>
                      <a:pt x="159067" y="212312"/>
                      <a:pt x="146209" y="224314"/>
                    </a:cubicBezTo>
                    <a:cubicBezTo>
                      <a:pt x="127349" y="241935"/>
                      <a:pt x="102870" y="250698"/>
                      <a:pt x="72580" y="250698"/>
                    </a:cubicBezTo>
                    <a:cubicBezTo>
                      <a:pt x="49244" y="250698"/>
                      <a:pt x="29623" y="245459"/>
                      <a:pt x="13525" y="234982"/>
                    </a:cubicBezTo>
                    <a:cubicBezTo>
                      <a:pt x="4477" y="228981"/>
                      <a:pt x="0" y="222694"/>
                      <a:pt x="0" y="216122"/>
                    </a:cubicBezTo>
                    <a:cubicBezTo>
                      <a:pt x="0" y="213265"/>
                      <a:pt x="667" y="210312"/>
                      <a:pt x="2000" y="207454"/>
                    </a:cubicBezTo>
                    <a:cubicBezTo>
                      <a:pt x="4096" y="202978"/>
                      <a:pt x="8287" y="196787"/>
                      <a:pt x="14669" y="188786"/>
                    </a:cubicBezTo>
                    <a:cubicBezTo>
                      <a:pt x="15526" y="187738"/>
                      <a:pt x="21622" y="181166"/>
                      <a:pt x="33147" y="169259"/>
                    </a:cubicBezTo>
                    <a:cubicBezTo>
                      <a:pt x="26860" y="165544"/>
                      <a:pt x="22384" y="162211"/>
                      <a:pt x="19812" y="159258"/>
                    </a:cubicBezTo>
                    <a:cubicBezTo>
                      <a:pt x="17240" y="156305"/>
                      <a:pt x="15907" y="152972"/>
                      <a:pt x="15907" y="149162"/>
                    </a:cubicBezTo>
                    <a:cubicBezTo>
                      <a:pt x="15907" y="144971"/>
                      <a:pt x="17621" y="140017"/>
                      <a:pt x="21050" y="134303"/>
                    </a:cubicBezTo>
                    <a:cubicBezTo>
                      <a:pt x="24479" y="128588"/>
                      <a:pt x="32385" y="120587"/>
                      <a:pt x="44863" y="110204"/>
                    </a:cubicBezTo>
                    <a:lnTo>
                      <a:pt x="44863" y="11020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3" name="Freeform: Shape 122">
                <a:extLst>
                  <a:ext uri="{FF2B5EF4-FFF2-40B4-BE49-F238E27FC236}">
                    <a16:creationId xmlns:a16="http://schemas.microsoft.com/office/drawing/2014/main" id="{1AB6B717-6AD8-465C-8950-0CD0D2225CC9}"/>
                  </a:ext>
                </a:extLst>
              </p:cNvPr>
              <p:cNvSpPr/>
              <p:nvPr/>
            </p:nvSpPr>
            <p:spPr>
              <a:xfrm>
                <a:off x="6394132" y="3243262"/>
                <a:ext cx="180593" cy="257460"/>
              </a:xfrm>
              <a:custGeom>
                <a:avLst/>
                <a:gdLst>
                  <a:gd name="connsiteX0" fmla="*/ 57721 w 180593"/>
                  <a:gd name="connsiteY0" fmla="*/ 0 h 257460"/>
                  <a:gd name="connsiteX1" fmla="*/ 57721 w 180593"/>
                  <a:gd name="connsiteY1" fmla="*/ 121253 h 257460"/>
                  <a:gd name="connsiteX2" fmla="*/ 89630 w 180593"/>
                  <a:gd name="connsiteY2" fmla="*/ 92964 h 257460"/>
                  <a:gd name="connsiteX3" fmla="*/ 113157 w 180593"/>
                  <a:gd name="connsiteY3" fmla="*/ 86678 h 257460"/>
                  <a:gd name="connsiteX4" fmla="*/ 137446 w 180593"/>
                  <a:gd name="connsiteY4" fmla="*/ 94488 h 257460"/>
                  <a:gd name="connsiteX5" fmla="*/ 152495 w 180593"/>
                  <a:gd name="connsiteY5" fmla="*/ 118967 h 257460"/>
                  <a:gd name="connsiteX6" fmla="*/ 155924 w 180593"/>
                  <a:gd name="connsiteY6" fmla="*/ 161354 h 257460"/>
                  <a:gd name="connsiteX7" fmla="*/ 155924 w 180593"/>
                  <a:gd name="connsiteY7" fmla="*/ 220028 h 257460"/>
                  <a:gd name="connsiteX8" fmla="*/ 158496 w 180593"/>
                  <a:gd name="connsiteY8" fmla="*/ 241554 h 257460"/>
                  <a:gd name="connsiteX9" fmla="*/ 164687 w 180593"/>
                  <a:gd name="connsiteY9" fmla="*/ 248412 h 257460"/>
                  <a:gd name="connsiteX10" fmla="*/ 180594 w 180593"/>
                  <a:gd name="connsiteY10" fmla="*/ 250984 h 257460"/>
                  <a:gd name="connsiteX11" fmla="*/ 180594 w 180593"/>
                  <a:gd name="connsiteY11" fmla="*/ 257461 h 257460"/>
                  <a:gd name="connsiteX12" fmla="*/ 99155 w 180593"/>
                  <a:gd name="connsiteY12" fmla="*/ 257461 h 257460"/>
                  <a:gd name="connsiteX13" fmla="*/ 99155 w 180593"/>
                  <a:gd name="connsiteY13" fmla="*/ 250984 h 257460"/>
                  <a:gd name="connsiteX14" fmla="*/ 102965 w 180593"/>
                  <a:gd name="connsiteY14" fmla="*/ 250984 h 257460"/>
                  <a:gd name="connsiteX15" fmla="*/ 119063 w 180593"/>
                  <a:gd name="connsiteY15" fmla="*/ 247460 h 257460"/>
                  <a:gd name="connsiteX16" fmla="*/ 125444 w 180593"/>
                  <a:gd name="connsiteY16" fmla="*/ 237077 h 257460"/>
                  <a:gd name="connsiteX17" fmla="*/ 126016 w 180593"/>
                  <a:gd name="connsiteY17" fmla="*/ 220028 h 257460"/>
                  <a:gd name="connsiteX18" fmla="*/ 126016 w 180593"/>
                  <a:gd name="connsiteY18" fmla="*/ 161354 h 257460"/>
                  <a:gd name="connsiteX19" fmla="*/ 123158 w 180593"/>
                  <a:gd name="connsiteY19" fmla="*/ 125730 h 257460"/>
                  <a:gd name="connsiteX20" fmla="*/ 114205 w 180593"/>
                  <a:gd name="connsiteY20" fmla="*/ 112967 h 257460"/>
                  <a:gd name="connsiteX21" fmla="*/ 99346 w 180593"/>
                  <a:gd name="connsiteY21" fmla="*/ 108680 h 257460"/>
                  <a:gd name="connsiteX22" fmla="*/ 80867 w 180593"/>
                  <a:gd name="connsiteY22" fmla="*/ 113348 h 257460"/>
                  <a:gd name="connsiteX23" fmla="*/ 57912 w 180593"/>
                  <a:gd name="connsiteY23" fmla="*/ 132398 h 257460"/>
                  <a:gd name="connsiteX24" fmla="*/ 57912 w 180593"/>
                  <a:gd name="connsiteY24" fmla="*/ 220028 h 257460"/>
                  <a:gd name="connsiteX25" fmla="*/ 59817 w 180593"/>
                  <a:gd name="connsiteY25" fmla="*/ 241173 h 257460"/>
                  <a:gd name="connsiteX26" fmla="*/ 66865 w 180593"/>
                  <a:gd name="connsiteY26" fmla="*/ 248126 h 257460"/>
                  <a:gd name="connsiteX27" fmla="*/ 84677 w 180593"/>
                  <a:gd name="connsiteY27" fmla="*/ 250889 h 257460"/>
                  <a:gd name="connsiteX28" fmla="*/ 84677 w 180593"/>
                  <a:gd name="connsiteY28" fmla="*/ 257366 h 257460"/>
                  <a:gd name="connsiteX29" fmla="*/ 2476 w 180593"/>
                  <a:gd name="connsiteY29" fmla="*/ 257366 h 257460"/>
                  <a:gd name="connsiteX30" fmla="*/ 2476 w 180593"/>
                  <a:gd name="connsiteY30" fmla="*/ 250889 h 257460"/>
                  <a:gd name="connsiteX31" fmla="*/ 19907 w 180593"/>
                  <a:gd name="connsiteY31" fmla="*/ 247460 h 257460"/>
                  <a:gd name="connsiteX32" fmla="*/ 25717 w 180593"/>
                  <a:gd name="connsiteY32" fmla="*/ 240602 h 257460"/>
                  <a:gd name="connsiteX33" fmla="*/ 27908 w 180593"/>
                  <a:gd name="connsiteY33" fmla="*/ 219932 h 257460"/>
                  <a:gd name="connsiteX34" fmla="*/ 27908 w 180593"/>
                  <a:gd name="connsiteY34" fmla="*/ 69914 h 257460"/>
                  <a:gd name="connsiteX35" fmla="*/ 26575 w 180593"/>
                  <a:gd name="connsiteY35" fmla="*/ 34957 h 257460"/>
                  <a:gd name="connsiteX36" fmla="*/ 22384 w 180593"/>
                  <a:gd name="connsiteY36" fmla="*/ 26099 h 257460"/>
                  <a:gd name="connsiteX37" fmla="*/ 14859 w 180593"/>
                  <a:gd name="connsiteY37" fmla="*/ 23717 h 257460"/>
                  <a:gd name="connsiteX38" fmla="*/ 2572 w 180593"/>
                  <a:gd name="connsiteY38" fmla="*/ 26575 h 257460"/>
                  <a:gd name="connsiteX39" fmla="*/ 0 w 180593"/>
                  <a:gd name="connsiteY39" fmla="*/ 20288 h 257460"/>
                  <a:gd name="connsiteX40" fmla="*/ 49435 w 180593"/>
                  <a:gd name="connsiteY40" fmla="*/ 0 h 257460"/>
                  <a:gd name="connsiteX41" fmla="*/ 57721 w 180593"/>
                  <a:gd name="connsiteY41" fmla="*/ 0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0593" h="257460">
                    <a:moveTo>
                      <a:pt x="57721" y="0"/>
                    </a:moveTo>
                    <a:lnTo>
                      <a:pt x="57721" y="121253"/>
                    </a:lnTo>
                    <a:cubicBezTo>
                      <a:pt x="71152" y="106490"/>
                      <a:pt x="81724" y="97060"/>
                      <a:pt x="89630" y="92964"/>
                    </a:cubicBezTo>
                    <a:cubicBezTo>
                      <a:pt x="97441" y="88773"/>
                      <a:pt x="105346" y="86678"/>
                      <a:pt x="113157" y="86678"/>
                    </a:cubicBezTo>
                    <a:cubicBezTo>
                      <a:pt x="122587" y="86678"/>
                      <a:pt x="130683" y="89249"/>
                      <a:pt x="137446" y="94488"/>
                    </a:cubicBezTo>
                    <a:cubicBezTo>
                      <a:pt x="144209" y="99632"/>
                      <a:pt x="149257" y="107823"/>
                      <a:pt x="152495" y="118967"/>
                    </a:cubicBezTo>
                    <a:cubicBezTo>
                      <a:pt x="154781" y="126683"/>
                      <a:pt x="155924" y="140780"/>
                      <a:pt x="155924" y="161354"/>
                    </a:cubicBezTo>
                    <a:lnTo>
                      <a:pt x="155924" y="220028"/>
                    </a:lnTo>
                    <a:cubicBezTo>
                      <a:pt x="155924" y="230505"/>
                      <a:pt x="156781" y="237744"/>
                      <a:pt x="158496" y="241554"/>
                    </a:cubicBezTo>
                    <a:cubicBezTo>
                      <a:pt x="159734" y="244412"/>
                      <a:pt x="161734" y="246698"/>
                      <a:pt x="164687" y="248412"/>
                    </a:cubicBezTo>
                    <a:cubicBezTo>
                      <a:pt x="167545" y="250127"/>
                      <a:pt x="172879" y="250984"/>
                      <a:pt x="180594" y="250984"/>
                    </a:cubicBezTo>
                    <a:lnTo>
                      <a:pt x="180594" y="257461"/>
                    </a:lnTo>
                    <a:lnTo>
                      <a:pt x="99155" y="257461"/>
                    </a:lnTo>
                    <a:lnTo>
                      <a:pt x="99155" y="250984"/>
                    </a:lnTo>
                    <a:lnTo>
                      <a:pt x="102965" y="250984"/>
                    </a:lnTo>
                    <a:cubicBezTo>
                      <a:pt x="110680" y="250984"/>
                      <a:pt x="116015" y="249841"/>
                      <a:pt x="119063" y="247460"/>
                    </a:cubicBezTo>
                    <a:cubicBezTo>
                      <a:pt x="122111" y="245078"/>
                      <a:pt x="124206" y="241649"/>
                      <a:pt x="125444" y="237077"/>
                    </a:cubicBezTo>
                    <a:cubicBezTo>
                      <a:pt x="125825" y="235172"/>
                      <a:pt x="126016" y="229457"/>
                      <a:pt x="126016" y="220028"/>
                    </a:cubicBezTo>
                    <a:lnTo>
                      <a:pt x="126016" y="161354"/>
                    </a:lnTo>
                    <a:cubicBezTo>
                      <a:pt x="126016" y="143256"/>
                      <a:pt x="125063" y="131350"/>
                      <a:pt x="123158" y="125730"/>
                    </a:cubicBezTo>
                    <a:cubicBezTo>
                      <a:pt x="121253" y="120015"/>
                      <a:pt x="118300" y="115824"/>
                      <a:pt x="114205" y="112967"/>
                    </a:cubicBezTo>
                    <a:cubicBezTo>
                      <a:pt x="110109" y="110109"/>
                      <a:pt x="105156" y="108680"/>
                      <a:pt x="99346" y="108680"/>
                    </a:cubicBezTo>
                    <a:cubicBezTo>
                      <a:pt x="93536" y="108680"/>
                      <a:pt x="87249" y="110204"/>
                      <a:pt x="80867" y="113348"/>
                    </a:cubicBezTo>
                    <a:cubicBezTo>
                      <a:pt x="74486" y="116491"/>
                      <a:pt x="66770" y="122873"/>
                      <a:pt x="57912" y="132398"/>
                    </a:cubicBezTo>
                    <a:lnTo>
                      <a:pt x="57912" y="220028"/>
                    </a:lnTo>
                    <a:cubicBezTo>
                      <a:pt x="57912" y="231362"/>
                      <a:pt x="58579" y="238411"/>
                      <a:pt x="59817" y="241173"/>
                    </a:cubicBezTo>
                    <a:cubicBezTo>
                      <a:pt x="61055" y="243935"/>
                      <a:pt x="63436" y="246317"/>
                      <a:pt x="66865" y="248126"/>
                    </a:cubicBezTo>
                    <a:cubicBezTo>
                      <a:pt x="70294" y="250031"/>
                      <a:pt x="76200" y="250889"/>
                      <a:pt x="84677" y="250889"/>
                    </a:cubicBezTo>
                    <a:lnTo>
                      <a:pt x="84677" y="257366"/>
                    </a:lnTo>
                    <a:lnTo>
                      <a:pt x="2476" y="257366"/>
                    </a:lnTo>
                    <a:lnTo>
                      <a:pt x="2476" y="250889"/>
                    </a:lnTo>
                    <a:cubicBezTo>
                      <a:pt x="9811" y="250889"/>
                      <a:pt x="15621" y="249746"/>
                      <a:pt x="19907" y="247460"/>
                    </a:cubicBezTo>
                    <a:cubicBezTo>
                      <a:pt x="22288" y="246221"/>
                      <a:pt x="24193" y="243935"/>
                      <a:pt x="25717" y="240602"/>
                    </a:cubicBezTo>
                    <a:cubicBezTo>
                      <a:pt x="27146" y="237268"/>
                      <a:pt x="27908" y="230315"/>
                      <a:pt x="27908" y="219932"/>
                    </a:cubicBezTo>
                    <a:lnTo>
                      <a:pt x="27908" y="69914"/>
                    </a:lnTo>
                    <a:cubicBezTo>
                      <a:pt x="27908" y="50959"/>
                      <a:pt x="27432" y="39338"/>
                      <a:pt x="26575" y="34957"/>
                    </a:cubicBezTo>
                    <a:cubicBezTo>
                      <a:pt x="25622" y="30575"/>
                      <a:pt x="24289" y="27623"/>
                      <a:pt x="22384" y="26099"/>
                    </a:cubicBezTo>
                    <a:cubicBezTo>
                      <a:pt x="20479" y="24575"/>
                      <a:pt x="18002" y="23717"/>
                      <a:pt x="14859" y="23717"/>
                    </a:cubicBezTo>
                    <a:cubicBezTo>
                      <a:pt x="12287" y="23717"/>
                      <a:pt x="8192" y="24670"/>
                      <a:pt x="2572" y="26575"/>
                    </a:cubicBezTo>
                    <a:lnTo>
                      <a:pt x="0" y="20288"/>
                    </a:lnTo>
                    <a:lnTo>
                      <a:pt x="49435" y="0"/>
                    </a:lnTo>
                    <a:lnTo>
                      <a:pt x="57721"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4" name="Freeform: Shape 123">
                <a:extLst>
                  <a:ext uri="{FF2B5EF4-FFF2-40B4-BE49-F238E27FC236}">
                    <a16:creationId xmlns:a16="http://schemas.microsoft.com/office/drawing/2014/main" id="{49A45032-6384-438D-975C-2C6DF6C7E601}"/>
                  </a:ext>
                </a:extLst>
              </p:cNvPr>
              <p:cNvSpPr/>
              <p:nvPr/>
            </p:nvSpPr>
            <p:spPr>
              <a:xfrm>
                <a:off x="6654736" y="3280314"/>
                <a:ext cx="99917" cy="223075"/>
              </a:xfrm>
              <a:custGeom>
                <a:avLst/>
                <a:gdLst>
                  <a:gd name="connsiteX0" fmla="*/ 56102 w 99917"/>
                  <a:gd name="connsiteY0" fmla="*/ 95 h 223075"/>
                  <a:gd name="connsiteX1" fmla="*/ 56102 w 99917"/>
                  <a:gd name="connsiteY1" fmla="*/ 54578 h 223075"/>
                  <a:gd name="connsiteX2" fmla="*/ 94869 w 99917"/>
                  <a:gd name="connsiteY2" fmla="*/ 54578 h 223075"/>
                  <a:gd name="connsiteX3" fmla="*/ 94869 w 99917"/>
                  <a:gd name="connsiteY3" fmla="*/ 67247 h 223075"/>
                  <a:gd name="connsiteX4" fmla="*/ 56102 w 99917"/>
                  <a:gd name="connsiteY4" fmla="*/ 67247 h 223075"/>
                  <a:gd name="connsiteX5" fmla="*/ 56102 w 99917"/>
                  <a:gd name="connsiteY5" fmla="*/ 174784 h 223075"/>
                  <a:gd name="connsiteX6" fmla="*/ 60674 w 99917"/>
                  <a:gd name="connsiteY6" fmla="*/ 196501 h 223075"/>
                  <a:gd name="connsiteX7" fmla="*/ 72580 w 99917"/>
                  <a:gd name="connsiteY7" fmla="*/ 202121 h 223075"/>
                  <a:gd name="connsiteX8" fmla="*/ 84201 w 99917"/>
                  <a:gd name="connsiteY8" fmla="*/ 198406 h 223075"/>
                  <a:gd name="connsiteX9" fmla="*/ 92869 w 99917"/>
                  <a:gd name="connsiteY9" fmla="*/ 187452 h 223075"/>
                  <a:gd name="connsiteX10" fmla="*/ 99917 w 99917"/>
                  <a:gd name="connsiteY10" fmla="*/ 187452 h 223075"/>
                  <a:gd name="connsiteX11" fmla="*/ 82010 w 99917"/>
                  <a:gd name="connsiteY11" fmla="*/ 214122 h 223075"/>
                  <a:gd name="connsiteX12" fmla="*/ 58102 w 99917"/>
                  <a:gd name="connsiteY12" fmla="*/ 223076 h 223075"/>
                  <a:gd name="connsiteX13" fmla="*/ 41815 w 99917"/>
                  <a:gd name="connsiteY13" fmla="*/ 218504 h 223075"/>
                  <a:gd name="connsiteX14" fmla="*/ 30099 w 99917"/>
                  <a:gd name="connsiteY14" fmla="*/ 205264 h 223075"/>
                  <a:gd name="connsiteX15" fmla="*/ 26289 w 99917"/>
                  <a:gd name="connsiteY15" fmla="*/ 178784 h 223075"/>
                  <a:gd name="connsiteX16" fmla="*/ 26289 w 99917"/>
                  <a:gd name="connsiteY16" fmla="*/ 67247 h 223075"/>
                  <a:gd name="connsiteX17" fmla="*/ 0 w 99917"/>
                  <a:gd name="connsiteY17" fmla="*/ 67247 h 223075"/>
                  <a:gd name="connsiteX18" fmla="*/ 0 w 99917"/>
                  <a:gd name="connsiteY18" fmla="*/ 61246 h 223075"/>
                  <a:gd name="connsiteX19" fmla="*/ 20383 w 99917"/>
                  <a:gd name="connsiteY19" fmla="*/ 47720 h 223075"/>
                  <a:gd name="connsiteX20" fmla="*/ 38957 w 99917"/>
                  <a:gd name="connsiteY20" fmla="*/ 25146 h 223075"/>
                  <a:gd name="connsiteX21" fmla="*/ 50578 w 99917"/>
                  <a:gd name="connsiteY21" fmla="*/ 0 h 223075"/>
                  <a:gd name="connsiteX22" fmla="*/ 56197 w 99917"/>
                  <a:gd name="connsiteY22" fmla="*/ 0 h 22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17" h="223075">
                    <a:moveTo>
                      <a:pt x="56102" y="95"/>
                    </a:moveTo>
                    <a:lnTo>
                      <a:pt x="56102" y="54578"/>
                    </a:lnTo>
                    <a:lnTo>
                      <a:pt x="94869" y="54578"/>
                    </a:lnTo>
                    <a:lnTo>
                      <a:pt x="94869" y="67247"/>
                    </a:lnTo>
                    <a:lnTo>
                      <a:pt x="56102" y="67247"/>
                    </a:lnTo>
                    <a:lnTo>
                      <a:pt x="56102" y="174784"/>
                    </a:lnTo>
                    <a:cubicBezTo>
                      <a:pt x="56102" y="185547"/>
                      <a:pt x="57626" y="192786"/>
                      <a:pt x="60674" y="196501"/>
                    </a:cubicBezTo>
                    <a:cubicBezTo>
                      <a:pt x="63722" y="200216"/>
                      <a:pt x="67723" y="202121"/>
                      <a:pt x="72580" y="202121"/>
                    </a:cubicBezTo>
                    <a:cubicBezTo>
                      <a:pt x="76581" y="202121"/>
                      <a:pt x="80391" y="200882"/>
                      <a:pt x="84201" y="198406"/>
                    </a:cubicBezTo>
                    <a:cubicBezTo>
                      <a:pt x="87916" y="195929"/>
                      <a:pt x="90868" y="192310"/>
                      <a:pt x="92869" y="187452"/>
                    </a:cubicBezTo>
                    <a:lnTo>
                      <a:pt x="99917" y="187452"/>
                    </a:lnTo>
                    <a:cubicBezTo>
                      <a:pt x="95726" y="199263"/>
                      <a:pt x="89725" y="208217"/>
                      <a:pt x="82010" y="214122"/>
                    </a:cubicBezTo>
                    <a:cubicBezTo>
                      <a:pt x="74295" y="220123"/>
                      <a:pt x="66294" y="223076"/>
                      <a:pt x="58102" y="223076"/>
                    </a:cubicBezTo>
                    <a:cubicBezTo>
                      <a:pt x="52578" y="223076"/>
                      <a:pt x="47149" y="221552"/>
                      <a:pt x="41815" y="218504"/>
                    </a:cubicBezTo>
                    <a:cubicBezTo>
                      <a:pt x="36481" y="215456"/>
                      <a:pt x="32575" y="210979"/>
                      <a:pt x="30099" y="205264"/>
                    </a:cubicBezTo>
                    <a:cubicBezTo>
                      <a:pt x="27527" y="199549"/>
                      <a:pt x="26289" y="190691"/>
                      <a:pt x="26289" y="178784"/>
                    </a:cubicBezTo>
                    <a:lnTo>
                      <a:pt x="26289" y="67247"/>
                    </a:lnTo>
                    <a:lnTo>
                      <a:pt x="0" y="67247"/>
                    </a:lnTo>
                    <a:lnTo>
                      <a:pt x="0" y="61246"/>
                    </a:lnTo>
                    <a:cubicBezTo>
                      <a:pt x="6667" y="58579"/>
                      <a:pt x="13430" y="54102"/>
                      <a:pt x="20383" y="47720"/>
                    </a:cubicBezTo>
                    <a:cubicBezTo>
                      <a:pt x="27337" y="41434"/>
                      <a:pt x="33528" y="33909"/>
                      <a:pt x="38957" y="25146"/>
                    </a:cubicBezTo>
                    <a:cubicBezTo>
                      <a:pt x="41719" y="20574"/>
                      <a:pt x="45625" y="12192"/>
                      <a:pt x="50578" y="0"/>
                    </a:cubicBezTo>
                    <a:lnTo>
                      <a:pt x="56197"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204" name="Group 203">
              <a:extLst>
                <a:ext uri="{FF2B5EF4-FFF2-40B4-BE49-F238E27FC236}">
                  <a16:creationId xmlns:a16="http://schemas.microsoft.com/office/drawing/2014/main" id="{3A25E170-7A0C-4964-B394-5750BB2E81E7}"/>
                </a:ext>
              </a:extLst>
            </p:cNvPr>
            <p:cNvGrpSpPr/>
            <p:nvPr userDrawn="1"/>
          </p:nvGrpSpPr>
          <p:grpSpPr>
            <a:xfrm>
              <a:off x="3339353" y="1738529"/>
              <a:ext cx="1266584" cy="200917"/>
              <a:chOff x="5763984" y="3934024"/>
              <a:chExt cx="2131027" cy="338042"/>
            </a:xfrm>
          </p:grpSpPr>
          <p:sp>
            <p:nvSpPr>
              <p:cNvPr id="205" name="Freeform: Shape 204">
                <a:extLst>
                  <a:ext uri="{FF2B5EF4-FFF2-40B4-BE49-F238E27FC236}">
                    <a16:creationId xmlns:a16="http://schemas.microsoft.com/office/drawing/2014/main" id="{4C44202A-7FBC-427C-B892-1372CCB3AE5C}"/>
                  </a:ext>
                </a:extLst>
              </p:cNvPr>
              <p:cNvSpPr/>
              <p:nvPr/>
            </p:nvSpPr>
            <p:spPr>
              <a:xfrm>
                <a:off x="5845327" y="4117094"/>
                <a:ext cx="133921" cy="149828"/>
              </a:xfrm>
              <a:custGeom>
                <a:avLst/>
                <a:gdLst>
                  <a:gd name="connsiteX0" fmla="*/ 67151 w 133921"/>
                  <a:gd name="connsiteY0" fmla="*/ 0 h 149828"/>
                  <a:gd name="connsiteX1" fmla="*/ 0 w 133921"/>
                  <a:gd name="connsiteY1" fmla="*/ 149828 h 149828"/>
                  <a:gd name="connsiteX2" fmla="*/ 133922 w 133921"/>
                  <a:gd name="connsiteY2" fmla="*/ 149828 h 149828"/>
                  <a:gd name="connsiteX3" fmla="*/ 67151 w 133921"/>
                  <a:gd name="connsiteY3" fmla="*/ 0 h 149828"/>
                </a:gdLst>
                <a:ahLst/>
                <a:cxnLst>
                  <a:cxn ang="0">
                    <a:pos x="connsiteX0" y="connsiteY0"/>
                  </a:cxn>
                  <a:cxn ang="0">
                    <a:pos x="connsiteX1" y="connsiteY1"/>
                  </a:cxn>
                  <a:cxn ang="0">
                    <a:pos x="connsiteX2" y="connsiteY2"/>
                  </a:cxn>
                  <a:cxn ang="0">
                    <a:pos x="connsiteX3" y="connsiteY3"/>
                  </a:cxn>
                </a:cxnLst>
                <a:rect l="l" t="t" r="r" b="b"/>
                <a:pathLst>
                  <a:path w="133921" h="149828">
                    <a:moveTo>
                      <a:pt x="67151" y="0"/>
                    </a:moveTo>
                    <a:lnTo>
                      <a:pt x="0" y="149828"/>
                    </a:lnTo>
                    <a:lnTo>
                      <a:pt x="133922" y="149828"/>
                    </a:lnTo>
                    <a:lnTo>
                      <a:pt x="67151"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317D262C-08B9-473D-A71D-BB33EE82CBA0}"/>
                  </a:ext>
                </a:extLst>
              </p:cNvPr>
              <p:cNvSpPr/>
              <p:nvPr/>
            </p:nvSpPr>
            <p:spPr>
              <a:xfrm>
                <a:off x="5763984" y="3934024"/>
                <a:ext cx="2057400" cy="338042"/>
              </a:xfrm>
              <a:custGeom>
                <a:avLst/>
                <a:gdLst>
                  <a:gd name="connsiteX0" fmla="*/ 535305 w 2057400"/>
                  <a:gd name="connsiteY0" fmla="*/ 337947 h 338042"/>
                  <a:gd name="connsiteX1" fmla="*/ 476536 w 2057400"/>
                  <a:gd name="connsiteY1" fmla="*/ 326231 h 338042"/>
                  <a:gd name="connsiteX2" fmla="*/ 429959 w 2057400"/>
                  <a:gd name="connsiteY2" fmla="*/ 294132 h 338042"/>
                  <a:gd name="connsiteX3" fmla="*/ 399098 w 2057400"/>
                  <a:gd name="connsiteY3" fmla="*/ 246031 h 338042"/>
                  <a:gd name="connsiteX4" fmla="*/ 387953 w 2057400"/>
                  <a:gd name="connsiteY4" fmla="*/ 186881 h 338042"/>
                  <a:gd name="connsiteX5" fmla="*/ 387953 w 2057400"/>
                  <a:gd name="connsiteY5" fmla="*/ 186023 h 338042"/>
                  <a:gd name="connsiteX6" fmla="*/ 399098 w 2057400"/>
                  <a:gd name="connsiteY6" fmla="*/ 127254 h 338042"/>
                  <a:gd name="connsiteX7" fmla="*/ 429959 w 2057400"/>
                  <a:gd name="connsiteY7" fmla="*/ 78772 h 338042"/>
                  <a:gd name="connsiteX8" fmla="*/ 477012 w 2057400"/>
                  <a:gd name="connsiteY8" fmla="*/ 46006 h 338042"/>
                  <a:gd name="connsiteX9" fmla="*/ 536639 w 2057400"/>
                  <a:gd name="connsiteY9" fmla="*/ 34004 h 338042"/>
                  <a:gd name="connsiteX10" fmla="*/ 572929 w 2057400"/>
                  <a:gd name="connsiteY10" fmla="*/ 37338 h 338042"/>
                  <a:gd name="connsiteX11" fmla="*/ 602933 w 2057400"/>
                  <a:gd name="connsiteY11" fmla="*/ 46768 h 338042"/>
                  <a:gd name="connsiteX12" fmla="*/ 628555 w 2057400"/>
                  <a:gd name="connsiteY12" fmla="*/ 61436 h 338042"/>
                  <a:gd name="connsiteX13" fmla="*/ 651224 w 2057400"/>
                  <a:gd name="connsiteY13" fmla="*/ 80582 h 338042"/>
                  <a:gd name="connsiteX14" fmla="*/ 628555 w 2057400"/>
                  <a:gd name="connsiteY14" fmla="*/ 104966 h 338042"/>
                  <a:gd name="connsiteX15" fmla="*/ 588074 w 2057400"/>
                  <a:gd name="connsiteY15" fmla="*/ 76010 h 338042"/>
                  <a:gd name="connsiteX16" fmla="*/ 536258 w 2057400"/>
                  <a:gd name="connsiteY16" fmla="*/ 64675 h 338042"/>
                  <a:gd name="connsiteX17" fmla="*/ 491109 w 2057400"/>
                  <a:gd name="connsiteY17" fmla="*/ 73914 h 338042"/>
                  <a:gd name="connsiteX18" fmla="*/ 455009 w 2057400"/>
                  <a:gd name="connsiteY18" fmla="*/ 99536 h 338042"/>
                  <a:gd name="connsiteX19" fmla="*/ 431101 w 2057400"/>
                  <a:gd name="connsiteY19" fmla="*/ 137922 h 338042"/>
                  <a:gd name="connsiteX20" fmla="*/ 422529 w 2057400"/>
                  <a:gd name="connsiteY20" fmla="*/ 185166 h 338042"/>
                  <a:gd name="connsiteX21" fmla="*/ 422529 w 2057400"/>
                  <a:gd name="connsiteY21" fmla="*/ 186023 h 338042"/>
                  <a:gd name="connsiteX22" fmla="*/ 431101 w 2057400"/>
                  <a:gd name="connsiteY22" fmla="*/ 233648 h 338042"/>
                  <a:gd name="connsiteX23" fmla="*/ 455009 w 2057400"/>
                  <a:gd name="connsiteY23" fmla="*/ 272034 h 338042"/>
                  <a:gd name="connsiteX24" fmla="*/ 491109 w 2057400"/>
                  <a:gd name="connsiteY24" fmla="*/ 297847 h 338042"/>
                  <a:gd name="connsiteX25" fmla="*/ 536258 w 2057400"/>
                  <a:gd name="connsiteY25" fmla="*/ 307276 h 338042"/>
                  <a:gd name="connsiteX26" fmla="*/ 588264 w 2057400"/>
                  <a:gd name="connsiteY26" fmla="*/ 296132 h 338042"/>
                  <a:gd name="connsiteX27" fmla="*/ 631127 w 2057400"/>
                  <a:gd name="connsiteY27" fmla="*/ 264890 h 338042"/>
                  <a:gd name="connsiteX28" fmla="*/ 652939 w 2057400"/>
                  <a:gd name="connsiteY28" fmla="*/ 286322 h 338042"/>
                  <a:gd name="connsiteX29" fmla="*/ 629222 w 2057400"/>
                  <a:gd name="connsiteY29" fmla="*/ 307562 h 338042"/>
                  <a:gd name="connsiteX30" fmla="*/ 602742 w 2057400"/>
                  <a:gd name="connsiteY30" fmla="*/ 323755 h 338042"/>
                  <a:gd name="connsiteX31" fmla="*/ 572072 w 2057400"/>
                  <a:gd name="connsiteY31" fmla="*/ 334232 h 338042"/>
                  <a:gd name="connsiteX32" fmla="*/ 535305 w 2057400"/>
                  <a:gd name="connsiteY32" fmla="*/ 338042 h 338042"/>
                  <a:gd name="connsiteX33" fmla="*/ 887635 w 2057400"/>
                  <a:gd name="connsiteY33" fmla="*/ 337566 h 338042"/>
                  <a:gd name="connsiteX34" fmla="*/ 837914 w 2057400"/>
                  <a:gd name="connsiteY34" fmla="*/ 329375 h 338042"/>
                  <a:gd name="connsiteX35" fmla="*/ 799338 w 2057400"/>
                  <a:gd name="connsiteY35" fmla="*/ 304991 h 338042"/>
                  <a:gd name="connsiteX36" fmla="*/ 774383 w 2057400"/>
                  <a:gd name="connsiteY36" fmla="*/ 264890 h 338042"/>
                  <a:gd name="connsiteX37" fmla="*/ 765524 w 2057400"/>
                  <a:gd name="connsiteY37" fmla="*/ 209931 h 338042"/>
                  <a:gd name="connsiteX38" fmla="*/ 765524 w 2057400"/>
                  <a:gd name="connsiteY38" fmla="*/ 39053 h 338042"/>
                  <a:gd name="connsiteX39" fmla="*/ 798671 w 2057400"/>
                  <a:gd name="connsiteY39" fmla="*/ 39053 h 338042"/>
                  <a:gd name="connsiteX40" fmla="*/ 798671 w 2057400"/>
                  <a:gd name="connsiteY40" fmla="*/ 207836 h 338042"/>
                  <a:gd name="connsiteX41" fmla="*/ 822388 w 2057400"/>
                  <a:gd name="connsiteY41" fmla="*/ 281273 h 338042"/>
                  <a:gd name="connsiteX42" fmla="*/ 888492 w 2057400"/>
                  <a:gd name="connsiteY42" fmla="*/ 306896 h 338042"/>
                  <a:gd name="connsiteX43" fmla="*/ 953167 w 2057400"/>
                  <a:gd name="connsiteY43" fmla="*/ 282512 h 338042"/>
                  <a:gd name="connsiteX44" fmla="*/ 977075 w 2057400"/>
                  <a:gd name="connsiteY44" fmla="*/ 209931 h 338042"/>
                  <a:gd name="connsiteX45" fmla="*/ 977075 w 2057400"/>
                  <a:gd name="connsiteY45" fmla="*/ 39053 h 338042"/>
                  <a:gd name="connsiteX46" fmla="*/ 1010222 w 2057400"/>
                  <a:gd name="connsiteY46" fmla="*/ 39053 h 338042"/>
                  <a:gd name="connsiteX47" fmla="*/ 1010222 w 2057400"/>
                  <a:gd name="connsiteY47" fmla="*/ 207359 h 338042"/>
                  <a:gd name="connsiteX48" fmla="*/ 1001363 w 2057400"/>
                  <a:gd name="connsiteY48" fmla="*/ 263652 h 338042"/>
                  <a:gd name="connsiteX49" fmla="*/ 976408 w 2057400"/>
                  <a:gd name="connsiteY49" fmla="*/ 304324 h 338042"/>
                  <a:gd name="connsiteX50" fmla="*/ 937832 w 2057400"/>
                  <a:gd name="connsiteY50" fmla="*/ 329089 h 338042"/>
                  <a:gd name="connsiteX51" fmla="*/ 887635 w 2057400"/>
                  <a:gd name="connsiteY51" fmla="*/ 337471 h 338042"/>
                  <a:gd name="connsiteX52" fmla="*/ 1122902 w 2057400"/>
                  <a:gd name="connsiteY52" fmla="*/ 39053 h 338042"/>
                  <a:gd name="connsiteX53" fmla="*/ 1156049 w 2057400"/>
                  <a:gd name="connsiteY53" fmla="*/ 39053 h 338042"/>
                  <a:gd name="connsiteX54" fmla="*/ 1156049 w 2057400"/>
                  <a:gd name="connsiteY54" fmla="*/ 302228 h 338042"/>
                  <a:gd name="connsiteX55" fmla="*/ 1321403 w 2057400"/>
                  <a:gd name="connsiteY55" fmla="*/ 302228 h 338042"/>
                  <a:gd name="connsiteX56" fmla="*/ 1321403 w 2057400"/>
                  <a:gd name="connsiteY56" fmla="*/ 332899 h 338042"/>
                  <a:gd name="connsiteX57" fmla="*/ 1122807 w 2057400"/>
                  <a:gd name="connsiteY57" fmla="*/ 332899 h 338042"/>
                  <a:gd name="connsiteX58" fmla="*/ 1122807 w 2057400"/>
                  <a:gd name="connsiteY58" fmla="*/ 39053 h 338042"/>
                  <a:gd name="connsiteX59" fmla="*/ 1556290 w 2057400"/>
                  <a:gd name="connsiteY59" fmla="*/ 337566 h 338042"/>
                  <a:gd name="connsiteX60" fmla="*/ 1506569 w 2057400"/>
                  <a:gd name="connsiteY60" fmla="*/ 329375 h 338042"/>
                  <a:gd name="connsiteX61" fmla="*/ 1467993 w 2057400"/>
                  <a:gd name="connsiteY61" fmla="*/ 304991 h 338042"/>
                  <a:gd name="connsiteX62" fmla="*/ 1443038 w 2057400"/>
                  <a:gd name="connsiteY62" fmla="*/ 264890 h 338042"/>
                  <a:gd name="connsiteX63" fmla="*/ 1434179 w 2057400"/>
                  <a:gd name="connsiteY63" fmla="*/ 209931 h 338042"/>
                  <a:gd name="connsiteX64" fmla="*/ 1434179 w 2057400"/>
                  <a:gd name="connsiteY64" fmla="*/ 39053 h 338042"/>
                  <a:gd name="connsiteX65" fmla="*/ 1467326 w 2057400"/>
                  <a:gd name="connsiteY65" fmla="*/ 39053 h 338042"/>
                  <a:gd name="connsiteX66" fmla="*/ 1467326 w 2057400"/>
                  <a:gd name="connsiteY66" fmla="*/ 207836 h 338042"/>
                  <a:gd name="connsiteX67" fmla="*/ 1491043 w 2057400"/>
                  <a:gd name="connsiteY67" fmla="*/ 281273 h 338042"/>
                  <a:gd name="connsiteX68" fmla="*/ 1557147 w 2057400"/>
                  <a:gd name="connsiteY68" fmla="*/ 306896 h 338042"/>
                  <a:gd name="connsiteX69" fmla="*/ 1621822 w 2057400"/>
                  <a:gd name="connsiteY69" fmla="*/ 282512 h 338042"/>
                  <a:gd name="connsiteX70" fmla="*/ 1645730 w 2057400"/>
                  <a:gd name="connsiteY70" fmla="*/ 209931 h 338042"/>
                  <a:gd name="connsiteX71" fmla="*/ 1645730 w 2057400"/>
                  <a:gd name="connsiteY71" fmla="*/ 39053 h 338042"/>
                  <a:gd name="connsiteX72" fmla="*/ 1678877 w 2057400"/>
                  <a:gd name="connsiteY72" fmla="*/ 39053 h 338042"/>
                  <a:gd name="connsiteX73" fmla="*/ 1678877 w 2057400"/>
                  <a:gd name="connsiteY73" fmla="*/ 207359 h 338042"/>
                  <a:gd name="connsiteX74" fmla="*/ 1670018 w 2057400"/>
                  <a:gd name="connsiteY74" fmla="*/ 263652 h 338042"/>
                  <a:gd name="connsiteX75" fmla="*/ 1645063 w 2057400"/>
                  <a:gd name="connsiteY75" fmla="*/ 304324 h 338042"/>
                  <a:gd name="connsiteX76" fmla="*/ 1606487 w 2057400"/>
                  <a:gd name="connsiteY76" fmla="*/ 329089 h 338042"/>
                  <a:gd name="connsiteX77" fmla="*/ 1556290 w 2057400"/>
                  <a:gd name="connsiteY77" fmla="*/ 337471 h 338042"/>
                  <a:gd name="connsiteX78" fmla="*/ 1904429 w 2057400"/>
                  <a:gd name="connsiteY78" fmla="*/ 183071 h 338042"/>
                  <a:gd name="connsiteX79" fmla="*/ 1795748 w 2057400"/>
                  <a:gd name="connsiteY79" fmla="*/ 39053 h 338042"/>
                  <a:gd name="connsiteX80" fmla="*/ 1834801 w 2057400"/>
                  <a:gd name="connsiteY80" fmla="*/ 39053 h 338042"/>
                  <a:gd name="connsiteX81" fmla="*/ 1925098 w 2057400"/>
                  <a:gd name="connsiteY81" fmla="*/ 159068 h 338042"/>
                  <a:gd name="connsiteX82" fmla="*/ 2014538 w 2057400"/>
                  <a:gd name="connsiteY82" fmla="*/ 39053 h 338042"/>
                  <a:gd name="connsiteX83" fmla="*/ 2053209 w 2057400"/>
                  <a:gd name="connsiteY83" fmla="*/ 39053 h 338042"/>
                  <a:gd name="connsiteX84" fmla="*/ 1944434 w 2057400"/>
                  <a:gd name="connsiteY84" fmla="*/ 182594 h 338042"/>
                  <a:gd name="connsiteX85" fmla="*/ 2057400 w 2057400"/>
                  <a:gd name="connsiteY85" fmla="*/ 332899 h 338042"/>
                  <a:gd name="connsiteX86" fmla="*/ 2017967 w 2057400"/>
                  <a:gd name="connsiteY86" fmla="*/ 332899 h 338042"/>
                  <a:gd name="connsiteX87" fmla="*/ 1923955 w 2057400"/>
                  <a:gd name="connsiteY87" fmla="*/ 206502 h 338042"/>
                  <a:gd name="connsiteX88" fmla="*/ 1829943 w 2057400"/>
                  <a:gd name="connsiteY88" fmla="*/ 332899 h 338042"/>
                  <a:gd name="connsiteX89" fmla="*/ 1791748 w 2057400"/>
                  <a:gd name="connsiteY89" fmla="*/ 332899 h 338042"/>
                  <a:gd name="connsiteX90" fmla="*/ 1904714 w 2057400"/>
                  <a:gd name="connsiteY90" fmla="*/ 183071 h 338042"/>
                  <a:gd name="connsiteX91" fmla="*/ 34004 w 2057400"/>
                  <a:gd name="connsiteY91" fmla="*/ 332899 h 338042"/>
                  <a:gd name="connsiteX92" fmla="*/ 149066 w 2057400"/>
                  <a:gd name="connsiteY92" fmla="*/ 75533 h 338042"/>
                  <a:gd name="connsiteX93" fmla="*/ 263271 w 2057400"/>
                  <a:gd name="connsiteY93" fmla="*/ 332899 h 338042"/>
                  <a:gd name="connsiteX94" fmla="*/ 298990 w 2057400"/>
                  <a:gd name="connsiteY94" fmla="*/ 332899 h 338042"/>
                  <a:gd name="connsiteX95" fmla="*/ 149447 w 2057400"/>
                  <a:gd name="connsiteY95" fmla="*/ 0 h 338042"/>
                  <a:gd name="connsiteX96" fmla="*/ 0 w 2057400"/>
                  <a:gd name="connsiteY96" fmla="*/ 332899 h 338042"/>
                  <a:gd name="connsiteX97" fmla="*/ 34004 w 2057400"/>
                  <a:gd name="connsiteY97" fmla="*/ 332899 h 3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57400" h="338042">
                    <a:moveTo>
                      <a:pt x="535305" y="337947"/>
                    </a:moveTo>
                    <a:cubicBezTo>
                      <a:pt x="514064" y="337947"/>
                      <a:pt x="494443" y="334042"/>
                      <a:pt x="476536" y="326231"/>
                    </a:cubicBezTo>
                    <a:cubicBezTo>
                      <a:pt x="458629" y="318421"/>
                      <a:pt x="443103" y="307658"/>
                      <a:pt x="429959" y="294132"/>
                    </a:cubicBezTo>
                    <a:cubicBezTo>
                      <a:pt x="416814" y="280607"/>
                      <a:pt x="406527" y="264509"/>
                      <a:pt x="399098" y="246031"/>
                    </a:cubicBezTo>
                    <a:cubicBezTo>
                      <a:pt x="391668" y="227552"/>
                      <a:pt x="387953" y="207836"/>
                      <a:pt x="387953" y="186881"/>
                    </a:cubicBezTo>
                    <a:lnTo>
                      <a:pt x="387953" y="186023"/>
                    </a:lnTo>
                    <a:cubicBezTo>
                      <a:pt x="387953" y="165354"/>
                      <a:pt x="391668" y="145733"/>
                      <a:pt x="399098" y="127254"/>
                    </a:cubicBezTo>
                    <a:cubicBezTo>
                      <a:pt x="406527" y="108776"/>
                      <a:pt x="416814" y="92583"/>
                      <a:pt x="429959" y="78772"/>
                    </a:cubicBezTo>
                    <a:cubicBezTo>
                      <a:pt x="443103" y="64961"/>
                      <a:pt x="458819" y="54007"/>
                      <a:pt x="477012" y="46006"/>
                    </a:cubicBezTo>
                    <a:cubicBezTo>
                      <a:pt x="495205" y="38005"/>
                      <a:pt x="515112" y="34004"/>
                      <a:pt x="536639" y="34004"/>
                    </a:cubicBezTo>
                    <a:cubicBezTo>
                      <a:pt x="550069" y="34004"/>
                      <a:pt x="562166" y="35147"/>
                      <a:pt x="572929" y="37338"/>
                    </a:cubicBezTo>
                    <a:cubicBezTo>
                      <a:pt x="583692" y="39624"/>
                      <a:pt x="593693" y="42767"/>
                      <a:pt x="602933" y="46768"/>
                    </a:cubicBezTo>
                    <a:cubicBezTo>
                      <a:pt x="612172" y="50864"/>
                      <a:pt x="620744" y="55721"/>
                      <a:pt x="628555" y="61436"/>
                    </a:cubicBezTo>
                    <a:cubicBezTo>
                      <a:pt x="636365" y="67151"/>
                      <a:pt x="643985" y="73533"/>
                      <a:pt x="651224" y="80582"/>
                    </a:cubicBezTo>
                    <a:lnTo>
                      <a:pt x="628555" y="104966"/>
                    </a:lnTo>
                    <a:cubicBezTo>
                      <a:pt x="615982" y="93250"/>
                      <a:pt x="602456" y="83534"/>
                      <a:pt x="588074" y="76010"/>
                    </a:cubicBezTo>
                    <a:cubicBezTo>
                      <a:pt x="573691" y="68485"/>
                      <a:pt x="556355" y="64675"/>
                      <a:pt x="536258" y="64675"/>
                    </a:cubicBezTo>
                    <a:cubicBezTo>
                      <a:pt x="520065" y="64675"/>
                      <a:pt x="505016" y="67723"/>
                      <a:pt x="491109" y="73914"/>
                    </a:cubicBezTo>
                    <a:cubicBezTo>
                      <a:pt x="477298" y="80105"/>
                      <a:pt x="465201" y="88583"/>
                      <a:pt x="455009" y="99536"/>
                    </a:cubicBezTo>
                    <a:cubicBezTo>
                      <a:pt x="444818" y="110490"/>
                      <a:pt x="436817" y="123253"/>
                      <a:pt x="431101" y="137922"/>
                    </a:cubicBezTo>
                    <a:cubicBezTo>
                      <a:pt x="425387" y="152591"/>
                      <a:pt x="422529" y="168402"/>
                      <a:pt x="422529" y="185166"/>
                    </a:cubicBezTo>
                    <a:lnTo>
                      <a:pt x="422529" y="186023"/>
                    </a:lnTo>
                    <a:cubicBezTo>
                      <a:pt x="422529" y="203073"/>
                      <a:pt x="425387" y="218980"/>
                      <a:pt x="431101" y="233648"/>
                    </a:cubicBezTo>
                    <a:cubicBezTo>
                      <a:pt x="436817" y="248317"/>
                      <a:pt x="444818" y="261176"/>
                      <a:pt x="455009" y="272034"/>
                    </a:cubicBezTo>
                    <a:cubicBezTo>
                      <a:pt x="465201" y="282988"/>
                      <a:pt x="477298" y="291560"/>
                      <a:pt x="491109" y="297847"/>
                    </a:cubicBezTo>
                    <a:cubicBezTo>
                      <a:pt x="504920" y="304133"/>
                      <a:pt x="519970" y="307276"/>
                      <a:pt x="536258" y="307276"/>
                    </a:cubicBezTo>
                    <a:cubicBezTo>
                      <a:pt x="556451" y="307276"/>
                      <a:pt x="573786" y="303562"/>
                      <a:pt x="588264" y="296132"/>
                    </a:cubicBezTo>
                    <a:cubicBezTo>
                      <a:pt x="602837" y="288703"/>
                      <a:pt x="617125" y="278321"/>
                      <a:pt x="631127" y="264890"/>
                    </a:cubicBezTo>
                    <a:lnTo>
                      <a:pt x="652939" y="286322"/>
                    </a:lnTo>
                    <a:cubicBezTo>
                      <a:pt x="645414" y="294132"/>
                      <a:pt x="637508" y="301181"/>
                      <a:pt x="629222" y="307562"/>
                    </a:cubicBezTo>
                    <a:cubicBezTo>
                      <a:pt x="620935" y="313849"/>
                      <a:pt x="612172" y="319278"/>
                      <a:pt x="602742" y="323755"/>
                    </a:cubicBezTo>
                    <a:cubicBezTo>
                      <a:pt x="593408" y="328232"/>
                      <a:pt x="583121" y="331756"/>
                      <a:pt x="572072" y="334232"/>
                    </a:cubicBezTo>
                    <a:cubicBezTo>
                      <a:pt x="561023" y="336709"/>
                      <a:pt x="548735" y="338042"/>
                      <a:pt x="535305" y="338042"/>
                    </a:cubicBezTo>
                    <a:close/>
                    <a:moveTo>
                      <a:pt x="887635" y="337566"/>
                    </a:moveTo>
                    <a:cubicBezTo>
                      <a:pt x="869442" y="337566"/>
                      <a:pt x="852869" y="334804"/>
                      <a:pt x="837914" y="329375"/>
                    </a:cubicBezTo>
                    <a:cubicBezTo>
                      <a:pt x="822960" y="323945"/>
                      <a:pt x="810101" y="315849"/>
                      <a:pt x="799338" y="304991"/>
                    </a:cubicBezTo>
                    <a:cubicBezTo>
                      <a:pt x="788575" y="294227"/>
                      <a:pt x="780193" y="280892"/>
                      <a:pt x="774383" y="264890"/>
                    </a:cubicBezTo>
                    <a:cubicBezTo>
                      <a:pt x="768477" y="248984"/>
                      <a:pt x="765524" y="230600"/>
                      <a:pt x="765524" y="209931"/>
                    </a:cubicBezTo>
                    <a:lnTo>
                      <a:pt x="765524" y="39053"/>
                    </a:lnTo>
                    <a:lnTo>
                      <a:pt x="798671" y="39053"/>
                    </a:lnTo>
                    <a:lnTo>
                      <a:pt x="798671" y="207836"/>
                    </a:lnTo>
                    <a:cubicBezTo>
                      <a:pt x="798671" y="239744"/>
                      <a:pt x="806577" y="264224"/>
                      <a:pt x="822388" y="281273"/>
                    </a:cubicBezTo>
                    <a:cubicBezTo>
                      <a:pt x="838200" y="298323"/>
                      <a:pt x="860203" y="306896"/>
                      <a:pt x="888492" y="306896"/>
                    </a:cubicBezTo>
                    <a:cubicBezTo>
                      <a:pt x="916781" y="306896"/>
                      <a:pt x="937165" y="298799"/>
                      <a:pt x="953167" y="282512"/>
                    </a:cubicBezTo>
                    <a:cubicBezTo>
                      <a:pt x="969074" y="266319"/>
                      <a:pt x="977075" y="242030"/>
                      <a:pt x="977075" y="209931"/>
                    </a:cubicBezTo>
                    <a:lnTo>
                      <a:pt x="977075" y="39053"/>
                    </a:lnTo>
                    <a:lnTo>
                      <a:pt x="1010222" y="39053"/>
                    </a:lnTo>
                    <a:lnTo>
                      <a:pt x="1010222" y="207359"/>
                    </a:lnTo>
                    <a:cubicBezTo>
                      <a:pt x="1010222" y="228600"/>
                      <a:pt x="1007269" y="247364"/>
                      <a:pt x="1001363" y="263652"/>
                    </a:cubicBezTo>
                    <a:cubicBezTo>
                      <a:pt x="995458" y="279845"/>
                      <a:pt x="987171" y="293465"/>
                      <a:pt x="976408" y="304324"/>
                    </a:cubicBezTo>
                    <a:cubicBezTo>
                      <a:pt x="965645" y="315278"/>
                      <a:pt x="952786" y="323469"/>
                      <a:pt x="937832" y="329089"/>
                    </a:cubicBezTo>
                    <a:cubicBezTo>
                      <a:pt x="922877" y="334709"/>
                      <a:pt x="906113" y="337471"/>
                      <a:pt x="887635" y="337471"/>
                    </a:cubicBezTo>
                    <a:close/>
                    <a:moveTo>
                      <a:pt x="1122902" y="39053"/>
                    </a:moveTo>
                    <a:lnTo>
                      <a:pt x="1156049" y="39053"/>
                    </a:lnTo>
                    <a:lnTo>
                      <a:pt x="1156049" y="302228"/>
                    </a:lnTo>
                    <a:lnTo>
                      <a:pt x="1321403" y="302228"/>
                    </a:lnTo>
                    <a:lnTo>
                      <a:pt x="1321403" y="332899"/>
                    </a:lnTo>
                    <a:lnTo>
                      <a:pt x="1122807" y="332899"/>
                    </a:lnTo>
                    <a:lnTo>
                      <a:pt x="1122807" y="39053"/>
                    </a:lnTo>
                    <a:close/>
                    <a:moveTo>
                      <a:pt x="1556290" y="337566"/>
                    </a:moveTo>
                    <a:cubicBezTo>
                      <a:pt x="1538097" y="337566"/>
                      <a:pt x="1521524" y="334804"/>
                      <a:pt x="1506569" y="329375"/>
                    </a:cubicBezTo>
                    <a:cubicBezTo>
                      <a:pt x="1491615" y="323945"/>
                      <a:pt x="1478756" y="315849"/>
                      <a:pt x="1467993" y="304991"/>
                    </a:cubicBezTo>
                    <a:cubicBezTo>
                      <a:pt x="1457230" y="294227"/>
                      <a:pt x="1448848" y="280892"/>
                      <a:pt x="1443038" y="264890"/>
                    </a:cubicBezTo>
                    <a:cubicBezTo>
                      <a:pt x="1437132" y="248984"/>
                      <a:pt x="1434179" y="230600"/>
                      <a:pt x="1434179" y="209931"/>
                    </a:cubicBezTo>
                    <a:lnTo>
                      <a:pt x="1434179" y="39053"/>
                    </a:lnTo>
                    <a:lnTo>
                      <a:pt x="1467326" y="39053"/>
                    </a:lnTo>
                    <a:lnTo>
                      <a:pt x="1467326" y="207836"/>
                    </a:lnTo>
                    <a:cubicBezTo>
                      <a:pt x="1467326" y="239744"/>
                      <a:pt x="1475232" y="264224"/>
                      <a:pt x="1491043" y="281273"/>
                    </a:cubicBezTo>
                    <a:cubicBezTo>
                      <a:pt x="1506855" y="298323"/>
                      <a:pt x="1528858" y="306896"/>
                      <a:pt x="1557147" y="306896"/>
                    </a:cubicBezTo>
                    <a:cubicBezTo>
                      <a:pt x="1585436" y="306896"/>
                      <a:pt x="1605820" y="298799"/>
                      <a:pt x="1621822" y="282512"/>
                    </a:cubicBezTo>
                    <a:cubicBezTo>
                      <a:pt x="1637729" y="266319"/>
                      <a:pt x="1645730" y="242030"/>
                      <a:pt x="1645730" y="209931"/>
                    </a:cubicBezTo>
                    <a:lnTo>
                      <a:pt x="1645730" y="39053"/>
                    </a:lnTo>
                    <a:lnTo>
                      <a:pt x="1678877" y="39053"/>
                    </a:lnTo>
                    <a:lnTo>
                      <a:pt x="1678877" y="207359"/>
                    </a:lnTo>
                    <a:cubicBezTo>
                      <a:pt x="1678877" y="228600"/>
                      <a:pt x="1675924" y="247364"/>
                      <a:pt x="1670018" y="263652"/>
                    </a:cubicBezTo>
                    <a:cubicBezTo>
                      <a:pt x="1664113" y="279845"/>
                      <a:pt x="1655826" y="293465"/>
                      <a:pt x="1645063" y="304324"/>
                    </a:cubicBezTo>
                    <a:cubicBezTo>
                      <a:pt x="1634300" y="315278"/>
                      <a:pt x="1621441" y="323469"/>
                      <a:pt x="1606487" y="329089"/>
                    </a:cubicBezTo>
                    <a:cubicBezTo>
                      <a:pt x="1591532" y="334709"/>
                      <a:pt x="1574768" y="337471"/>
                      <a:pt x="1556290" y="337471"/>
                    </a:cubicBezTo>
                    <a:close/>
                    <a:moveTo>
                      <a:pt x="1904429" y="183071"/>
                    </a:moveTo>
                    <a:lnTo>
                      <a:pt x="1795748" y="39053"/>
                    </a:lnTo>
                    <a:lnTo>
                      <a:pt x="1834801" y="39053"/>
                    </a:lnTo>
                    <a:lnTo>
                      <a:pt x="1925098" y="159068"/>
                    </a:lnTo>
                    <a:lnTo>
                      <a:pt x="2014538" y="39053"/>
                    </a:lnTo>
                    <a:lnTo>
                      <a:pt x="2053209" y="39053"/>
                    </a:lnTo>
                    <a:lnTo>
                      <a:pt x="1944434" y="182594"/>
                    </a:lnTo>
                    <a:lnTo>
                      <a:pt x="2057400" y="332899"/>
                    </a:lnTo>
                    <a:lnTo>
                      <a:pt x="2017967" y="332899"/>
                    </a:lnTo>
                    <a:lnTo>
                      <a:pt x="1923955" y="206502"/>
                    </a:lnTo>
                    <a:lnTo>
                      <a:pt x="1829943" y="332899"/>
                    </a:lnTo>
                    <a:lnTo>
                      <a:pt x="1791748" y="332899"/>
                    </a:lnTo>
                    <a:lnTo>
                      <a:pt x="1904714" y="183071"/>
                    </a:lnTo>
                    <a:close/>
                    <a:moveTo>
                      <a:pt x="34004" y="332899"/>
                    </a:moveTo>
                    <a:lnTo>
                      <a:pt x="149066" y="75533"/>
                    </a:lnTo>
                    <a:lnTo>
                      <a:pt x="263271" y="332899"/>
                    </a:lnTo>
                    <a:lnTo>
                      <a:pt x="298990" y="332899"/>
                    </a:lnTo>
                    <a:lnTo>
                      <a:pt x="149447" y="0"/>
                    </a:lnTo>
                    <a:lnTo>
                      <a:pt x="0" y="332899"/>
                    </a:lnTo>
                    <a:lnTo>
                      <a:pt x="34004" y="33289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E4E4E680-9642-4D9E-9527-0FC87128E7B8}"/>
                  </a:ext>
                </a:extLst>
              </p:cNvPr>
              <p:cNvSpPr/>
              <p:nvPr/>
            </p:nvSpPr>
            <p:spPr>
              <a:xfrm>
                <a:off x="7834623" y="3963170"/>
                <a:ext cx="60388" cy="60388"/>
              </a:xfrm>
              <a:custGeom>
                <a:avLst/>
                <a:gdLst>
                  <a:gd name="connsiteX0" fmla="*/ 30194 w 60388"/>
                  <a:gd name="connsiteY0" fmla="*/ 0 h 60388"/>
                  <a:gd name="connsiteX1" fmla="*/ 60388 w 60388"/>
                  <a:gd name="connsiteY1" fmla="*/ 30194 h 60388"/>
                  <a:gd name="connsiteX2" fmla="*/ 30194 w 60388"/>
                  <a:gd name="connsiteY2" fmla="*/ 60388 h 60388"/>
                  <a:gd name="connsiteX3" fmla="*/ 0 w 60388"/>
                  <a:gd name="connsiteY3" fmla="*/ 30194 h 60388"/>
                  <a:gd name="connsiteX4" fmla="*/ 30194 w 60388"/>
                  <a:gd name="connsiteY4" fmla="*/ 0 h 60388"/>
                  <a:gd name="connsiteX5" fmla="*/ 30194 w 60388"/>
                  <a:gd name="connsiteY5" fmla="*/ 56102 h 60388"/>
                  <a:gd name="connsiteX6" fmla="*/ 55054 w 60388"/>
                  <a:gd name="connsiteY6" fmla="*/ 30289 h 60388"/>
                  <a:gd name="connsiteX7" fmla="*/ 30194 w 60388"/>
                  <a:gd name="connsiteY7" fmla="*/ 4477 h 60388"/>
                  <a:gd name="connsiteX8" fmla="*/ 5334 w 60388"/>
                  <a:gd name="connsiteY8" fmla="*/ 30289 h 60388"/>
                  <a:gd name="connsiteX9" fmla="*/ 30194 w 60388"/>
                  <a:gd name="connsiteY9" fmla="*/ 56102 h 60388"/>
                  <a:gd name="connsiteX10" fmla="*/ 18669 w 60388"/>
                  <a:gd name="connsiteY10" fmla="*/ 12573 h 60388"/>
                  <a:gd name="connsiteX11" fmla="*/ 32004 w 60388"/>
                  <a:gd name="connsiteY11" fmla="*/ 12573 h 60388"/>
                  <a:gd name="connsiteX12" fmla="*/ 44387 w 60388"/>
                  <a:gd name="connsiteY12" fmla="*/ 22670 h 60388"/>
                  <a:gd name="connsiteX13" fmla="*/ 35052 w 60388"/>
                  <a:gd name="connsiteY13" fmla="*/ 32385 h 60388"/>
                  <a:gd name="connsiteX14" fmla="*/ 45244 w 60388"/>
                  <a:gd name="connsiteY14" fmla="*/ 48006 h 60388"/>
                  <a:gd name="connsiteX15" fmla="*/ 39433 w 60388"/>
                  <a:gd name="connsiteY15" fmla="*/ 48006 h 60388"/>
                  <a:gd name="connsiteX16" fmla="*/ 29813 w 60388"/>
                  <a:gd name="connsiteY16" fmla="*/ 32766 h 60388"/>
                  <a:gd name="connsiteX17" fmla="*/ 24003 w 60388"/>
                  <a:gd name="connsiteY17" fmla="*/ 32766 h 60388"/>
                  <a:gd name="connsiteX18" fmla="*/ 24003 w 60388"/>
                  <a:gd name="connsiteY18" fmla="*/ 48006 h 60388"/>
                  <a:gd name="connsiteX19" fmla="*/ 18669 w 60388"/>
                  <a:gd name="connsiteY19" fmla="*/ 48006 h 60388"/>
                  <a:gd name="connsiteX20" fmla="*/ 18669 w 60388"/>
                  <a:gd name="connsiteY20" fmla="*/ 12668 h 60388"/>
                  <a:gd name="connsiteX21" fmla="*/ 24003 w 60388"/>
                  <a:gd name="connsiteY21" fmla="*/ 28289 h 60388"/>
                  <a:gd name="connsiteX22" fmla="*/ 29528 w 60388"/>
                  <a:gd name="connsiteY22" fmla="*/ 28289 h 60388"/>
                  <a:gd name="connsiteX23" fmla="*/ 38957 w 60388"/>
                  <a:gd name="connsiteY23" fmla="*/ 22384 h 60388"/>
                  <a:gd name="connsiteX24" fmla="*/ 31051 w 60388"/>
                  <a:gd name="connsiteY24" fmla="*/ 16955 h 60388"/>
                  <a:gd name="connsiteX25" fmla="*/ 24003 w 60388"/>
                  <a:gd name="connsiteY25" fmla="*/ 16955 h 60388"/>
                  <a:gd name="connsiteX26" fmla="*/ 24003 w 60388"/>
                  <a:gd name="connsiteY26" fmla="*/ 28289 h 6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388" h="60388">
                    <a:moveTo>
                      <a:pt x="30194" y="0"/>
                    </a:moveTo>
                    <a:cubicBezTo>
                      <a:pt x="46577" y="0"/>
                      <a:pt x="60388" y="12954"/>
                      <a:pt x="60388" y="30194"/>
                    </a:cubicBezTo>
                    <a:cubicBezTo>
                      <a:pt x="60388" y="47435"/>
                      <a:pt x="46577" y="60388"/>
                      <a:pt x="30194" y="60388"/>
                    </a:cubicBezTo>
                    <a:cubicBezTo>
                      <a:pt x="13811" y="60388"/>
                      <a:pt x="0" y="47435"/>
                      <a:pt x="0" y="30194"/>
                    </a:cubicBezTo>
                    <a:cubicBezTo>
                      <a:pt x="0" y="12954"/>
                      <a:pt x="13716" y="0"/>
                      <a:pt x="30194" y="0"/>
                    </a:cubicBezTo>
                    <a:close/>
                    <a:moveTo>
                      <a:pt x="30194" y="56102"/>
                    </a:moveTo>
                    <a:cubicBezTo>
                      <a:pt x="44005" y="56102"/>
                      <a:pt x="55054" y="44863"/>
                      <a:pt x="55054" y="30289"/>
                    </a:cubicBezTo>
                    <a:cubicBezTo>
                      <a:pt x="55054" y="15716"/>
                      <a:pt x="44005" y="4477"/>
                      <a:pt x="30194" y="4477"/>
                    </a:cubicBezTo>
                    <a:cubicBezTo>
                      <a:pt x="16383" y="4477"/>
                      <a:pt x="5334" y="15716"/>
                      <a:pt x="5334" y="30289"/>
                    </a:cubicBezTo>
                    <a:cubicBezTo>
                      <a:pt x="5334" y="44863"/>
                      <a:pt x="16288" y="56102"/>
                      <a:pt x="30194" y="56102"/>
                    </a:cubicBezTo>
                    <a:close/>
                    <a:moveTo>
                      <a:pt x="18669" y="12573"/>
                    </a:moveTo>
                    <a:lnTo>
                      <a:pt x="32004" y="12573"/>
                    </a:lnTo>
                    <a:cubicBezTo>
                      <a:pt x="40386" y="12573"/>
                      <a:pt x="44387" y="15907"/>
                      <a:pt x="44387" y="22670"/>
                    </a:cubicBezTo>
                    <a:cubicBezTo>
                      <a:pt x="44387" y="29432"/>
                      <a:pt x="40291" y="31814"/>
                      <a:pt x="35052" y="32385"/>
                    </a:cubicBezTo>
                    <a:lnTo>
                      <a:pt x="45244" y="48006"/>
                    </a:lnTo>
                    <a:lnTo>
                      <a:pt x="39433" y="48006"/>
                    </a:lnTo>
                    <a:lnTo>
                      <a:pt x="29813" y="32766"/>
                    </a:lnTo>
                    <a:lnTo>
                      <a:pt x="24003" y="32766"/>
                    </a:lnTo>
                    <a:lnTo>
                      <a:pt x="24003" y="48006"/>
                    </a:lnTo>
                    <a:lnTo>
                      <a:pt x="18669" y="48006"/>
                    </a:lnTo>
                    <a:lnTo>
                      <a:pt x="18669" y="12668"/>
                    </a:lnTo>
                    <a:close/>
                    <a:moveTo>
                      <a:pt x="24003" y="28289"/>
                    </a:moveTo>
                    <a:lnTo>
                      <a:pt x="29528" y="28289"/>
                    </a:lnTo>
                    <a:cubicBezTo>
                      <a:pt x="34290" y="28289"/>
                      <a:pt x="38957" y="28004"/>
                      <a:pt x="38957" y="22384"/>
                    </a:cubicBezTo>
                    <a:cubicBezTo>
                      <a:pt x="38957" y="17526"/>
                      <a:pt x="34766" y="16955"/>
                      <a:pt x="31051" y="16955"/>
                    </a:cubicBezTo>
                    <a:lnTo>
                      <a:pt x="24003" y="16955"/>
                    </a:lnTo>
                    <a:lnTo>
                      <a:pt x="24003" y="282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301" name="Group 300">
              <a:extLst>
                <a:ext uri="{FF2B5EF4-FFF2-40B4-BE49-F238E27FC236}">
                  <a16:creationId xmlns:a16="http://schemas.microsoft.com/office/drawing/2014/main" id="{EDAD0E21-F7F6-48A2-8C96-857CDBE6E0FD}"/>
                </a:ext>
              </a:extLst>
            </p:cNvPr>
            <p:cNvGrpSpPr/>
            <p:nvPr userDrawn="1"/>
          </p:nvGrpSpPr>
          <p:grpSpPr>
            <a:xfrm>
              <a:off x="5968468" y="1735381"/>
              <a:ext cx="919759" cy="207212"/>
              <a:chOff x="6429597" y="4091122"/>
              <a:chExt cx="531018" cy="119633"/>
            </a:xfrm>
          </p:grpSpPr>
          <p:sp>
            <p:nvSpPr>
              <p:cNvPr id="302" name="Freeform: Shape 301">
                <a:extLst>
                  <a:ext uri="{FF2B5EF4-FFF2-40B4-BE49-F238E27FC236}">
                    <a16:creationId xmlns:a16="http://schemas.microsoft.com/office/drawing/2014/main" id="{59EEF608-31A2-40B3-95BA-D350AB025438}"/>
                  </a:ext>
                </a:extLst>
              </p:cNvPr>
              <p:cNvSpPr/>
              <p:nvPr/>
            </p:nvSpPr>
            <p:spPr>
              <a:xfrm>
                <a:off x="6429597" y="4093884"/>
                <a:ext cx="114395" cy="109061"/>
              </a:xfrm>
              <a:custGeom>
                <a:avLst/>
                <a:gdLst>
                  <a:gd name="connsiteX0" fmla="*/ 39053 w 114395"/>
                  <a:gd name="connsiteY0" fmla="*/ 0 h 109061"/>
                  <a:gd name="connsiteX1" fmla="*/ 0 w 114395"/>
                  <a:gd name="connsiteY1" fmla="*/ 109061 h 109061"/>
                  <a:gd name="connsiteX2" fmla="*/ 34957 w 114395"/>
                  <a:gd name="connsiteY2" fmla="*/ 109061 h 109061"/>
                  <a:gd name="connsiteX3" fmla="*/ 39053 w 114395"/>
                  <a:gd name="connsiteY3" fmla="*/ 94678 h 109061"/>
                  <a:gd name="connsiteX4" fmla="*/ 57055 w 114395"/>
                  <a:gd name="connsiteY4" fmla="*/ 32766 h 109061"/>
                  <a:gd name="connsiteX5" fmla="*/ 74676 w 114395"/>
                  <a:gd name="connsiteY5" fmla="*/ 94678 h 109061"/>
                  <a:gd name="connsiteX6" fmla="*/ 78867 w 114395"/>
                  <a:gd name="connsiteY6" fmla="*/ 109061 h 109061"/>
                  <a:gd name="connsiteX7" fmla="*/ 114395 w 114395"/>
                  <a:gd name="connsiteY7" fmla="*/ 109061 h 109061"/>
                  <a:gd name="connsiteX8" fmla="*/ 75343 w 114395"/>
                  <a:gd name="connsiteY8" fmla="*/ 0 h 109061"/>
                  <a:gd name="connsiteX9" fmla="*/ 39053 w 114395"/>
                  <a:gd name="connsiteY9" fmla="*/ 0 h 109061"/>
                  <a:gd name="connsiteX10" fmla="*/ 39053 w 114395"/>
                  <a:gd name="connsiteY10" fmla="*/ 0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95" h="109061">
                    <a:moveTo>
                      <a:pt x="39053" y="0"/>
                    </a:moveTo>
                    <a:lnTo>
                      <a:pt x="0" y="109061"/>
                    </a:lnTo>
                    <a:lnTo>
                      <a:pt x="34957" y="109061"/>
                    </a:lnTo>
                    <a:lnTo>
                      <a:pt x="39053" y="94678"/>
                    </a:lnTo>
                    <a:lnTo>
                      <a:pt x="57055" y="32766"/>
                    </a:lnTo>
                    <a:lnTo>
                      <a:pt x="74676" y="94678"/>
                    </a:lnTo>
                    <a:lnTo>
                      <a:pt x="78867" y="109061"/>
                    </a:lnTo>
                    <a:lnTo>
                      <a:pt x="114395" y="109061"/>
                    </a:lnTo>
                    <a:lnTo>
                      <a:pt x="75343" y="0"/>
                    </a:lnTo>
                    <a:lnTo>
                      <a:pt x="39053" y="0"/>
                    </a:lnTo>
                    <a:lnTo>
                      <a:pt x="39053"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9000A2F0-BB7A-4231-8232-D95B223212D5}"/>
                  </a:ext>
                </a:extLst>
              </p:cNvPr>
              <p:cNvSpPr/>
              <p:nvPr/>
            </p:nvSpPr>
            <p:spPr>
              <a:xfrm>
                <a:off x="6557041" y="4093884"/>
                <a:ext cx="90963" cy="109061"/>
              </a:xfrm>
              <a:custGeom>
                <a:avLst/>
                <a:gdLst>
                  <a:gd name="connsiteX0" fmla="*/ 0 w 90963"/>
                  <a:gd name="connsiteY0" fmla="*/ 109061 h 109061"/>
                  <a:gd name="connsiteX1" fmla="*/ 0 w 90963"/>
                  <a:gd name="connsiteY1" fmla="*/ 0 h 109061"/>
                  <a:gd name="connsiteX2" fmla="*/ 88868 w 90963"/>
                  <a:gd name="connsiteY2" fmla="*/ 0 h 109061"/>
                  <a:gd name="connsiteX3" fmla="*/ 88868 w 90963"/>
                  <a:gd name="connsiteY3" fmla="*/ 25432 h 109061"/>
                  <a:gd name="connsiteX4" fmla="*/ 35719 w 90963"/>
                  <a:gd name="connsiteY4" fmla="*/ 25432 h 109061"/>
                  <a:gd name="connsiteX5" fmla="*/ 35719 w 90963"/>
                  <a:gd name="connsiteY5" fmla="*/ 41053 h 109061"/>
                  <a:gd name="connsiteX6" fmla="*/ 35719 w 90963"/>
                  <a:gd name="connsiteY6" fmla="*/ 66485 h 109061"/>
                  <a:gd name="connsiteX7" fmla="*/ 35719 w 90963"/>
                  <a:gd name="connsiteY7" fmla="*/ 83630 h 109061"/>
                  <a:gd name="connsiteX8" fmla="*/ 90964 w 90963"/>
                  <a:gd name="connsiteY8" fmla="*/ 83630 h 109061"/>
                  <a:gd name="connsiteX9" fmla="*/ 90964 w 90963"/>
                  <a:gd name="connsiteY9" fmla="*/ 109061 h 109061"/>
                  <a:gd name="connsiteX10" fmla="*/ 0 w 90963"/>
                  <a:gd name="connsiteY10" fmla="*/ 109061 h 109061"/>
                  <a:gd name="connsiteX11" fmla="*/ 0 w 90963"/>
                  <a:gd name="connsiteY11" fmla="*/ 109061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963" h="109061">
                    <a:moveTo>
                      <a:pt x="0" y="109061"/>
                    </a:moveTo>
                    <a:lnTo>
                      <a:pt x="0" y="0"/>
                    </a:lnTo>
                    <a:lnTo>
                      <a:pt x="88868" y="0"/>
                    </a:lnTo>
                    <a:lnTo>
                      <a:pt x="88868" y="25432"/>
                    </a:lnTo>
                    <a:lnTo>
                      <a:pt x="35719" y="25432"/>
                    </a:lnTo>
                    <a:lnTo>
                      <a:pt x="35719" y="41053"/>
                    </a:lnTo>
                    <a:lnTo>
                      <a:pt x="35719" y="66485"/>
                    </a:lnTo>
                    <a:lnTo>
                      <a:pt x="35719" y="83630"/>
                    </a:lnTo>
                    <a:lnTo>
                      <a:pt x="90964" y="83630"/>
                    </a:lnTo>
                    <a:lnTo>
                      <a:pt x="90964" y="109061"/>
                    </a:lnTo>
                    <a:lnTo>
                      <a:pt x="0" y="109061"/>
                    </a:lnTo>
                    <a:lnTo>
                      <a:pt x="0" y="10906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2A14468E-ECBB-4442-8A84-5F28CEE2B7A4}"/>
                  </a:ext>
                </a:extLst>
              </p:cNvPr>
              <p:cNvSpPr/>
              <p:nvPr/>
            </p:nvSpPr>
            <p:spPr>
              <a:xfrm>
                <a:off x="6661911" y="4093884"/>
                <a:ext cx="84772" cy="109061"/>
              </a:xfrm>
              <a:custGeom>
                <a:avLst/>
                <a:gdLst>
                  <a:gd name="connsiteX0" fmla="*/ 0 w 84772"/>
                  <a:gd name="connsiteY0" fmla="*/ 109061 h 109061"/>
                  <a:gd name="connsiteX1" fmla="*/ 0 w 84772"/>
                  <a:gd name="connsiteY1" fmla="*/ 0 h 109061"/>
                  <a:gd name="connsiteX2" fmla="*/ 35719 w 84772"/>
                  <a:gd name="connsiteY2" fmla="*/ 0 h 109061"/>
                  <a:gd name="connsiteX3" fmla="*/ 35719 w 84772"/>
                  <a:gd name="connsiteY3" fmla="*/ 83630 h 109061"/>
                  <a:gd name="connsiteX4" fmla="*/ 84773 w 84772"/>
                  <a:gd name="connsiteY4" fmla="*/ 83630 h 109061"/>
                  <a:gd name="connsiteX5" fmla="*/ 84773 w 84772"/>
                  <a:gd name="connsiteY5" fmla="*/ 109061 h 109061"/>
                  <a:gd name="connsiteX6" fmla="*/ 0 w 84772"/>
                  <a:gd name="connsiteY6" fmla="*/ 109061 h 109061"/>
                  <a:gd name="connsiteX7" fmla="*/ 0 w 84772"/>
                  <a:gd name="connsiteY7" fmla="*/ 109061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109061">
                    <a:moveTo>
                      <a:pt x="0" y="109061"/>
                    </a:moveTo>
                    <a:lnTo>
                      <a:pt x="0" y="0"/>
                    </a:lnTo>
                    <a:lnTo>
                      <a:pt x="35719" y="0"/>
                    </a:lnTo>
                    <a:lnTo>
                      <a:pt x="35719" y="83630"/>
                    </a:lnTo>
                    <a:lnTo>
                      <a:pt x="84773" y="83630"/>
                    </a:lnTo>
                    <a:lnTo>
                      <a:pt x="84773" y="109061"/>
                    </a:lnTo>
                    <a:lnTo>
                      <a:pt x="0" y="109061"/>
                    </a:lnTo>
                    <a:lnTo>
                      <a:pt x="0" y="10906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D0E79C77-E282-412F-AF11-101B2D6FB615}"/>
                  </a:ext>
                </a:extLst>
              </p:cNvPr>
              <p:cNvSpPr/>
              <p:nvPr/>
            </p:nvSpPr>
            <p:spPr>
              <a:xfrm>
                <a:off x="6486937" y="4132079"/>
                <a:ext cx="141827" cy="52482"/>
              </a:xfrm>
              <a:custGeom>
                <a:avLst/>
                <a:gdLst>
                  <a:gd name="connsiteX0" fmla="*/ 141827 w 141827"/>
                  <a:gd name="connsiteY0" fmla="*/ 18288 h 52482"/>
                  <a:gd name="connsiteX1" fmla="*/ 83344 w 141827"/>
                  <a:gd name="connsiteY1" fmla="*/ 0 h 52482"/>
                  <a:gd name="connsiteX2" fmla="*/ 0 w 141827"/>
                  <a:gd name="connsiteY2" fmla="*/ 52483 h 52482"/>
                  <a:gd name="connsiteX3" fmla="*/ 9620 w 141827"/>
                  <a:gd name="connsiteY3" fmla="*/ 52102 h 52482"/>
                  <a:gd name="connsiteX4" fmla="*/ 83725 w 141827"/>
                  <a:gd name="connsiteY4" fmla="*/ 14002 h 52482"/>
                  <a:gd name="connsiteX5" fmla="*/ 123063 w 141827"/>
                  <a:gd name="connsiteY5" fmla="*/ 25241 h 52482"/>
                  <a:gd name="connsiteX6" fmla="*/ 141827 w 141827"/>
                  <a:gd name="connsiteY6" fmla="*/ 18288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7" h="52482">
                    <a:moveTo>
                      <a:pt x="141827" y="18288"/>
                    </a:moveTo>
                    <a:cubicBezTo>
                      <a:pt x="126016" y="6953"/>
                      <a:pt x="104299" y="0"/>
                      <a:pt x="83344" y="0"/>
                    </a:cubicBezTo>
                    <a:cubicBezTo>
                      <a:pt x="45530" y="0"/>
                      <a:pt x="15907" y="20764"/>
                      <a:pt x="0" y="52483"/>
                    </a:cubicBezTo>
                    <a:lnTo>
                      <a:pt x="9620" y="52102"/>
                    </a:lnTo>
                    <a:cubicBezTo>
                      <a:pt x="30575" y="22193"/>
                      <a:pt x="53435" y="14002"/>
                      <a:pt x="83725" y="14002"/>
                    </a:cubicBezTo>
                    <a:cubicBezTo>
                      <a:pt x="98965" y="14002"/>
                      <a:pt x="110680" y="18288"/>
                      <a:pt x="123063" y="25241"/>
                    </a:cubicBezTo>
                    <a:lnTo>
                      <a:pt x="141827" y="18288"/>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6" name="Freeform: Shape 305">
                <a:extLst>
                  <a:ext uri="{FF2B5EF4-FFF2-40B4-BE49-F238E27FC236}">
                    <a16:creationId xmlns:a16="http://schemas.microsoft.com/office/drawing/2014/main" id="{F62F0C5B-6E45-41A9-B73E-4D6F9DA49882}"/>
                  </a:ext>
                </a:extLst>
              </p:cNvPr>
              <p:cNvSpPr/>
              <p:nvPr/>
            </p:nvSpPr>
            <p:spPr>
              <a:xfrm>
                <a:off x="6760971" y="4093789"/>
                <a:ext cx="29051" cy="27908"/>
              </a:xfrm>
              <a:custGeom>
                <a:avLst/>
                <a:gdLst>
                  <a:gd name="connsiteX0" fmla="*/ 29051 w 29051"/>
                  <a:gd name="connsiteY0" fmla="*/ 27908 h 27908"/>
                  <a:gd name="connsiteX1" fmla="*/ 21526 w 29051"/>
                  <a:gd name="connsiteY1" fmla="*/ 27908 h 27908"/>
                  <a:gd name="connsiteX2" fmla="*/ 19526 w 29051"/>
                  <a:gd name="connsiteY2" fmla="*/ 22193 h 27908"/>
                  <a:gd name="connsiteX3" fmla="*/ 9334 w 29051"/>
                  <a:gd name="connsiteY3" fmla="*/ 22193 h 27908"/>
                  <a:gd name="connsiteX4" fmla="*/ 7334 w 29051"/>
                  <a:gd name="connsiteY4" fmla="*/ 27908 h 27908"/>
                  <a:gd name="connsiteX5" fmla="*/ 0 w 29051"/>
                  <a:gd name="connsiteY5" fmla="*/ 27908 h 27908"/>
                  <a:gd name="connsiteX6" fmla="*/ 10287 w 29051"/>
                  <a:gd name="connsiteY6" fmla="*/ 0 h 27908"/>
                  <a:gd name="connsiteX7" fmla="*/ 18574 w 29051"/>
                  <a:gd name="connsiteY7" fmla="*/ 0 h 27908"/>
                  <a:gd name="connsiteX8" fmla="*/ 28861 w 29051"/>
                  <a:gd name="connsiteY8" fmla="*/ 27908 h 27908"/>
                  <a:gd name="connsiteX9" fmla="*/ 28861 w 29051"/>
                  <a:gd name="connsiteY9" fmla="*/ 27908 h 27908"/>
                  <a:gd name="connsiteX10" fmla="*/ 17907 w 29051"/>
                  <a:gd name="connsiteY10" fmla="*/ 17145 h 27908"/>
                  <a:gd name="connsiteX11" fmla="*/ 14573 w 29051"/>
                  <a:gd name="connsiteY11" fmla="*/ 7334 h 27908"/>
                  <a:gd name="connsiteX12" fmla="*/ 11240 w 29051"/>
                  <a:gd name="connsiteY12" fmla="*/ 17145 h 27908"/>
                  <a:gd name="connsiteX13" fmla="*/ 18002 w 29051"/>
                  <a:gd name="connsiteY13" fmla="*/ 17145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27908">
                    <a:moveTo>
                      <a:pt x="29051" y="27908"/>
                    </a:moveTo>
                    <a:lnTo>
                      <a:pt x="21526" y="27908"/>
                    </a:lnTo>
                    <a:lnTo>
                      <a:pt x="19526" y="22193"/>
                    </a:lnTo>
                    <a:lnTo>
                      <a:pt x="9334" y="22193"/>
                    </a:lnTo>
                    <a:lnTo>
                      <a:pt x="7334" y="27908"/>
                    </a:lnTo>
                    <a:lnTo>
                      <a:pt x="0" y="27908"/>
                    </a:lnTo>
                    <a:lnTo>
                      <a:pt x="10287" y="0"/>
                    </a:lnTo>
                    <a:lnTo>
                      <a:pt x="18574" y="0"/>
                    </a:lnTo>
                    <a:lnTo>
                      <a:pt x="28861" y="27908"/>
                    </a:lnTo>
                    <a:lnTo>
                      <a:pt x="28861" y="27908"/>
                    </a:lnTo>
                    <a:close/>
                    <a:moveTo>
                      <a:pt x="17907" y="17145"/>
                    </a:moveTo>
                    <a:lnTo>
                      <a:pt x="14573" y="7334"/>
                    </a:lnTo>
                    <a:lnTo>
                      <a:pt x="11240" y="17145"/>
                    </a:lnTo>
                    <a:lnTo>
                      <a:pt x="18002" y="1714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7" name="Freeform: Shape 306">
                <a:extLst>
                  <a:ext uri="{FF2B5EF4-FFF2-40B4-BE49-F238E27FC236}">
                    <a16:creationId xmlns:a16="http://schemas.microsoft.com/office/drawing/2014/main" id="{185CFCEA-EBE5-4E7E-9C1D-D00E354E9EF2}"/>
                  </a:ext>
                </a:extLst>
              </p:cNvPr>
              <p:cNvSpPr/>
              <p:nvPr/>
            </p:nvSpPr>
            <p:spPr>
              <a:xfrm>
                <a:off x="6794023" y="4100075"/>
                <a:ext cx="34194" cy="21717"/>
              </a:xfrm>
              <a:custGeom>
                <a:avLst/>
                <a:gdLst>
                  <a:gd name="connsiteX0" fmla="*/ 20479 w 34194"/>
                  <a:gd name="connsiteY0" fmla="*/ 6763 h 21717"/>
                  <a:gd name="connsiteX1" fmla="*/ 20479 w 34194"/>
                  <a:gd name="connsiteY1" fmla="*/ 21622 h 21717"/>
                  <a:gd name="connsiteX2" fmla="*/ 13716 w 34194"/>
                  <a:gd name="connsiteY2" fmla="*/ 21622 h 21717"/>
                  <a:gd name="connsiteX3" fmla="*/ 13716 w 34194"/>
                  <a:gd name="connsiteY3" fmla="*/ 11144 h 21717"/>
                  <a:gd name="connsiteX4" fmla="*/ 13716 w 34194"/>
                  <a:gd name="connsiteY4" fmla="*/ 8573 h 21717"/>
                  <a:gd name="connsiteX5" fmla="*/ 13335 w 34194"/>
                  <a:gd name="connsiteY5" fmla="*/ 6858 h 21717"/>
                  <a:gd name="connsiteX6" fmla="*/ 12287 w 34194"/>
                  <a:gd name="connsiteY6" fmla="*/ 5905 h 21717"/>
                  <a:gd name="connsiteX7" fmla="*/ 10382 w 34194"/>
                  <a:gd name="connsiteY7" fmla="*/ 5620 h 21717"/>
                  <a:gd name="connsiteX8" fmla="*/ 8477 w 34194"/>
                  <a:gd name="connsiteY8" fmla="*/ 6001 h 21717"/>
                  <a:gd name="connsiteX9" fmla="*/ 6763 w 34194"/>
                  <a:gd name="connsiteY9" fmla="*/ 6858 h 21717"/>
                  <a:gd name="connsiteX10" fmla="*/ 6763 w 34194"/>
                  <a:gd name="connsiteY10" fmla="*/ 21717 h 21717"/>
                  <a:gd name="connsiteX11" fmla="*/ 0 w 34194"/>
                  <a:gd name="connsiteY11" fmla="*/ 21717 h 21717"/>
                  <a:gd name="connsiteX12" fmla="*/ 0 w 34194"/>
                  <a:gd name="connsiteY12" fmla="*/ 572 h 21717"/>
                  <a:gd name="connsiteX13" fmla="*/ 6763 w 34194"/>
                  <a:gd name="connsiteY13" fmla="*/ 572 h 21717"/>
                  <a:gd name="connsiteX14" fmla="*/ 6763 w 34194"/>
                  <a:gd name="connsiteY14" fmla="*/ 2858 h 21717"/>
                  <a:gd name="connsiteX15" fmla="*/ 10097 w 34194"/>
                  <a:gd name="connsiteY15" fmla="*/ 762 h 21717"/>
                  <a:gd name="connsiteX16" fmla="*/ 13621 w 34194"/>
                  <a:gd name="connsiteY16" fmla="*/ 0 h 21717"/>
                  <a:gd name="connsiteX17" fmla="*/ 17240 w 34194"/>
                  <a:gd name="connsiteY17" fmla="*/ 952 h 21717"/>
                  <a:gd name="connsiteX18" fmla="*/ 19717 w 34194"/>
                  <a:gd name="connsiteY18" fmla="*/ 3715 h 21717"/>
                  <a:gd name="connsiteX19" fmla="*/ 23622 w 34194"/>
                  <a:gd name="connsiteY19" fmla="*/ 1048 h 21717"/>
                  <a:gd name="connsiteX20" fmla="*/ 27337 w 34194"/>
                  <a:gd name="connsiteY20" fmla="*/ 95 h 21717"/>
                  <a:gd name="connsiteX21" fmla="*/ 32480 w 34194"/>
                  <a:gd name="connsiteY21" fmla="*/ 2095 h 21717"/>
                  <a:gd name="connsiteX22" fmla="*/ 34195 w 34194"/>
                  <a:gd name="connsiteY22" fmla="*/ 8001 h 21717"/>
                  <a:gd name="connsiteX23" fmla="*/ 34195 w 34194"/>
                  <a:gd name="connsiteY23" fmla="*/ 21717 h 21717"/>
                  <a:gd name="connsiteX24" fmla="*/ 27432 w 34194"/>
                  <a:gd name="connsiteY24" fmla="*/ 21717 h 21717"/>
                  <a:gd name="connsiteX25" fmla="*/ 27432 w 34194"/>
                  <a:gd name="connsiteY25" fmla="*/ 11239 h 21717"/>
                  <a:gd name="connsiteX26" fmla="*/ 27432 w 34194"/>
                  <a:gd name="connsiteY26" fmla="*/ 8668 h 21717"/>
                  <a:gd name="connsiteX27" fmla="*/ 27051 w 34194"/>
                  <a:gd name="connsiteY27" fmla="*/ 6953 h 21717"/>
                  <a:gd name="connsiteX28" fmla="*/ 26003 w 34194"/>
                  <a:gd name="connsiteY28" fmla="*/ 6001 h 21717"/>
                  <a:gd name="connsiteX29" fmla="*/ 24098 w 34194"/>
                  <a:gd name="connsiteY29" fmla="*/ 5715 h 21717"/>
                  <a:gd name="connsiteX30" fmla="*/ 22479 w 34194"/>
                  <a:gd name="connsiteY30" fmla="*/ 6001 h 21717"/>
                  <a:gd name="connsiteX31" fmla="*/ 20479 w 34194"/>
                  <a:gd name="connsiteY31" fmla="*/ 6953 h 2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194" h="21717">
                    <a:moveTo>
                      <a:pt x="20479" y="6763"/>
                    </a:moveTo>
                    <a:lnTo>
                      <a:pt x="20479" y="21622"/>
                    </a:lnTo>
                    <a:lnTo>
                      <a:pt x="13716" y="21622"/>
                    </a:lnTo>
                    <a:lnTo>
                      <a:pt x="13716" y="11144"/>
                    </a:lnTo>
                    <a:cubicBezTo>
                      <a:pt x="13716" y="10097"/>
                      <a:pt x="13716" y="9239"/>
                      <a:pt x="13716" y="8573"/>
                    </a:cubicBezTo>
                    <a:cubicBezTo>
                      <a:pt x="13716" y="7811"/>
                      <a:pt x="13526" y="7239"/>
                      <a:pt x="13335" y="6858"/>
                    </a:cubicBezTo>
                    <a:cubicBezTo>
                      <a:pt x="13145" y="6382"/>
                      <a:pt x="12764" y="6096"/>
                      <a:pt x="12287" y="5905"/>
                    </a:cubicBezTo>
                    <a:cubicBezTo>
                      <a:pt x="11811" y="5715"/>
                      <a:pt x="11144" y="5620"/>
                      <a:pt x="10382" y="5620"/>
                    </a:cubicBezTo>
                    <a:cubicBezTo>
                      <a:pt x="9716" y="5620"/>
                      <a:pt x="9049" y="5715"/>
                      <a:pt x="8477" y="6001"/>
                    </a:cubicBezTo>
                    <a:cubicBezTo>
                      <a:pt x="7811" y="6287"/>
                      <a:pt x="7334" y="6572"/>
                      <a:pt x="6763" y="6858"/>
                    </a:cubicBezTo>
                    <a:lnTo>
                      <a:pt x="6763" y="21717"/>
                    </a:lnTo>
                    <a:lnTo>
                      <a:pt x="0" y="21717"/>
                    </a:lnTo>
                    <a:lnTo>
                      <a:pt x="0" y="572"/>
                    </a:lnTo>
                    <a:lnTo>
                      <a:pt x="6763" y="572"/>
                    </a:lnTo>
                    <a:lnTo>
                      <a:pt x="6763" y="2858"/>
                    </a:lnTo>
                    <a:cubicBezTo>
                      <a:pt x="7906" y="1905"/>
                      <a:pt x="9049" y="1238"/>
                      <a:pt x="10097" y="762"/>
                    </a:cubicBezTo>
                    <a:cubicBezTo>
                      <a:pt x="11144" y="286"/>
                      <a:pt x="12287" y="0"/>
                      <a:pt x="13621" y="0"/>
                    </a:cubicBezTo>
                    <a:cubicBezTo>
                      <a:pt x="14954" y="0"/>
                      <a:pt x="16193" y="286"/>
                      <a:pt x="17240" y="952"/>
                    </a:cubicBezTo>
                    <a:cubicBezTo>
                      <a:pt x="18288" y="1524"/>
                      <a:pt x="19145" y="2477"/>
                      <a:pt x="19717" y="3715"/>
                    </a:cubicBezTo>
                    <a:cubicBezTo>
                      <a:pt x="21050" y="2572"/>
                      <a:pt x="22384" y="1715"/>
                      <a:pt x="23622" y="1048"/>
                    </a:cubicBezTo>
                    <a:cubicBezTo>
                      <a:pt x="24860" y="381"/>
                      <a:pt x="26099" y="95"/>
                      <a:pt x="27337" y="95"/>
                    </a:cubicBezTo>
                    <a:cubicBezTo>
                      <a:pt x="29623" y="95"/>
                      <a:pt x="31337" y="762"/>
                      <a:pt x="32480" y="2095"/>
                    </a:cubicBezTo>
                    <a:cubicBezTo>
                      <a:pt x="33623" y="3429"/>
                      <a:pt x="34195" y="5429"/>
                      <a:pt x="34195" y="8001"/>
                    </a:cubicBezTo>
                    <a:lnTo>
                      <a:pt x="34195" y="21717"/>
                    </a:lnTo>
                    <a:lnTo>
                      <a:pt x="27432" y="21717"/>
                    </a:lnTo>
                    <a:lnTo>
                      <a:pt x="27432" y="11239"/>
                    </a:lnTo>
                    <a:cubicBezTo>
                      <a:pt x="27432" y="10192"/>
                      <a:pt x="27432" y="9335"/>
                      <a:pt x="27432" y="8668"/>
                    </a:cubicBezTo>
                    <a:cubicBezTo>
                      <a:pt x="27432" y="8001"/>
                      <a:pt x="27242" y="7334"/>
                      <a:pt x="27051" y="6953"/>
                    </a:cubicBezTo>
                    <a:cubicBezTo>
                      <a:pt x="26861" y="6477"/>
                      <a:pt x="26480" y="6191"/>
                      <a:pt x="26003" y="6001"/>
                    </a:cubicBezTo>
                    <a:cubicBezTo>
                      <a:pt x="25527" y="5810"/>
                      <a:pt x="24860" y="5715"/>
                      <a:pt x="24098" y="5715"/>
                    </a:cubicBezTo>
                    <a:cubicBezTo>
                      <a:pt x="23527" y="5715"/>
                      <a:pt x="22955" y="5715"/>
                      <a:pt x="22479" y="6001"/>
                    </a:cubicBezTo>
                    <a:cubicBezTo>
                      <a:pt x="21908" y="6191"/>
                      <a:pt x="21336" y="6477"/>
                      <a:pt x="20479" y="6953"/>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8" name="Freeform: Shape 307">
                <a:extLst>
                  <a:ext uri="{FF2B5EF4-FFF2-40B4-BE49-F238E27FC236}">
                    <a16:creationId xmlns:a16="http://schemas.microsoft.com/office/drawing/2014/main" id="{A273064B-F9CB-4696-AAD1-0D5A1E32AA92}"/>
                  </a:ext>
                </a:extLst>
              </p:cNvPr>
              <p:cNvSpPr/>
              <p:nvPr/>
            </p:nvSpPr>
            <p:spPr>
              <a:xfrm>
                <a:off x="6832694" y="4099980"/>
                <a:ext cx="22193" cy="22288"/>
              </a:xfrm>
              <a:custGeom>
                <a:avLst/>
                <a:gdLst>
                  <a:gd name="connsiteX0" fmla="*/ 22098 w 22193"/>
                  <a:gd name="connsiteY0" fmla="*/ 12383 h 22288"/>
                  <a:gd name="connsiteX1" fmla="*/ 6668 w 22193"/>
                  <a:gd name="connsiteY1" fmla="*/ 12383 h 22288"/>
                  <a:gd name="connsiteX2" fmla="*/ 8573 w 22193"/>
                  <a:gd name="connsiteY2" fmla="*/ 16193 h 22288"/>
                  <a:gd name="connsiteX3" fmla="*/ 13716 w 22193"/>
                  <a:gd name="connsiteY3" fmla="*/ 17526 h 22288"/>
                  <a:gd name="connsiteX4" fmla="*/ 17907 w 22193"/>
                  <a:gd name="connsiteY4" fmla="*/ 16764 h 22288"/>
                  <a:gd name="connsiteX5" fmla="*/ 21050 w 22193"/>
                  <a:gd name="connsiteY5" fmla="*/ 15145 h 22288"/>
                  <a:gd name="connsiteX6" fmla="*/ 21812 w 22193"/>
                  <a:gd name="connsiteY6" fmla="*/ 15145 h 22288"/>
                  <a:gd name="connsiteX7" fmla="*/ 21812 w 22193"/>
                  <a:gd name="connsiteY7" fmla="*/ 20574 h 22288"/>
                  <a:gd name="connsiteX8" fmla="*/ 17526 w 22193"/>
                  <a:gd name="connsiteY8" fmla="*/ 21908 h 22288"/>
                  <a:gd name="connsiteX9" fmla="*/ 13049 w 22193"/>
                  <a:gd name="connsiteY9" fmla="*/ 22289 h 22288"/>
                  <a:gd name="connsiteX10" fmla="*/ 3334 w 22193"/>
                  <a:gd name="connsiteY10" fmla="*/ 19431 h 22288"/>
                  <a:gd name="connsiteX11" fmla="*/ 0 w 22193"/>
                  <a:gd name="connsiteY11" fmla="*/ 11335 h 22288"/>
                  <a:gd name="connsiteX12" fmla="*/ 3143 w 22193"/>
                  <a:gd name="connsiteY12" fmla="*/ 3048 h 22288"/>
                  <a:gd name="connsiteX13" fmla="*/ 11906 w 22193"/>
                  <a:gd name="connsiteY13" fmla="*/ 0 h 22288"/>
                  <a:gd name="connsiteX14" fmla="*/ 19622 w 22193"/>
                  <a:gd name="connsiteY14" fmla="*/ 2572 h 22288"/>
                  <a:gd name="connsiteX15" fmla="*/ 22193 w 22193"/>
                  <a:gd name="connsiteY15" fmla="*/ 10001 h 22288"/>
                  <a:gd name="connsiteX16" fmla="*/ 22193 w 22193"/>
                  <a:gd name="connsiteY16" fmla="*/ 12383 h 22288"/>
                  <a:gd name="connsiteX17" fmla="*/ 22193 w 22193"/>
                  <a:gd name="connsiteY17" fmla="*/ 12383 h 22288"/>
                  <a:gd name="connsiteX18" fmla="*/ 15335 w 22193"/>
                  <a:gd name="connsiteY18" fmla="*/ 8382 h 22288"/>
                  <a:gd name="connsiteX19" fmla="*/ 14288 w 22193"/>
                  <a:gd name="connsiteY19" fmla="*/ 5239 h 22288"/>
                  <a:gd name="connsiteX20" fmla="*/ 11240 w 22193"/>
                  <a:gd name="connsiteY20" fmla="*/ 4191 h 22288"/>
                  <a:gd name="connsiteX21" fmla="*/ 8096 w 22193"/>
                  <a:gd name="connsiteY21" fmla="*/ 5239 h 22288"/>
                  <a:gd name="connsiteX22" fmla="*/ 6668 w 22193"/>
                  <a:gd name="connsiteY22" fmla="*/ 8477 h 22288"/>
                  <a:gd name="connsiteX23" fmla="*/ 15335 w 22193"/>
                  <a:gd name="connsiteY23" fmla="*/ 8477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93" h="22288">
                    <a:moveTo>
                      <a:pt x="22098" y="12383"/>
                    </a:moveTo>
                    <a:lnTo>
                      <a:pt x="6668" y="12383"/>
                    </a:lnTo>
                    <a:cubicBezTo>
                      <a:pt x="6763" y="14002"/>
                      <a:pt x="7429" y="15335"/>
                      <a:pt x="8573" y="16193"/>
                    </a:cubicBezTo>
                    <a:cubicBezTo>
                      <a:pt x="9716" y="17050"/>
                      <a:pt x="11430" y="17526"/>
                      <a:pt x="13716" y="17526"/>
                    </a:cubicBezTo>
                    <a:cubicBezTo>
                      <a:pt x="15145" y="17526"/>
                      <a:pt x="16478" y="17240"/>
                      <a:pt x="17907" y="16764"/>
                    </a:cubicBezTo>
                    <a:cubicBezTo>
                      <a:pt x="19241" y="16288"/>
                      <a:pt x="20288" y="15716"/>
                      <a:pt x="21050" y="15145"/>
                    </a:cubicBezTo>
                    <a:lnTo>
                      <a:pt x="21812" y="15145"/>
                    </a:lnTo>
                    <a:lnTo>
                      <a:pt x="21812" y="20574"/>
                    </a:lnTo>
                    <a:cubicBezTo>
                      <a:pt x="20288" y="21146"/>
                      <a:pt x="18859" y="21622"/>
                      <a:pt x="17526" y="21908"/>
                    </a:cubicBezTo>
                    <a:cubicBezTo>
                      <a:pt x="16193" y="22193"/>
                      <a:pt x="14669" y="22289"/>
                      <a:pt x="13049" y="22289"/>
                    </a:cubicBezTo>
                    <a:cubicBezTo>
                      <a:pt x="8858" y="22289"/>
                      <a:pt x="5620" y="21336"/>
                      <a:pt x="3334" y="19431"/>
                    </a:cubicBezTo>
                    <a:cubicBezTo>
                      <a:pt x="1048" y="17526"/>
                      <a:pt x="0" y="14859"/>
                      <a:pt x="0" y="11335"/>
                    </a:cubicBezTo>
                    <a:cubicBezTo>
                      <a:pt x="0" y="7811"/>
                      <a:pt x="1048" y="5144"/>
                      <a:pt x="3143" y="3048"/>
                    </a:cubicBezTo>
                    <a:cubicBezTo>
                      <a:pt x="5239" y="1048"/>
                      <a:pt x="8192" y="0"/>
                      <a:pt x="11906" y="0"/>
                    </a:cubicBezTo>
                    <a:cubicBezTo>
                      <a:pt x="15335" y="0"/>
                      <a:pt x="17907" y="857"/>
                      <a:pt x="19622" y="2572"/>
                    </a:cubicBezTo>
                    <a:cubicBezTo>
                      <a:pt x="21336" y="4286"/>
                      <a:pt x="22193" y="6763"/>
                      <a:pt x="22193" y="10001"/>
                    </a:cubicBezTo>
                    <a:lnTo>
                      <a:pt x="22193" y="12383"/>
                    </a:lnTo>
                    <a:lnTo>
                      <a:pt x="22193" y="12383"/>
                    </a:lnTo>
                    <a:close/>
                    <a:moveTo>
                      <a:pt x="15335" y="8382"/>
                    </a:moveTo>
                    <a:cubicBezTo>
                      <a:pt x="15335" y="6953"/>
                      <a:pt x="14954" y="5905"/>
                      <a:pt x="14288" y="5239"/>
                    </a:cubicBezTo>
                    <a:cubicBezTo>
                      <a:pt x="13621" y="4477"/>
                      <a:pt x="12573" y="4191"/>
                      <a:pt x="11240" y="4191"/>
                    </a:cubicBezTo>
                    <a:cubicBezTo>
                      <a:pt x="9906" y="4191"/>
                      <a:pt x="8858" y="4477"/>
                      <a:pt x="8096" y="5239"/>
                    </a:cubicBezTo>
                    <a:cubicBezTo>
                      <a:pt x="7239" y="5905"/>
                      <a:pt x="6763" y="6953"/>
                      <a:pt x="6668" y="8477"/>
                    </a:cubicBezTo>
                    <a:lnTo>
                      <a:pt x="15335" y="8477"/>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9" name="Freeform: Shape 308">
                <a:extLst>
                  <a:ext uri="{FF2B5EF4-FFF2-40B4-BE49-F238E27FC236}">
                    <a16:creationId xmlns:a16="http://schemas.microsoft.com/office/drawing/2014/main" id="{671ED755-881D-482D-9165-6F1873B12BEA}"/>
                  </a:ext>
                </a:extLst>
              </p:cNvPr>
              <p:cNvSpPr/>
              <p:nvPr/>
            </p:nvSpPr>
            <p:spPr>
              <a:xfrm>
                <a:off x="6859460" y="4100456"/>
                <a:ext cx="15335" cy="21336"/>
              </a:xfrm>
              <a:custGeom>
                <a:avLst/>
                <a:gdLst>
                  <a:gd name="connsiteX0" fmla="*/ 15335 w 15335"/>
                  <a:gd name="connsiteY0" fmla="*/ 6572 h 21336"/>
                  <a:gd name="connsiteX1" fmla="*/ 14764 w 15335"/>
                  <a:gd name="connsiteY1" fmla="*/ 6572 h 21336"/>
                  <a:gd name="connsiteX2" fmla="*/ 13335 w 15335"/>
                  <a:gd name="connsiteY2" fmla="*/ 6382 h 21336"/>
                  <a:gd name="connsiteX3" fmla="*/ 11716 w 15335"/>
                  <a:gd name="connsiteY3" fmla="*/ 6382 h 21336"/>
                  <a:gd name="connsiteX4" fmla="*/ 9144 w 15335"/>
                  <a:gd name="connsiteY4" fmla="*/ 6572 h 21336"/>
                  <a:gd name="connsiteX5" fmla="*/ 6763 w 15335"/>
                  <a:gd name="connsiteY5" fmla="*/ 7239 h 21336"/>
                  <a:gd name="connsiteX6" fmla="*/ 6763 w 15335"/>
                  <a:gd name="connsiteY6" fmla="*/ 21336 h 21336"/>
                  <a:gd name="connsiteX7" fmla="*/ 0 w 15335"/>
                  <a:gd name="connsiteY7" fmla="*/ 21336 h 21336"/>
                  <a:gd name="connsiteX8" fmla="*/ 0 w 15335"/>
                  <a:gd name="connsiteY8" fmla="*/ 190 h 21336"/>
                  <a:gd name="connsiteX9" fmla="*/ 6763 w 15335"/>
                  <a:gd name="connsiteY9" fmla="*/ 190 h 21336"/>
                  <a:gd name="connsiteX10" fmla="*/ 6763 w 15335"/>
                  <a:gd name="connsiteY10" fmla="*/ 3239 h 21336"/>
                  <a:gd name="connsiteX11" fmla="*/ 10668 w 15335"/>
                  <a:gd name="connsiteY11" fmla="*/ 667 h 21336"/>
                  <a:gd name="connsiteX12" fmla="*/ 13716 w 15335"/>
                  <a:gd name="connsiteY12" fmla="*/ 0 h 21336"/>
                  <a:gd name="connsiteX13" fmla="*/ 14478 w 15335"/>
                  <a:gd name="connsiteY13" fmla="*/ 0 h 21336"/>
                  <a:gd name="connsiteX14" fmla="*/ 15240 w 15335"/>
                  <a:gd name="connsiteY14" fmla="*/ 0 h 21336"/>
                  <a:gd name="connsiteX15" fmla="*/ 15240 w 15335"/>
                  <a:gd name="connsiteY15" fmla="*/ 6382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35" h="21336">
                    <a:moveTo>
                      <a:pt x="15335" y="6572"/>
                    </a:moveTo>
                    <a:lnTo>
                      <a:pt x="14764" y="6572"/>
                    </a:lnTo>
                    <a:cubicBezTo>
                      <a:pt x="14764" y="6572"/>
                      <a:pt x="14002" y="6382"/>
                      <a:pt x="13335" y="6382"/>
                    </a:cubicBezTo>
                    <a:cubicBezTo>
                      <a:pt x="12668" y="6382"/>
                      <a:pt x="12192" y="6382"/>
                      <a:pt x="11716" y="6382"/>
                    </a:cubicBezTo>
                    <a:cubicBezTo>
                      <a:pt x="10763" y="6382"/>
                      <a:pt x="9906" y="6382"/>
                      <a:pt x="9144" y="6572"/>
                    </a:cubicBezTo>
                    <a:cubicBezTo>
                      <a:pt x="8382" y="6667"/>
                      <a:pt x="7620" y="6953"/>
                      <a:pt x="6763" y="7239"/>
                    </a:cubicBezTo>
                    <a:lnTo>
                      <a:pt x="6763" y="21336"/>
                    </a:lnTo>
                    <a:lnTo>
                      <a:pt x="0" y="21336"/>
                    </a:lnTo>
                    <a:lnTo>
                      <a:pt x="0" y="190"/>
                    </a:lnTo>
                    <a:lnTo>
                      <a:pt x="6763" y="190"/>
                    </a:lnTo>
                    <a:lnTo>
                      <a:pt x="6763" y="3239"/>
                    </a:lnTo>
                    <a:cubicBezTo>
                      <a:pt x="8287" y="2000"/>
                      <a:pt x="9525" y="1143"/>
                      <a:pt x="10668" y="667"/>
                    </a:cubicBezTo>
                    <a:cubicBezTo>
                      <a:pt x="11811" y="190"/>
                      <a:pt x="12764" y="0"/>
                      <a:pt x="13716" y="0"/>
                    </a:cubicBezTo>
                    <a:cubicBezTo>
                      <a:pt x="14002" y="0"/>
                      <a:pt x="14192" y="0"/>
                      <a:pt x="14478" y="0"/>
                    </a:cubicBezTo>
                    <a:cubicBezTo>
                      <a:pt x="14764" y="0"/>
                      <a:pt x="15049" y="0"/>
                      <a:pt x="15240" y="0"/>
                    </a:cubicBezTo>
                    <a:lnTo>
                      <a:pt x="15240" y="638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0" name="Freeform: Shape 309">
                <a:extLst>
                  <a:ext uri="{FF2B5EF4-FFF2-40B4-BE49-F238E27FC236}">
                    <a16:creationId xmlns:a16="http://schemas.microsoft.com/office/drawing/2014/main" id="{DDB43DF7-A00D-402A-AEF5-B535A1064346}"/>
                  </a:ext>
                </a:extLst>
              </p:cNvPr>
              <p:cNvSpPr/>
              <p:nvPr/>
            </p:nvSpPr>
            <p:spPr>
              <a:xfrm>
                <a:off x="6890130" y="4100170"/>
                <a:ext cx="19526" cy="22383"/>
              </a:xfrm>
              <a:custGeom>
                <a:avLst/>
                <a:gdLst>
                  <a:gd name="connsiteX0" fmla="*/ 12478 w 19526"/>
                  <a:gd name="connsiteY0" fmla="*/ 22098 h 22383"/>
                  <a:gd name="connsiteX1" fmla="*/ 7525 w 19526"/>
                  <a:gd name="connsiteY1" fmla="*/ 21431 h 22383"/>
                  <a:gd name="connsiteX2" fmla="*/ 3524 w 19526"/>
                  <a:gd name="connsiteY2" fmla="*/ 19431 h 22383"/>
                  <a:gd name="connsiteX3" fmla="*/ 953 w 19526"/>
                  <a:gd name="connsiteY3" fmla="*/ 16002 h 22383"/>
                  <a:gd name="connsiteX4" fmla="*/ 0 w 19526"/>
                  <a:gd name="connsiteY4" fmla="*/ 11144 h 22383"/>
                  <a:gd name="connsiteX5" fmla="*/ 953 w 19526"/>
                  <a:gd name="connsiteY5" fmla="*/ 6096 h 22383"/>
                  <a:gd name="connsiteX6" fmla="*/ 3715 w 19526"/>
                  <a:gd name="connsiteY6" fmla="*/ 2572 h 22383"/>
                  <a:gd name="connsiteX7" fmla="*/ 7620 w 19526"/>
                  <a:gd name="connsiteY7" fmla="*/ 572 h 22383"/>
                  <a:gd name="connsiteX8" fmla="*/ 12192 w 19526"/>
                  <a:gd name="connsiteY8" fmla="*/ 0 h 22383"/>
                  <a:gd name="connsiteX9" fmla="*/ 16097 w 19526"/>
                  <a:gd name="connsiteY9" fmla="*/ 476 h 22383"/>
                  <a:gd name="connsiteX10" fmla="*/ 19526 w 19526"/>
                  <a:gd name="connsiteY10" fmla="*/ 1715 h 22383"/>
                  <a:gd name="connsiteX11" fmla="*/ 19526 w 19526"/>
                  <a:gd name="connsiteY11" fmla="*/ 7430 h 22383"/>
                  <a:gd name="connsiteX12" fmla="*/ 18574 w 19526"/>
                  <a:gd name="connsiteY12" fmla="*/ 7430 h 22383"/>
                  <a:gd name="connsiteX13" fmla="*/ 17621 w 19526"/>
                  <a:gd name="connsiteY13" fmla="*/ 6668 h 22383"/>
                  <a:gd name="connsiteX14" fmla="*/ 16288 w 19526"/>
                  <a:gd name="connsiteY14" fmla="*/ 5810 h 22383"/>
                  <a:gd name="connsiteX15" fmla="*/ 14573 w 19526"/>
                  <a:gd name="connsiteY15" fmla="*/ 5144 h 22383"/>
                  <a:gd name="connsiteX16" fmla="*/ 12478 w 19526"/>
                  <a:gd name="connsiteY16" fmla="*/ 4858 h 22383"/>
                  <a:gd name="connsiteX17" fmla="*/ 8382 w 19526"/>
                  <a:gd name="connsiteY17" fmla="*/ 6572 h 22383"/>
                  <a:gd name="connsiteX18" fmla="*/ 6953 w 19526"/>
                  <a:gd name="connsiteY18" fmla="*/ 11240 h 22383"/>
                  <a:gd name="connsiteX19" fmla="*/ 8382 w 19526"/>
                  <a:gd name="connsiteY19" fmla="*/ 15811 h 22383"/>
                  <a:gd name="connsiteX20" fmla="*/ 12573 w 19526"/>
                  <a:gd name="connsiteY20" fmla="*/ 17431 h 22383"/>
                  <a:gd name="connsiteX21" fmla="*/ 14859 w 19526"/>
                  <a:gd name="connsiteY21" fmla="*/ 17145 h 22383"/>
                  <a:gd name="connsiteX22" fmla="*/ 16574 w 19526"/>
                  <a:gd name="connsiteY22" fmla="*/ 16478 h 22383"/>
                  <a:gd name="connsiteX23" fmla="*/ 17717 w 19526"/>
                  <a:gd name="connsiteY23" fmla="*/ 15716 h 22383"/>
                  <a:gd name="connsiteX24" fmla="*/ 18574 w 19526"/>
                  <a:gd name="connsiteY24" fmla="*/ 14954 h 22383"/>
                  <a:gd name="connsiteX25" fmla="*/ 19526 w 19526"/>
                  <a:gd name="connsiteY25" fmla="*/ 14954 h 22383"/>
                  <a:gd name="connsiteX26" fmla="*/ 19526 w 19526"/>
                  <a:gd name="connsiteY26" fmla="*/ 20669 h 22383"/>
                  <a:gd name="connsiteX27" fmla="*/ 16193 w 19526"/>
                  <a:gd name="connsiteY27" fmla="*/ 21908 h 22383"/>
                  <a:gd name="connsiteX28" fmla="*/ 12383 w 19526"/>
                  <a:gd name="connsiteY28" fmla="*/ 22384 h 2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526" h="22383">
                    <a:moveTo>
                      <a:pt x="12478" y="22098"/>
                    </a:moveTo>
                    <a:cubicBezTo>
                      <a:pt x="10668" y="22098"/>
                      <a:pt x="8954" y="21908"/>
                      <a:pt x="7525" y="21431"/>
                    </a:cubicBezTo>
                    <a:cubicBezTo>
                      <a:pt x="6001" y="20955"/>
                      <a:pt x="4667" y="20288"/>
                      <a:pt x="3524" y="19431"/>
                    </a:cubicBezTo>
                    <a:cubicBezTo>
                      <a:pt x="2381" y="18479"/>
                      <a:pt x="1524" y="17336"/>
                      <a:pt x="953" y="16002"/>
                    </a:cubicBezTo>
                    <a:cubicBezTo>
                      <a:pt x="381" y="14573"/>
                      <a:pt x="0" y="12954"/>
                      <a:pt x="0" y="11144"/>
                    </a:cubicBezTo>
                    <a:cubicBezTo>
                      <a:pt x="0" y="9144"/>
                      <a:pt x="286" y="7525"/>
                      <a:pt x="953" y="6096"/>
                    </a:cubicBezTo>
                    <a:cubicBezTo>
                      <a:pt x="1619" y="4667"/>
                      <a:pt x="2477" y="3524"/>
                      <a:pt x="3715" y="2572"/>
                    </a:cubicBezTo>
                    <a:cubicBezTo>
                      <a:pt x="4858" y="1715"/>
                      <a:pt x="6191" y="1048"/>
                      <a:pt x="7620" y="572"/>
                    </a:cubicBezTo>
                    <a:cubicBezTo>
                      <a:pt x="9144" y="191"/>
                      <a:pt x="10668" y="0"/>
                      <a:pt x="12192" y="0"/>
                    </a:cubicBezTo>
                    <a:cubicBezTo>
                      <a:pt x="13621" y="0"/>
                      <a:pt x="14954" y="191"/>
                      <a:pt x="16097" y="476"/>
                    </a:cubicBezTo>
                    <a:cubicBezTo>
                      <a:pt x="17335" y="762"/>
                      <a:pt x="18479" y="1143"/>
                      <a:pt x="19526" y="1715"/>
                    </a:cubicBezTo>
                    <a:lnTo>
                      <a:pt x="19526" y="7430"/>
                    </a:lnTo>
                    <a:lnTo>
                      <a:pt x="18574" y="7430"/>
                    </a:lnTo>
                    <a:cubicBezTo>
                      <a:pt x="18574" y="7430"/>
                      <a:pt x="18002" y="6953"/>
                      <a:pt x="17621" y="6668"/>
                    </a:cubicBezTo>
                    <a:cubicBezTo>
                      <a:pt x="17240" y="6382"/>
                      <a:pt x="16764" y="6096"/>
                      <a:pt x="16288" y="5810"/>
                    </a:cubicBezTo>
                    <a:cubicBezTo>
                      <a:pt x="15811" y="5525"/>
                      <a:pt x="15240" y="5334"/>
                      <a:pt x="14573" y="5144"/>
                    </a:cubicBezTo>
                    <a:cubicBezTo>
                      <a:pt x="14002" y="4953"/>
                      <a:pt x="13240" y="4858"/>
                      <a:pt x="12478" y="4858"/>
                    </a:cubicBezTo>
                    <a:cubicBezTo>
                      <a:pt x="10668" y="4858"/>
                      <a:pt x="9335" y="5429"/>
                      <a:pt x="8382" y="6572"/>
                    </a:cubicBezTo>
                    <a:cubicBezTo>
                      <a:pt x="7430" y="7715"/>
                      <a:pt x="6953" y="9239"/>
                      <a:pt x="6953" y="11240"/>
                    </a:cubicBezTo>
                    <a:cubicBezTo>
                      <a:pt x="6953" y="13240"/>
                      <a:pt x="7430" y="14764"/>
                      <a:pt x="8382" y="15811"/>
                    </a:cubicBezTo>
                    <a:cubicBezTo>
                      <a:pt x="9335" y="16859"/>
                      <a:pt x="10763" y="17431"/>
                      <a:pt x="12573" y="17431"/>
                    </a:cubicBezTo>
                    <a:cubicBezTo>
                      <a:pt x="13430" y="17431"/>
                      <a:pt x="14192" y="17336"/>
                      <a:pt x="14859" y="17145"/>
                    </a:cubicBezTo>
                    <a:cubicBezTo>
                      <a:pt x="15526" y="16955"/>
                      <a:pt x="16097" y="16764"/>
                      <a:pt x="16574" y="16478"/>
                    </a:cubicBezTo>
                    <a:cubicBezTo>
                      <a:pt x="17050" y="16193"/>
                      <a:pt x="17335" y="16002"/>
                      <a:pt x="17717" y="15716"/>
                    </a:cubicBezTo>
                    <a:cubicBezTo>
                      <a:pt x="18002" y="15430"/>
                      <a:pt x="18288" y="15145"/>
                      <a:pt x="18574" y="14954"/>
                    </a:cubicBezTo>
                    <a:lnTo>
                      <a:pt x="19526" y="14954"/>
                    </a:lnTo>
                    <a:lnTo>
                      <a:pt x="19526" y="20669"/>
                    </a:lnTo>
                    <a:cubicBezTo>
                      <a:pt x="18479" y="21146"/>
                      <a:pt x="17335" y="21527"/>
                      <a:pt x="16193" y="21908"/>
                    </a:cubicBezTo>
                    <a:cubicBezTo>
                      <a:pt x="15050" y="22193"/>
                      <a:pt x="13811" y="22384"/>
                      <a:pt x="12383" y="22384"/>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1" name="Freeform: Shape 310">
                <a:extLst>
                  <a:ext uri="{FF2B5EF4-FFF2-40B4-BE49-F238E27FC236}">
                    <a16:creationId xmlns:a16="http://schemas.microsoft.com/office/drawing/2014/main" id="{34DFF9FD-C57A-4BBB-8942-1DA1AAD4A0B7}"/>
                  </a:ext>
                </a:extLst>
              </p:cNvPr>
              <p:cNvSpPr/>
              <p:nvPr/>
            </p:nvSpPr>
            <p:spPr>
              <a:xfrm>
                <a:off x="6913752" y="4099694"/>
                <a:ext cx="20859" cy="22479"/>
              </a:xfrm>
              <a:custGeom>
                <a:avLst/>
                <a:gdLst>
                  <a:gd name="connsiteX0" fmla="*/ 14097 w 20859"/>
                  <a:gd name="connsiteY0" fmla="*/ 19717 h 22479"/>
                  <a:gd name="connsiteX1" fmla="*/ 12763 w 20859"/>
                  <a:gd name="connsiteY1" fmla="*/ 20669 h 22479"/>
                  <a:gd name="connsiteX2" fmla="*/ 11239 w 20859"/>
                  <a:gd name="connsiteY2" fmla="*/ 21622 h 22479"/>
                  <a:gd name="connsiteX3" fmla="*/ 9239 w 20859"/>
                  <a:gd name="connsiteY3" fmla="*/ 22289 h 22479"/>
                  <a:gd name="connsiteX4" fmla="*/ 6953 w 20859"/>
                  <a:gd name="connsiteY4" fmla="*/ 22479 h 22479"/>
                  <a:gd name="connsiteX5" fmla="*/ 2000 w 20859"/>
                  <a:gd name="connsiteY5" fmla="*/ 20574 h 22479"/>
                  <a:gd name="connsiteX6" fmla="*/ 0 w 20859"/>
                  <a:gd name="connsiteY6" fmla="*/ 15812 h 22479"/>
                  <a:gd name="connsiteX7" fmla="*/ 1048 w 20859"/>
                  <a:gd name="connsiteY7" fmla="*/ 12002 h 22479"/>
                  <a:gd name="connsiteX8" fmla="*/ 3905 w 20859"/>
                  <a:gd name="connsiteY8" fmla="*/ 9716 h 22479"/>
                  <a:gd name="connsiteX9" fmla="*/ 8477 w 20859"/>
                  <a:gd name="connsiteY9" fmla="*/ 8477 h 22479"/>
                  <a:gd name="connsiteX10" fmla="*/ 14192 w 20859"/>
                  <a:gd name="connsiteY10" fmla="*/ 7906 h 22479"/>
                  <a:gd name="connsiteX11" fmla="*/ 14192 w 20859"/>
                  <a:gd name="connsiteY11" fmla="*/ 7906 h 22479"/>
                  <a:gd name="connsiteX12" fmla="*/ 12763 w 20859"/>
                  <a:gd name="connsiteY12" fmla="*/ 5334 h 22479"/>
                  <a:gd name="connsiteX13" fmla="*/ 8572 w 20859"/>
                  <a:gd name="connsiteY13" fmla="*/ 4667 h 22479"/>
                  <a:gd name="connsiteX14" fmla="*/ 5048 w 20859"/>
                  <a:gd name="connsiteY14" fmla="*/ 5239 h 22479"/>
                  <a:gd name="connsiteX15" fmla="*/ 2381 w 20859"/>
                  <a:gd name="connsiteY15" fmla="*/ 6096 h 22479"/>
                  <a:gd name="connsiteX16" fmla="*/ 1810 w 20859"/>
                  <a:gd name="connsiteY16" fmla="*/ 6096 h 22479"/>
                  <a:gd name="connsiteX17" fmla="*/ 1810 w 20859"/>
                  <a:gd name="connsiteY17" fmla="*/ 1048 h 22479"/>
                  <a:gd name="connsiteX18" fmla="*/ 5239 w 20859"/>
                  <a:gd name="connsiteY18" fmla="*/ 381 h 22479"/>
                  <a:gd name="connsiteX19" fmla="*/ 10001 w 20859"/>
                  <a:gd name="connsiteY19" fmla="*/ 0 h 22479"/>
                  <a:gd name="connsiteX20" fmla="*/ 18288 w 20859"/>
                  <a:gd name="connsiteY20" fmla="*/ 1715 h 22479"/>
                  <a:gd name="connsiteX21" fmla="*/ 20860 w 20859"/>
                  <a:gd name="connsiteY21" fmla="*/ 7239 h 22479"/>
                  <a:gd name="connsiteX22" fmla="*/ 20860 w 20859"/>
                  <a:gd name="connsiteY22" fmla="*/ 21527 h 22479"/>
                  <a:gd name="connsiteX23" fmla="*/ 14192 w 20859"/>
                  <a:gd name="connsiteY23" fmla="*/ 21527 h 22479"/>
                  <a:gd name="connsiteX24" fmla="*/ 14192 w 20859"/>
                  <a:gd name="connsiteY24" fmla="*/ 19336 h 22479"/>
                  <a:gd name="connsiteX25" fmla="*/ 14192 w 20859"/>
                  <a:gd name="connsiteY25" fmla="*/ 19336 h 22479"/>
                  <a:gd name="connsiteX26" fmla="*/ 14097 w 20859"/>
                  <a:gd name="connsiteY26" fmla="*/ 16383 h 22479"/>
                  <a:gd name="connsiteX27" fmla="*/ 14097 w 20859"/>
                  <a:gd name="connsiteY27" fmla="*/ 12002 h 22479"/>
                  <a:gd name="connsiteX28" fmla="*/ 11144 w 20859"/>
                  <a:gd name="connsiteY28" fmla="*/ 12287 h 22479"/>
                  <a:gd name="connsiteX29" fmla="*/ 8763 w 20859"/>
                  <a:gd name="connsiteY29" fmla="*/ 12764 h 22479"/>
                  <a:gd name="connsiteX30" fmla="*/ 7239 w 20859"/>
                  <a:gd name="connsiteY30" fmla="*/ 13716 h 22479"/>
                  <a:gd name="connsiteX31" fmla="*/ 6763 w 20859"/>
                  <a:gd name="connsiteY31" fmla="*/ 15335 h 22479"/>
                  <a:gd name="connsiteX32" fmla="*/ 6858 w 20859"/>
                  <a:gd name="connsiteY32" fmla="*/ 16383 h 22479"/>
                  <a:gd name="connsiteX33" fmla="*/ 7429 w 20859"/>
                  <a:gd name="connsiteY33" fmla="*/ 17145 h 22479"/>
                  <a:gd name="connsiteX34" fmla="*/ 8477 w 20859"/>
                  <a:gd name="connsiteY34" fmla="*/ 17717 h 22479"/>
                  <a:gd name="connsiteX35" fmla="*/ 10287 w 20859"/>
                  <a:gd name="connsiteY35" fmla="*/ 17907 h 22479"/>
                  <a:gd name="connsiteX36" fmla="*/ 12287 w 20859"/>
                  <a:gd name="connsiteY36" fmla="*/ 17526 h 22479"/>
                  <a:gd name="connsiteX37" fmla="*/ 14097 w 20859"/>
                  <a:gd name="connsiteY37" fmla="*/ 16383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859" h="22479">
                    <a:moveTo>
                      <a:pt x="14097" y="19717"/>
                    </a:moveTo>
                    <a:cubicBezTo>
                      <a:pt x="14097" y="19717"/>
                      <a:pt x="13240" y="20288"/>
                      <a:pt x="12763" y="20669"/>
                    </a:cubicBezTo>
                    <a:cubicBezTo>
                      <a:pt x="12192" y="21050"/>
                      <a:pt x="11716" y="21336"/>
                      <a:pt x="11239" y="21622"/>
                    </a:cubicBezTo>
                    <a:cubicBezTo>
                      <a:pt x="10573" y="21908"/>
                      <a:pt x="9906" y="22193"/>
                      <a:pt x="9239" y="22289"/>
                    </a:cubicBezTo>
                    <a:cubicBezTo>
                      <a:pt x="8477" y="22384"/>
                      <a:pt x="7715" y="22479"/>
                      <a:pt x="6953" y="22479"/>
                    </a:cubicBezTo>
                    <a:cubicBezTo>
                      <a:pt x="4953" y="22479"/>
                      <a:pt x="3334" y="21908"/>
                      <a:pt x="2000" y="20574"/>
                    </a:cubicBezTo>
                    <a:cubicBezTo>
                      <a:pt x="667" y="19336"/>
                      <a:pt x="0" y="17717"/>
                      <a:pt x="0" y="15812"/>
                    </a:cubicBezTo>
                    <a:cubicBezTo>
                      <a:pt x="0" y="14288"/>
                      <a:pt x="381" y="13049"/>
                      <a:pt x="1048" y="12002"/>
                    </a:cubicBezTo>
                    <a:cubicBezTo>
                      <a:pt x="1714" y="11049"/>
                      <a:pt x="2667" y="10287"/>
                      <a:pt x="3905" y="9716"/>
                    </a:cubicBezTo>
                    <a:cubicBezTo>
                      <a:pt x="5143" y="9144"/>
                      <a:pt x="6667" y="8763"/>
                      <a:pt x="8477" y="8477"/>
                    </a:cubicBezTo>
                    <a:cubicBezTo>
                      <a:pt x="10287" y="8287"/>
                      <a:pt x="12192" y="8096"/>
                      <a:pt x="14192" y="7906"/>
                    </a:cubicBezTo>
                    <a:lnTo>
                      <a:pt x="14192" y="7906"/>
                    </a:lnTo>
                    <a:cubicBezTo>
                      <a:pt x="14192" y="6572"/>
                      <a:pt x="13716" y="5810"/>
                      <a:pt x="12763" y="5334"/>
                    </a:cubicBezTo>
                    <a:cubicBezTo>
                      <a:pt x="11811" y="4858"/>
                      <a:pt x="10477" y="4667"/>
                      <a:pt x="8572" y="4667"/>
                    </a:cubicBezTo>
                    <a:cubicBezTo>
                      <a:pt x="7429" y="4667"/>
                      <a:pt x="6286" y="4858"/>
                      <a:pt x="5048" y="5239"/>
                    </a:cubicBezTo>
                    <a:cubicBezTo>
                      <a:pt x="3810" y="5620"/>
                      <a:pt x="2953" y="5906"/>
                      <a:pt x="2381" y="6096"/>
                    </a:cubicBezTo>
                    <a:lnTo>
                      <a:pt x="1810" y="6096"/>
                    </a:lnTo>
                    <a:lnTo>
                      <a:pt x="1810" y="1048"/>
                    </a:lnTo>
                    <a:cubicBezTo>
                      <a:pt x="2476" y="857"/>
                      <a:pt x="3715" y="667"/>
                      <a:pt x="5239" y="381"/>
                    </a:cubicBezTo>
                    <a:cubicBezTo>
                      <a:pt x="6858" y="95"/>
                      <a:pt x="8382" y="0"/>
                      <a:pt x="10001" y="0"/>
                    </a:cubicBezTo>
                    <a:cubicBezTo>
                      <a:pt x="13811" y="0"/>
                      <a:pt x="16573" y="572"/>
                      <a:pt x="18288" y="1715"/>
                    </a:cubicBezTo>
                    <a:cubicBezTo>
                      <a:pt x="20002" y="2953"/>
                      <a:pt x="20860" y="4763"/>
                      <a:pt x="20860" y="7239"/>
                    </a:cubicBezTo>
                    <a:lnTo>
                      <a:pt x="20860" y="21527"/>
                    </a:lnTo>
                    <a:lnTo>
                      <a:pt x="14192" y="21527"/>
                    </a:lnTo>
                    <a:lnTo>
                      <a:pt x="14192" y="19336"/>
                    </a:lnTo>
                    <a:lnTo>
                      <a:pt x="14192" y="19336"/>
                    </a:lnTo>
                    <a:close/>
                    <a:moveTo>
                      <a:pt x="14097" y="16383"/>
                    </a:moveTo>
                    <a:lnTo>
                      <a:pt x="14097" y="12002"/>
                    </a:lnTo>
                    <a:cubicBezTo>
                      <a:pt x="13144" y="12002"/>
                      <a:pt x="12192" y="12192"/>
                      <a:pt x="11144" y="12287"/>
                    </a:cubicBezTo>
                    <a:cubicBezTo>
                      <a:pt x="10096" y="12383"/>
                      <a:pt x="9334" y="12573"/>
                      <a:pt x="8763" y="12764"/>
                    </a:cubicBezTo>
                    <a:cubicBezTo>
                      <a:pt x="8096" y="12954"/>
                      <a:pt x="7620" y="13240"/>
                      <a:pt x="7239" y="13716"/>
                    </a:cubicBezTo>
                    <a:cubicBezTo>
                      <a:pt x="6858" y="14097"/>
                      <a:pt x="6763" y="14669"/>
                      <a:pt x="6763" y="15335"/>
                    </a:cubicBezTo>
                    <a:cubicBezTo>
                      <a:pt x="6763" y="15812"/>
                      <a:pt x="6763" y="16097"/>
                      <a:pt x="6858" y="16383"/>
                    </a:cubicBezTo>
                    <a:cubicBezTo>
                      <a:pt x="6858" y="16669"/>
                      <a:pt x="7144" y="16955"/>
                      <a:pt x="7429" y="17145"/>
                    </a:cubicBezTo>
                    <a:cubicBezTo>
                      <a:pt x="7715" y="17431"/>
                      <a:pt x="8096" y="17621"/>
                      <a:pt x="8477" y="17717"/>
                    </a:cubicBezTo>
                    <a:cubicBezTo>
                      <a:pt x="8858" y="17812"/>
                      <a:pt x="9525" y="17907"/>
                      <a:pt x="10287" y="17907"/>
                    </a:cubicBezTo>
                    <a:cubicBezTo>
                      <a:pt x="10954" y="17907"/>
                      <a:pt x="11620" y="17812"/>
                      <a:pt x="12287" y="17526"/>
                    </a:cubicBezTo>
                    <a:cubicBezTo>
                      <a:pt x="12954" y="17240"/>
                      <a:pt x="13621" y="16859"/>
                      <a:pt x="14097" y="16383"/>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2" name="Freeform: Shape 311">
                <a:extLst>
                  <a:ext uri="{FF2B5EF4-FFF2-40B4-BE49-F238E27FC236}">
                    <a16:creationId xmlns:a16="http://schemas.microsoft.com/office/drawing/2014/main" id="{2A06D642-5BC3-4D8F-BAEE-8C1F3754F3AE}"/>
                  </a:ext>
                </a:extLst>
              </p:cNvPr>
              <p:cNvSpPr/>
              <p:nvPr/>
            </p:nvSpPr>
            <p:spPr>
              <a:xfrm>
                <a:off x="6939470" y="4100075"/>
                <a:ext cx="21145" cy="21621"/>
              </a:xfrm>
              <a:custGeom>
                <a:avLst/>
                <a:gdLst>
                  <a:gd name="connsiteX0" fmla="*/ 21146 w 21145"/>
                  <a:gd name="connsiteY0" fmla="*/ 21622 h 21621"/>
                  <a:gd name="connsiteX1" fmla="*/ 14383 w 21145"/>
                  <a:gd name="connsiteY1" fmla="*/ 21622 h 21621"/>
                  <a:gd name="connsiteX2" fmla="*/ 14383 w 21145"/>
                  <a:gd name="connsiteY2" fmla="*/ 11239 h 21621"/>
                  <a:gd name="connsiteX3" fmla="*/ 14192 w 21145"/>
                  <a:gd name="connsiteY3" fmla="*/ 8668 h 21621"/>
                  <a:gd name="connsiteX4" fmla="*/ 13716 w 21145"/>
                  <a:gd name="connsiteY4" fmla="*/ 6763 h 21621"/>
                  <a:gd name="connsiteX5" fmla="*/ 12668 w 21145"/>
                  <a:gd name="connsiteY5" fmla="*/ 5715 h 21621"/>
                  <a:gd name="connsiteX6" fmla="*/ 10668 w 21145"/>
                  <a:gd name="connsiteY6" fmla="*/ 5429 h 21621"/>
                  <a:gd name="connsiteX7" fmla="*/ 8763 w 21145"/>
                  <a:gd name="connsiteY7" fmla="*/ 5715 h 21621"/>
                  <a:gd name="connsiteX8" fmla="*/ 6763 w 21145"/>
                  <a:gd name="connsiteY8" fmla="*/ 6668 h 21621"/>
                  <a:gd name="connsiteX9" fmla="*/ 6763 w 21145"/>
                  <a:gd name="connsiteY9" fmla="*/ 21527 h 21621"/>
                  <a:gd name="connsiteX10" fmla="*/ 0 w 21145"/>
                  <a:gd name="connsiteY10" fmla="*/ 21527 h 21621"/>
                  <a:gd name="connsiteX11" fmla="*/ 0 w 21145"/>
                  <a:gd name="connsiteY11" fmla="*/ 572 h 21621"/>
                  <a:gd name="connsiteX12" fmla="*/ 6763 w 21145"/>
                  <a:gd name="connsiteY12" fmla="*/ 572 h 21621"/>
                  <a:gd name="connsiteX13" fmla="*/ 6763 w 21145"/>
                  <a:gd name="connsiteY13" fmla="*/ 2953 h 21621"/>
                  <a:gd name="connsiteX14" fmla="*/ 10192 w 21145"/>
                  <a:gd name="connsiteY14" fmla="*/ 762 h 21621"/>
                  <a:gd name="connsiteX15" fmla="*/ 13811 w 21145"/>
                  <a:gd name="connsiteY15" fmla="*/ 0 h 21621"/>
                  <a:gd name="connsiteX16" fmla="*/ 19145 w 21145"/>
                  <a:gd name="connsiteY16" fmla="*/ 2000 h 21621"/>
                  <a:gd name="connsiteX17" fmla="*/ 21050 w 21145"/>
                  <a:gd name="connsiteY17" fmla="*/ 7906 h 21621"/>
                  <a:gd name="connsiteX18" fmla="*/ 21050 w 21145"/>
                  <a:gd name="connsiteY18" fmla="*/ 21622 h 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145" h="21621">
                    <a:moveTo>
                      <a:pt x="21146" y="21622"/>
                    </a:moveTo>
                    <a:lnTo>
                      <a:pt x="14383" y="21622"/>
                    </a:lnTo>
                    <a:lnTo>
                      <a:pt x="14383" y="11239"/>
                    </a:lnTo>
                    <a:cubicBezTo>
                      <a:pt x="14383" y="10382"/>
                      <a:pt x="14383" y="9525"/>
                      <a:pt x="14192" y="8668"/>
                    </a:cubicBezTo>
                    <a:cubicBezTo>
                      <a:pt x="14192" y="7811"/>
                      <a:pt x="14002" y="7239"/>
                      <a:pt x="13716" y="6763"/>
                    </a:cubicBezTo>
                    <a:cubicBezTo>
                      <a:pt x="13430" y="6287"/>
                      <a:pt x="13145" y="6001"/>
                      <a:pt x="12668" y="5715"/>
                    </a:cubicBezTo>
                    <a:cubicBezTo>
                      <a:pt x="12192" y="5525"/>
                      <a:pt x="11525" y="5429"/>
                      <a:pt x="10668" y="5429"/>
                    </a:cubicBezTo>
                    <a:cubicBezTo>
                      <a:pt x="10097" y="5429"/>
                      <a:pt x="9430" y="5429"/>
                      <a:pt x="8763" y="5715"/>
                    </a:cubicBezTo>
                    <a:cubicBezTo>
                      <a:pt x="8096" y="5905"/>
                      <a:pt x="7430" y="6191"/>
                      <a:pt x="6763" y="6668"/>
                    </a:cubicBezTo>
                    <a:lnTo>
                      <a:pt x="6763" y="21527"/>
                    </a:lnTo>
                    <a:lnTo>
                      <a:pt x="0" y="21527"/>
                    </a:lnTo>
                    <a:lnTo>
                      <a:pt x="0" y="572"/>
                    </a:lnTo>
                    <a:lnTo>
                      <a:pt x="6763" y="572"/>
                    </a:lnTo>
                    <a:lnTo>
                      <a:pt x="6763" y="2953"/>
                    </a:lnTo>
                    <a:cubicBezTo>
                      <a:pt x="8001" y="2000"/>
                      <a:pt x="9144" y="1334"/>
                      <a:pt x="10192" y="762"/>
                    </a:cubicBezTo>
                    <a:cubicBezTo>
                      <a:pt x="11335" y="286"/>
                      <a:pt x="12478" y="0"/>
                      <a:pt x="13811" y="0"/>
                    </a:cubicBezTo>
                    <a:cubicBezTo>
                      <a:pt x="16097" y="0"/>
                      <a:pt x="17812" y="667"/>
                      <a:pt x="19145" y="2000"/>
                    </a:cubicBezTo>
                    <a:cubicBezTo>
                      <a:pt x="20383" y="3334"/>
                      <a:pt x="21050" y="5334"/>
                      <a:pt x="21050" y="7906"/>
                    </a:cubicBezTo>
                    <a:lnTo>
                      <a:pt x="21050" y="2162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3" name="Freeform: Shape 312">
                <a:extLst>
                  <a:ext uri="{FF2B5EF4-FFF2-40B4-BE49-F238E27FC236}">
                    <a16:creationId xmlns:a16="http://schemas.microsoft.com/office/drawing/2014/main" id="{4529244C-5673-413D-B24A-F85E7471708A}"/>
                  </a:ext>
                </a:extLst>
              </p:cNvPr>
              <p:cNvSpPr/>
              <p:nvPr/>
            </p:nvSpPr>
            <p:spPr>
              <a:xfrm>
                <a:off x="6764305" y="4134365"/>
                <a:ext cx="20192" cy="27908"/>
              </a:xfrm>
              <a:custGeom>
                <a:avLst/>
                <a:gdLst>
                  <a:gd name="connsiteX0" fmla="*/ 20193 w 20192"/>
                  <a:gd name="connsiteY0" fmla="*/ 27908 h 27908"/>
                  <a:gd name="connsiteX1" fmla="*/ 0 w 20192"/>
                  <a:gd name="connsiteY1" fmla="*/ 27908 h 27908"/>
                  <a:gd name="connsiteX2" fmla="*/ 0 w 20192"/>
                  <a:gd name="connsiteY2" fmla="*/ 0 h 27908"/>
                  <a:gd name="connsiteX3" fmla="*/ 20193 w 20192"/>
                  <a:gd name="connsiteY3" fmla="*/ 0 h 27908"/>
                  <a:gd name="connsiteX4" fmla="*/ 20193 w 20192"/>
                  <a:gd name="connsiteY4" fmla="*/ 5429 h 27908"/>
                  <a:gd name="connsiteX5" fmla="*/ 7239 w 20192"/>
                  <a:gd name="connsiteY5" fmla="*/ 5429 h 27908"/>
                  <a:gd name="connsiteX6" fmla="*/ 7239 w 20192"/>
                  <a:gd name="connsiteY6" fmla="*/ 10192 h 27908"/>
                  <a:gd name="connsiteX7" fmla="*/ 19241 w 20192"/>
                  <a:gd name="connsiteY7" fmla="*/ 10192 h 27908"/>
                  <a:gd name="connsiteX8" fmla="*/ 19241 w 20192"/>
                  <a:gd name="connsiteY8" fmla="*/ 15621 h 27908"/>
                  <a:gd name="connsiteX9" fmla="*/ 7239 w 20192"/>
                  <a:gd name="connsiteY9" fmla="*/ 15621 h 27908"/>
                  <a:gd name="connsiteX10" fmla="*/ 7239 w 20192"/>
                  <a:gd name="connsiteY10" fmla="*/ 22574 h 27908"/>
                  <a:gd name="connsiteX11" fmla="*/ 20193 w 20192"/>
                  <a:gd name="connsiteY11" fmla="*/ 22574 h 27908"/>
                  <a:gd name="connsiteX12" fmla="*/ 20193 w 20192"/>
                  <a:gd name="connsiteY12" fmla="*/ 27908 h 27908"/>
                  <a:gd name="connsiteX13" fmla="*/ 20193 w 20192"/>
                  <a:gd name="connsiteY13" fmla="*/ 27908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2" h="27908">
                    <a:moveTo>
                      <a:pt x="20193" y="27908"/>
                    </a:moveTo>
                    <a:lnTo>
                      <a:pt x="0" y="27908"/>
                    </a:lnTo>
                    <a:lnTo>
                      <a:pt x="0" y="0"/>
                    </a:lnTo>
                    <a:lnTo>
                      <a:pt x="20193" y="0"/>
                    </a:lnTo>
                    <a:lnTo>
                      <a:pt x="20193" y="5429"/>
                    </a:lnTo>
                    <a:lnTo>
                      <a:pt x="7239" y="5429"/>
                    </a:lnTo>
                    <a:lnTo>
                      <a:pt x="7239" y="10192"/>
                    </a:lnTo>
                    <a:lnTo>
                      <a:pt x="19241" y="10192"/>
                    </a:lnTo>
                    <a:lnTo>
                      <a:pt x="19241" y="15621"/>
                    </a:lnTo>
                    <a:lnTo>
                      <a:pt x="7239" y="15621"/>
                    </a:lnTo>
                    <a:lnTo>
                      <a:pt x="7239" y="22574"/>
                    </a:lnTo>
                    <a:lnTo>
                      <a:pt x="20193" y="22574"/>
                    </a:lnTo>
                    <a:lnTo>
                      <a:pt x="20193" y="27908"/>
                    </a:lnTo>
                    <a:lnTo>
                      <a:pt x="20193" y="2790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4" name="Freeform: Shape 313">
                <a:extLst>
                  <a:ext uri="{FF2B5EF4-FFF2-40B4-BE49-F238E27FC236}">
                    <a16:creationId xmlns:a16="http://schemas.microsoft.com/office/drawing/2014/main" id="{7F7DB614-83D8-4885-ADDE-CFC7F26913A7}"/>
                  </a:ext>
                </a:extLst>
              </p:cNvPr>
              <p:cNvSpPr/>
              <p:nvPr/>
            </p:nvSpPr>
            <p:spPr>
              <a:xfrm>
                <a:off x="6789832" y="4133413"/>
                <a:ext cx="6762" cy="29146"/>
              </a:xfrm>
              <a:custGeom>
                <a:avLst/>
                <a:gdLst>
                  <a:gd name="connsiteX0" fmla="*/ 6763 w 6762"/>
                  <a:gd name="connsiteY0" fmla="*/ 29147 h 29146"/>
                  <a:gd name="connsiteX1" fmla="*/ 0 w 6762"/>
                  <a:gd name="connsiteY1" fmla="*/ 29147 h 29146"/>
                  <a:gd name="connsiteX2" fmla="*/ 0 w 6762"/>
                  <a:gd name="connsiteY2" fmla="*/ 0 h 29146"/>
                  <a:gd name="connsiteX3" fmla="*/ 6763 w 6762"/>
                  <a:gd name="connsiteY3" fmla="*/ 0 h 29146"/>
                  <a:gd name="connsiteX4" fmla="*/ 6763 w 6762"/>
                  <a:gd name="connsiteY4" fmla="*/ 29147 h 29146"/>
                  <a:gd name="connsiteX5" fmla="*/ 6763 w 6762"/>
                  <a:gd name="connsiteY5" fmla="*/ 29147 h 2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9146">
                    <a:moveTo>
                      <a:pt x="6763" y="29147"/>
                    </a:moveTo>
                    <a:lnTo>
                      <a:pt x="0" y="29147"/>
                    </a:lnTo>
                    <a:lnTo>
                      <a:pt x="0" y="0"/>
                    </a:lnTo>
                    <a:lnTo>
                      <a:pt x="6763" y="0"/>
                    </a:lnTo>
                    <a:lnTo>
                      <a:pt x="6763" y="29147"/>
                    </a:lnTo>
                    <a:lnTo>
                      <a:pt x="6763" y="291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5" name="Freeform: Shape 314">
                <a:extLst>
                  <a:ext uri="{FF2B5EF4-FFF2-40B4-BE49-F238E27FC236}">
                    <a16:creationId xmlns:a16="http://schemas.microsoft.com/office/drawing/2014/main" id="{F56E8024-3856-4956-A945-3058F168155B}"/>
                  </a:ext>
                </a:extLst>
              </p:cNvPr>
              <p:cNvSpPr/>
              <p:nvPr/>
            </p:nvSpPr>
            <p:spPr>
              <a:xfrm>
                <a:off x="6800500" y="4140651"/>
                <a:ext cx="22193" cy="22288"/>
              </a:xfrm>
              <a:custGeom>
                <a:avLst/>
                <a:gdLst>
                  <a:gd name="connsiteX0" fmla="*/ 22098 w 22193"/>
                  <a:gd name="connsiteY0" fmla="*/ 12383 h 22288"/>
                  <a:gd name="connsiteX1" fmla="*/ 6668 w 22193"/>
                  <a:gd name="connsiteY1" fmla="*/ 12383 h 22288"/>
                  <a:gd name="connsiteX2" fmla="*/ 8573 w 22193"/>
                  <a:gd name="connsiteY2" fmla="*/ 16193 h 22288"/>
                  <a:gd name="connsiteX3" fmla="*/ 13716 w 22193"/>
                  <a:gd name="connsiteY3" fmla="*/ 17526 h 22288"/>
                  <a:gd name="connsiteX4" fmla="*/ 17812 w 22193"/>
                  <a:gd name="connsiteY4" fmla="*/ 16764 h 22288"/>
                  <a:gd name="connsiteX5" fmla="*/ 20955 w 22193"/>
                  <a:gd name="connsiteY5" fmla="*/ 15145 h 22288"/>
                  <a:gd name="connsiteX6" fmla="*/ 21717 w 22193"/>
                  <a:gd name="connsiteY6" fmla="*/ 15145 h 22288"/>
                  <a:gd name="connsiteX7" fmla="*/ 21717 w 22193"/>
                  <a:gd name="connsiteY7" fmla="*/ 20574 h 22288"/>
                  <a:gd name="connsiteX8" fmla="*/ 17431 w 22193"/>
                  <a:gd name="connsiteY8" fmla="*/ 21908 h 22288"/>
                  <a:gd name="connsiteX9" fmla="*/ 12954 w 22193"/>
                  <a:gd name="connsiteY9" fmla="*/ 22289 h 22288"/>
                  <a:gd name="connsiteX10" fmla="*/ 3334 w 22193"/>
                  <a:gd name="connsiteY10" fmla="*/ 19431 h 22288"/>
                  <a:gd name="connsiteX11" fmla="*/ 0 w 22193"/>
                  <a:gd name="connsiteY11" fmla="*/ 11335 h 22288"/>
                  <a:gd name="connsiteX12" fmla="*/ 3143 w 22193"/>
                  <a:gd name="connsiteY12" fmla="*/ 3048 h 22288"/>
                  <a:gd name="connsiteX13" fmla="*/ 11906 w 22193"/>
                  <a:gd name="connsiteY13" fmla="*/ 0 h 22288"/>
                  <a:gd name="connsiteX14" fmla="*/ 19622 w 22193"/>
                  <a:gd name="connsiteY14" fmla="*/ 2572 h 22288"/>
                  <a:gd name="connsiteX15" fmla="*/ 22193 w 22193"/>
                  <a:gd name="connsiteY15" fmla="*/ 10001 h 22288"/>
                  <a:gd name="connsiteX16" fmla="*/ 22193 w 22193"/>
                  <a:gd name="connsiteY16" fmla="*/ 12383 h 22288"/>
                  <a:gd name="connsiteX17" fmla="*/ 22193 w 22193"/>
                  <a:gd name="connsiteY17" fmla="*/ 12383 h 22288"/>
                  <a:gd name="connsiteX18" fmla="*/ 15335 w 22193"/>
                  <a:gd name="connsiteY18" fmla="*/ 8477 h 22288"/>
                  <a:gd name="connsiteX19" fmla="*/ 14288 w 22193"/>
                  <a:gd name="connsiteY19" fmla="*/ 5334 h 22288"/>
                  <a:gd name="connsiteX20" fmla="*/ 11240 w 22193"/>
                  <a:gd name="connsiteY20" fmla="*/ 4286 h 22288"/>
                  <a:gd name="connsiteX21" fmla="*/ 8001 w 22193"/>
                  <a:gd name="connsiteY21" fmla="*/ 5334 h 22288"/>
                  <a:gd name="connsiteX22" fmla="*/ 6572 w 22193"/>
                  <a:gd name="connsiteY22" fmla="*/ 8573 h 22288"/>
                  <a:gd name="connsiteX23" fmla="*/ 15240 w 22193"/>
                  <a:gd name="connsiteY23" fmla="*/ 8573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93" h="22288">
                    <a:moveTo>
                      <a:pt x="22098" y="12383"/>
                    </a:moveTo>
                    <a:lnTo>
                      <a:pt x="6668" y="12383"/>
                    </a:lnTo>
                    <a:cubicBezTo>
                      <a:pt x="6763" y="14002"/>
                      <a:pt x="7430" y="15335"/>
                      <a:pt x="8573" y="16193"/>
                    </a:cubicBezTo>
                    <a:cubicBezTo>
                      <a:pt x="9716" y="17050"/>
                      <a:pt x="11430" y="17526"/>
                      <a:pt x="13716" y="17526"/>
                    </a:cubicBezTo>
                    <a:cubicBezTo>
                      <a:pt x="15145" y="17526"/>
                      <a:pt x="16478" y="17240"/>
                      <a:pt x="17812" y="16764"/>
                    </a:cubicBezTo>
                    <a:cubicBezTo>
                      <a:pt x="19145" y="16288"/>
                      <a:pt x="20193" y="15716"/>
                      <a:pt x="20955" y="15145"/>
                    </a:cubicBezTo>
                    <a:lnTo>
                      <a:pt x="21717" y="15145"/>
                    </a:lnTo>
                    <a:lnTo>
                      <a:pt x="21717" y="20574"/>
                    </a:lnTo>
                    <a:cubicBezTo>
                      <a:pt x="20193" y="21146"/>
                      <a:pt x="18764" y="21622"/>
                      <a:pt x="17431" y="21908"/>
                    </a:cubicBezTo>
                    <a:cubicBezTo>
                      <a:pt x="16097" y="22193"/>
                      <a:pt x="14573" y="22289"/>
                      <a:pt x="12954" y="22289"/>
                    </a:cubicBezTo>
                    <a:cubicBezTo>
                      <a:pt x="8763" y="22289"/>
                      <a:pt x="5525" y="21336"/>
                      <a:pt x="3334" y="19431"/>
                    </a:cubicBezTo>
                    <a:cubicBezTo>
                      <a:pt x="1048" y="17526"/>
                      <a:pt x="0" y="14859"/>
                      <a:pt x="0" y="11335"/>
                    </a:cubicBezTo>
                    <a:cubicBezTo>
                      <a:pt x="0" y="7811"/>
                      <a:pt x="1048" y="5143"/>
                      <a:pt x="3143" y="3048"/>
                    </a:cubicBezTo>
                    <a:cubicBezTo>
                      <a:pt x="5239" y="1048"/>
                      <a:pt x="8192" y="0"/>
                      <a:pt x="11906" y="0"/>
                    </a:cubicBezTo>
                    <a:cubicBezTo>
                      <a:pt x="15335" y="0"/>
                      <a:pt x="17907" y="857"/>
                      <a:pt x="19622" y="2572"/>
                    </a:cubicBezTo>
                    <a:cubicBezTo>
                      <a:pt x="21336" y="4286"/>
                      <a:pt x="22193" y="6763"/>
                      <a:pt x="22193" y="10001"/>
                    </a:cubicBezTo>
                    <a:lnTo>
                      <a:pt x="22193" y="12383"/>
                    </a:lnTo>
                    <a:lnTo>
                      <a:pt x="22193" y="12383"/>
                    </a:lnTo>
                    <a:close/>
                    <a:moveTo>
                      <a:pt x="15335" y="8477"/>
                    </a:moveTo>
                    <a:cubicBezTo>
                      <a:pt x="15335" y="7049"/>
                      <a:pt x="14954" y="6001"/>
                      <a:pt x="14288" y="5334"/>
                    </a:cubicBezTo>
                    <a:cubicBezTo>
                      <a:pt x="13621" y="4572"/>
                      <a:pt x="12573" y="4286"/>
                      <a:pt x="11240" y="4286"/>
                    </a:cubicBezTo>
                    <a:cubicBezTo>
                      <a:pt x="9906" y="4286"/>
                      <a:pt x="8858" y="4667"/>
                      <a:pt x="8001" y="5334"/>
                    </a:cubicBezTo>
                    <a:cubicBezTo>
                      <a:pt x="7144" y="6001"/>
                      <a:pt x="6668" y="7049"/>
                      <a:pt x="6572" y="8573"/>
                    </a:cubicBezTo>
                    <a:lnTo>
                      <a:pt x="15240" y="8573"/>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6" name="Freeform: Shape 315">
                <a:extLst>
                  <a:ext uri="{FF2B5EF4-FFF2-40B4-BE49-F238E27FC236}">
                    <a16:creationId xmlns:a16="http://schemas.microsoft.com/office/drawing/2014/main" id="{7C89D35B-5C6F-46BB-87D4-1EEB8ED3A55C}"/>
                  </a:ext>
                </a:extLst>
              </p:cNvPr>
              <p:cNvSpPr/>
              <p:nvPr/>
            </p:nvSpPr>
            <p:spPr>
              <a:xfrm>
                <a:off x="6826503" y="4140842"/>
                <a:ext cx="19716" cy="22479"/>
              </a:xfrm>
              <a:custGeom>
                <a:avLst/>
                <a:gdLst>
                  <a:gd name="connsiteX0" fmla="*/ 12383 w 19716"/>
                  <a:gd name="connsiteY0" fmla="*/ 22003 h 22479"/>
                  <a:gd name="connsiteX1" fmla="*/ 7430 w 19716"/>
                  <a:gd name="connsiteY1" fmla="*/ 21336 h 22479"/>
                  <a:gd name="connsiteX2" fmla="*/ 3524 w 19716"/>
                  <a:gd name="connsiteY2" fmla="*/ 19336 h 22479"/>
                  <a:gd name="connsiteX3" fmla="*/ 953 w 19716"/>
                  <a:gd name="connsiteY3" fmla="*/ 15907 h 22479"/>
                  <a:gd name="connsiteX4" fmla="*/ 0 w 19716"/>
                  <a:gd name="connsiteY4" fmla="*/ 11049 h 22479"/>
                  <a:gd name="connsiteX5" fmla="*/ 953 w 19716"/>
                  <a:gd name="connsiteY5" fmla="*/ 6001 h 22479"/>
                  <a:gd name="connsiteX6" fmla="*/ 3715 w 19716"/>
                  <a:gd name="connsiteY6" fmla="*/ 2477 h 22479"/>
                  <a:gd name="connsiteX7" fmla="*/ 7620 w 19716"/>
                  <a:gd name="connsiteY7" fmla="*/ 572 h 22479"/>
                  <a:gd name="connsiteX8" fmla="*/ 12192 w 19716"/>
                  <a:gd name="connsiteY8" fmla="*/ 0 h 22479"/>
                  <a:gd name="connsiteX9" fmla="*/ 16193 w 19716"/>
                  <a:gd name="connsiteY9" fmla="*/ 476 h 22479"/>
                  <a:gd name="connsiteX10" fmla="*/ 19526 w 19716"/>
                  <a:gd name="connsiteY10" fmla="*/ 1715 h 22479"/>
                  <a:gd name="connsiteX11" fmla="*/ 19526 w 19716"/>
                  <a:gd name="connsiteY11" fmla="*/ 7430 h 22479"/>
                  <a:gd name="connsiteX12" fmla="*/ 18574 w 19716"/>
                  <a:gd name="connsiteY12" fmla="*/ 7430 h 22479"/>
                  <a:gd name="connsiteX13" fmla="*/ 17621 w 19716"/>
                  <a:gd name="connsiteY13" fmla="*/ 6668 h 22479"/>
                  <a:gd name="connsiteX14" fmla="*/ 16288 w 19716"/>
                  <a:gd name="connsiteY14" fmla="*/ 5810 h 22479"/>
                  <a:gd name="connsiteX15" fmla="*/ 14669 w 19716"/>
                  <a:gd name="connsiteY15" fmla="*/ 5144 h 22479"/>
                  <a:gd name="connsiteX16" fmla="*/ 12573 w 19716"/>
                  <a:gd name="connsiteY16" fmla="*/ 4858 h 22479"/>
                  <a:gd name="connsiteX17" fmla="*/ 8477 w 19716"/>
                  <a:gd name="connsiteY17" fmla="*/ 6572 h 22479"/>
                  <a:gd name="connsiteX18" fmla="*/ 7049 w 19716"/>
                  <a:gd name="connsiteY18" fmla="*/ 11240 h 22479"/>
                  <a:gd name="connsiteX19" fmla="*/ 8573 w 19716"/>
                  <a:gd name="connsiteY19" fmla="*/ 15907 h 22479"/>
                  <a:gd name="connsiteX20" fmla="*/ 12764 w 19716"/>
                  <a:gd name="connsiteY20" fmla="*/ 17526 h 22479"/>
                  <a:gd name="connsiteX21" fmla="*/ 15050 w 19716"/>
                  <a:gd name="connsiteY21" fmla="*/ 17240 h 22479"/>
                  <a:gd name="connsiteX22" fmla="*/ 16764 w 19716"/>
                  <a:gd name="connsiteY22" fmla="*/ 16574 h 22479"/>
                  <a:gd name="connsiteX23" fmla="*/ 17907 w 19716"/>
                  <a:gd name="connsiteY23" fmla="*/ 15812 h 22479"/>
                  <a:gd name="connsiteX24" fmla="*/ 18764 w 19716"/>
                  <a:gd name="connsiteY24" fmla="*/ 15050 h 22479"/>
                  <a:gd name="connsiteX25" fmla="*/ 19717 w 19716"/>
                  <a:gd name="connsiteY25" fmla="*/ 15050 h 22479"/>
                  <a:gd name="connsiteX26" fmla="*/ 19717 w 19716"/>
                  <a:gd name="connsiteY26" fmla="*/ 20765 h 22479"/>
                  <a:gd name="connsiteX27" fmla="*/ 16383 w 19716"/>
                  <a:gd name="connsiteY27" fmla="*/ 22003 h 22479"/>
                  <a:gd name="connsiteX28" fmla="*/ 12573 w 19716"/>
                  <a:gd name="connsiteY28" fmla="*/ 22479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16" h="22479">
                    <a:moveTo>
                      <a:pt x="12383" y="22003"/>
                    </a:moveTo>
                    <a:cubicBezTo>
                      <a:pt x="10573" y="22003"/>
                      <a:pt x="8858" y="21812"/>
                      <a:pt x="7430" y="21336"/>
                    </a:cubicBezTo>
                    <a:cubicBezTo>
                      <a:pt x="5906" y="20860"/>
                      <a:pt x="4572" y="20193"/>
                      <a:pt x="3524" y="19336"/>
                    </a:cubicBezTo>
                    <a:cubicBezTo>
                      <a:pt x="2381" y="18383"/>
                      <a:pt x="1524" y="17240"/>
                      <a:pt x="953" y="15907"/>
                    </a:cubicBezTo>
                    <a:cubicBezTo>
                      <a:pt x="381" y="14478"/>
                      <a:pt x="0" y="12859"/>
                      <a:pt x="0" y="11049"/>
                    </a:cubicBezTo>
                    <a:cubicBezTo>
                      <a:pt x="0" y="9049"/>
                      <a:pt x="286" y="7430"/>
                      <a:pt x="953" y="6001"/>
                    </a:cubicBezTo>
                    <a:cubicBezTo>
                      <a:pt x="1619" y="4572"/>
                      <a:pt x="2477" y="3429"/>
                      <a:pt x="3715" y="2477"/>
                    </a:cubicBezTo>
                    <a:cubicBezTo>
                      <a:pt x="4858" y="1619"/>
                      <a:pt x="6191" y="953"/>
                      <a:pt x="7620" y="572"/>
                    </a:cubicBezTo>
                    <a:cubicBezTo>
                      <a:pt x="9144" y="190"/>
                      <a:pt x="10668" y="0"/>
                      <a:pt x="12192" y="0"/>
                    </a:cubicBezTo>
                    <a:cubicBezTo>
                      <a:pt x="13621" y="0"/>
                      <a:pt x="14954" y="190"/>
                      <a:pt x="16193" y="476"/>
                    </a:cubicBezTo>
                    <a:cubicBezTo>
                      <a:pt x="17431" y="762"/>
                      <a:pt x="18479" y="1238"/>
                      <a:pt x="19526" y="1715"/>
                    </a:cubicBezTo>
                    <a:lnTo>
                      <a:pt x="19526" y="7430"/>
                    </a:lnTo>
                    <a:lnTo>
                      <a:pt x="18574" y="7430"/>
                    </a:lnTo>
                    <a:cubicBezTo>
                      <a:pt x="18574" y="7430"/>
                      <a:pt x="18002" y="6953"/>
                      <a:pt x="17621" y="6668"/>
                    </a:cubicBezTo>
                    <a:cubicBezTo>
                      <a:pt x="17240" y="6382"/>
                      <a:pt x="16764" y="6096"/>
                      <a:pt x="16288" y="5810"/>
                    </a:cubicBezTo>
                    <a:cubicBezTo>
                      <a:pt x="15812" y="5525"/>
                      <a:pt x="15240" y="5334"/>
                      <a:pt x="14669" y="5144"/>
                    </a:cubicBezTo>
                    <a:cubicBezTo>
                      <a:pt x="14002" y="4953"/>
                      <a:pt x="13335" y="4858"/>
                      <a:pt x="12573" y="4858"/>
                    </a:cubicBezTo>
                    <a:cubicBezTo>
                      <a:pt x="10763" y="4858"/>
                      <a:pt x="9430" y="5429"/>
                      <a:pt x="8477" y="6572"/>
                    </a:cubicBezTo>
                    <a:cubicBezTo>
                      <a:pt x="7525" y="7715"/>
                      <a:pt x="7049" y="9239"/>
                      <a:pt x="7049" y="11240"/>
                    </a:cubicBezTo>
                    <a:cubicBezTo>
                      <a:pt x="7049" y="13240"/>
                      <a:pt x="7525" y="14764"/>
                      <a:pt x="8573" y="15907"/>
                    </a:cubicBezTo>
                    <a:cubicBezTo>
                      <a:pt x="9525" y="16955"/>
                      <a:pt x="10954" y="17526"/>
                      <a:pt x="12764" y="17526"/>
                    </a:cubicBezTo>
                    <a:cubicBezTo>
                      <a:pt x="13621" y="17526"/>
                      <a:pt x="14383" y="17526"/>
                      <a:pt x="15050" y="17240"/>
                    </a:cubicBezTo>
                    <a:cubicBezTo>
                      <a:pt x="15716" y="17050"/>
                      <a:pt x="16288" y="16859"/>
                      <a:pt x="16764" y="16574"/>
                    </a:cubicBezTo>
                    <a:cubicBezTo>
                      <a:pt x="17240" y="16288"/>
                      <a:pt x="17526" y="16002"/>
                      <a:pt x="17907" y="15812"/>
                    </a:cubicBezTo>
                    <a:cubicBezTo>
                      <a:pt x="18193" y="15526"/>
                      <a:pt x="18479" y="15240"/>
                      <a:pt x="18764" y="15050"/>
                    </a:cubicBezTo>
                    <a:lnTo>
                      <a:pt x="19717" y="15050"/>
                    </a:lnTo>
                    <a:lnTo>
                      <a:pt x="19717" y="20765"/>
                    </a:lnTo>
                    <a:cubicBezTo>
                      <a:pt x="18669" y="21241"/>
                      <a:pt x="17526" y="21622"/>
                      <a:pt x="16383" y="22003"/>
                    </a:cubicBezTo>
                    <a:cubicBezTo>
                      <a:pt x="15240" y="22289"/>
                      <a:pt x="14002" y="22479"/>
                      <a:pt x="12573" y="2247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7" name="Freeform: Shape 316">
                <a:extLst>
                  <a:ext uri="{FF2B5EF4-FFF2-40B4-BE49-F238E27FC236}">
                    <a16:creationId xmlns:a16="http://schemas.microsoft.com/office/drawing/2014/main" id="{6D07DC3B-3E58-40A5-9EB9-672F60025664}"/>
                  </a:ext>
                </a:extLst>
              </p:cNvPr>
              <p:cNvSpPr/>
              <p:nvPr/>
            </p:nvSpPr>
            <p:spPr>
              <a:xfrm>
                <a:off x="6848792" y="4135317"/>
                <a:ext cx="15811" cy="27432"/>
              </a:xfrm>
              <a:custGeom>
                <a:avLst/>
                <a:gdLst>
                  <a:gd name="connsiteX0" fmla="*/ 15716 w 15811"/>
                  <a:gd name="connsiteY0" fmla="*/ 26765 h 27432"/>
                  <a:gd name="connsiteX1" fmla="*/ 13430 w 15811"/>
                  <a:gd name="connsiteY1" fmla="*/ 27242 h 27432"/>
                  <a:gd name="connsiteX2" fmla="*/ 10478 w 15811"/>
                  <a:gd name="connsiteY2" fmla="*/ 27432 h 27432"/>
                  <a:gd name="connsiteX3" fmla="*/ 4667 w 15811"/>
                  <a:gd name="connsiteY3" fmla="*/ 25813 h 27432"/>
                  <a:gd name="connsiteX4" fmla="*/ 2762 w 15811"/>
                  <a:gd name="connsiteY4" fmla="*/ 20384 h 27432"/>
                  <a:gd name="connsiteX5" fmla="*/ 2762 w 15811"/>
                  <a:gd name="connsiteY5" fmla="*/ 10573 h 27432"/>
                  <a:gd name="connsiteX6" fmla="*/ 0 w 15811"/>
                  <a:gd name="connsiteY6" fmla="*/ 10573 h 27432"/>
                  <a:gd name="connsiteX7" fmla="*/ 0 w 15811"/>
                  <a:gd name="connsiteY7" fmla="*/ 6001 h 27432"/>
                  <a:gd name="connsiteX8" fmla="*/ 2762 w 15811"/>
                  <a:gd name="connsiteY8" fmla="*/ 6001 h 27432"/>
                  <a:gd name="connsiteX9" fmla="*/ 2762 w 15811"/>
                  <a:gd name="connsiteY9" fmla="*/ 0 h 27432"/>
                  <a:gd name="connsiteX10" fmla="*/ 9525 w 15811"/>
                  <a:gd name="connsiteY10" fmla="*/ 0 h 27432"/>
                  <a:gd name="connsiteX11" fmla="*/ 9525 w 15811"/>
                  <a:gd name="connsiteY11" fmla="*/ 6001 h 27432"/>
                  <a:gd name="connsiteX12" fmla="*/ 15811 w 15811"/>
                  <a:gd name="connsiteY12" fmla="*/ 6001 h 27432"/>
                  <a:gd name="connsiteX13" fmla="*/ 15811 w 15811"/>
                  <a:gd name="connsiteY13" fmla="*/ 10573 h 27432"/>
                  <a:gd name="connsiteX14" fmla="*/ 9525 w 15811"/>
                  <a:gd name="connsiteY14" fmla="*/ 10573 h 27432"/>
                  <a:gd name="connsiteX15" fmla="*/ 9525 w 15811"/>
                  <a:gd name="connsiteY15" fmla="*/ 18098 h 27432"/>
                  <a:gd name="connsiteX16" fmla="*/ 9525 w 15811"/>
                  <a:gd name="connsiteY16" fmla="*/ 20003 h 27432"/>
                  <a:gd name="connsiteX17" fmla="*/ 9811 w 15811"/>
                  <a:gd name="connsiteY17" fmla="*/ 21527 h 27432"/>
                  <a:gd name="connsiteX18" fmla="*/ 10763 w 15811"/>
                  <a:gd name="connsiteY18" fmla="*/ 22574 h 27432"/>
                  <a:gd name="connsiteX19" fmla="*/ 12668 w 15811"/>
                  <a:gd name="connsiteY19" fmla="*/ 22955 h 27432"/>
                  <a:gd name="connsiteX20" fmla="*/ 14002 w 15811"/>
                  <a:gd name="connsiteY20" fmla="*/ 22765 h 27432"/>
                  <a:gd name="connsiteX21" fmla="*/ 15145 w 15811"/>
                  <a:gd name="connsiteY21" fmla="*/ 22384 h 27432"/>
                  <a:gd name="connsiteX22" fmla="*/ 15716 w 15811"/>
                  <a:gd name="connsiteY22" fmla="*/ 22384 h 27432"/>
                  <a:gd name="connsiteX23" fmla="*/ 15716 w 15811"/>
                  <a:gd name="connsiteY23" fmla="*/ 26956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11" h="27432">
                    <a:moveTo>
                      <a:pt x="15716" y="26765"/>
                    </a:moveTo>
                    <a:cubicBezTo>
                      <a:pt x="14954" y="26956"/>
                      <a:pt x="14192" y="27146"/>
                      <a:pt x="13430" y="27242"/>
                    </a:cubicBezTo>
                    <a:cubicBezTo>
                      <a:pt x="12573" y="27337"/>
                      <a:pt x="11621" y="27432"/>
                      <a:pt x="10478" y="27432"/>
                    </a:cubicBezTo>
                    <a:cubicBezTo>
                      <a:pt x="7906" y="27432"/>
                      <a:pt x="5906" y="26861"/>
                      <a:pt x="4667" y="25813"/>
                    </a:cubicBezTo>
                    <a:cubicBezTo>
                      <a:pt x="3429" y="24765"/>
                      <a:pt x="2762" y="22955"/>
                      <a:pt x="2762" y="20384"/>
                    </a:cubicBezTo>
                    <a:lnTo>
                      <a:pt x="2762" y="10573"/>
                    </a:lnTo>
                    <a:lnTo>
                      <a:pt x="0" y="10573"/>
                    </a:lnTo>
                    <a:lnTo>
                      <a:pt x="0" y="6001"/>
                    </a:lnTo>
                    <a:lnTo>
                      <a:pt x="2762" y="6001"/>
                    </a:lnTo>
                    <a:lnTo>
                      <a:pt x="2762" y="0"/>
                    </a:lnTo>
                    <a:lnTo>
                      <a:pt x="9525" y="0"/>
                    </a:lnTo>
                    <a:lnTo>
                      <a:pt x="9525" y="6001"/>
                    </a:lnTo>
                    <a:lnTo>
                      <a:pt x="15811" y="6001"/>
                    </a:lnTo>
                    <a:lnTo>
                      <a:pt x="15811" y="10573"/>
                    </a:lnTo>
                    <a:lnTo>
                      <a:pt x="9525" y="10573"/>
                    </a:lnTo>
                    <a:lnTo>
                      <a:pt x="9525" y="18098"/>
                    </a:lnTo>
                    <a:cubicBezTo>
                      <a:pt x="9525" y="18860"/>
                      <a:pt x="9525" y="19526"/>
                      <a:pt x="9525" y="20003"/>
                    </a:cubicBezTo>
                    <a:cubicBezTo>
                      <a:pt x="9525" y="20574"/>
                      <a:pt x="9620" y="21050"/>
                      <a:pt x="9811" y="21527"/>
                    </a:cubicBezTo>
                    <a:cubicBezTo>
                      <a:pt x="10001" y="22003"/>
                      <a:pt x="10287" y="22289"/>
                      <a:pt x="10763" y="22574"/>
                    </a:cubicBezTo>
                    <a:cubicBezTo>
                      <a:pt x="11240" y="22860"/>
                      <a:pt x="11811" y="22955"/>
                      <a:pt x="12668" y="22955"/>
                    </a:cubicBezTo>
                    <a:cubicBezTo>
                      <a:pt x="13049" y="22955"/>
                      <a:pt x="13526" y="22955"/>
                      <a:pt x="14002" y="22765"/>
                    </a:cubicBezTo>
                    <a:cubicBezTo>
                      <a:pt x="14573" y="22670"/>
                      <a:pt x="14954" y="22479"/>
                      <a:pt x="15145" y="22384"/>
                    </a:cubicBezTo>
                    <a:lnTo>
                      <a:pt x="15716" y="22384"/>
                    </a:lnTo>
                    <a:lnTo>
                      <a:pt x="15716" y="2695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8" name="Freeform: Shape 317">
                <a:extLst>
                  <a:ext uri="{FF2B5EF4-FFF2-40B4-BE49-F238E27FC236}">
                    <a16:creationId xmlns:a16="http://schemas.microsoft.com/office/drawing/2014/main" id="{211E108E-C9AF-47C0-B6CF-82D31258E37E}"/>
                  </a:ext>
                </a:extLst>
              </p:cNvPr>
              <p:cNvSpPr/>
              <p:nvPr/>
            </p:nvSpPr>
            <p:spPr>
              <a:xfrm>
                <a:off x="6868413" y="4141128"/>
                <a:ext cx="15335" cy="21240"/>
              </a:xfrm>
              <a:custGeom>
                <a:avLst/>
                <a:gdLst>
                  <a:gd name="connsiteX0" fmla="*/ 15335 w 15335"/>
                  <a:gd name="connsiteY0" fmla="*/ 6477 h 21240"/>
                  <a:gd name="connsiteX1" fmla="*/ 14764 w 15335"/>
                  <a:gd name="connsiteY1" fmla="*/ 6477 h 21240"/>
                  <a:gd name="connsiteX2" fmla="*/ 13335 w 15335"/>
                  <a:gd name="connsiteY2" fmla="*/ 6286 h 21240"/>
                  <a:gd name="connsiteX3" fmla="*/ 11716 w 15335"/>
                  <a:gd name="connsiteY3" fmla="*/ 6286 h 21240"/>
                  <a:gd name="connsiteX4" fmla="*/ 9144 w 15335"/>
                  <a:gd name="connsiteY4" fmla="*/ 6477 h 21240"/>
                  <a:gd name="connsiteX5" fmla="*/ 6763 w 15335"/>
                  <a:gd name="connsiteY5" fmla="*/ 7144 h 21240"/>
                  <a:gd name="connsiteX6" fmla="*/ 6763 w 15335"/>
                  <a:gd name="connsiteY6" fmla="*/ 21241 h 21240"/>
                  <a:gd name="connsiteX7" fmla="*/ 0 w 15335"/>
                  <a:gd name="connsiteY7" fmla="*/ 21241 h 21240"/>
                  <a:gd name="connsiteX8" fmla="*/ 0 w 15335"/>
                  <a:gd name="connsiteY8" fmla="*/ 190 h 21240"/>
                  <a:gd name="connsiteX9" fmla="*/ 6763 w 15335"/>
                  <a:gd name="connsiteY9" fmla="*/ 190 h 21240"/>
                  <a:gd name="connsiteX10" fmla="*/ 6763 w 15335"/>
                  <a:gd name="connsiteY10" fmla="*/ 3239 h 21240"/>
                  <a:gd name="connsiteX11" fmla="*/ 10668 w 15335"/>
                  <a:gd name="connsiteY11" fmla="*/ 667 h 21240"/>
                  <a:gd name="connsiteX12" fmla="*/ 13716 w 15335"/>
                  <a:gd name="connsiteY12" fmla="*/ 0 h 21240"/>
                  <a:gd name="connsiteX13" fmla="*/ 14573 w 15335"/>
                  <a:gd name="connsiteY13" fmla="*/ 0 h 21240"/>
                  <a:gd name="connsiteX14" fmla="*/ 15335 w 15335"/>
                  <a:gd name="connsiteY14" fmla="*/ 0 h 21240"/>
                  <a:gd name="connsiteX15" fmla="*/ 15335 w 15335"/>
                  <a:gd name="connsiteY15" fmla="*/ 6382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35" h="21240">
                    <a:moveTo>
                      <a:pt x="15335" y="6477"/>
                    </a:moveTo>
                    <a:lnTo>
                      <a:pt x="14764" y="6477"/>
                    </a:lnTo>
                    <a:cubicBezTo>
                      <a:pt x="14764" y="6477"/>
                      <a:pt x="14002" y="6286"/>
                      <a:pt x="13335" y="6286"/>
                    </a:cubicBezTo>
                    <a:cubicBezTo>
                      <a:pt x="12668" y="6286"/>
                      <a:pt x="12192" y="6286"/>
                      <a:pt x="11716" y="6286"/>
                    </a:cubicBezTo>
                    <a:cubicBezTo>
                      <a:pt x="10763" y="6286"/>
                      <a:pt x="9906" y="6286"/>
                      <a:pt x="9144" y="6477"/>
                    </a:cubicBezTo>
                    <a:cubicBezTo>
                      <a:pt x="8382" y="6572"/>
                      <a:pt x="7620" y="6858"/>
                      <a:pt x="6763" y="7144"/>
                    </a:cubicBezTo>
                    <a:lnTo>
                      <a:pt x="6763" y="21241"/>
                    </a:lnTo>
                    <a:lnTo>
                      <a:pt x="0" y="21241"/>
                    </a:lnTo>
                    <a:lnTo>
                      <a:pt x="0" y="190"/>
                    </a:lnTo>
                    <a:lnTo>
                      <a:pt x="6763" y="190"/>
                    </a:lnTo>
                    <a:lnTo>
                      <a:pt x="6763" y="3239"/>
                    </a:lnTo>
                    <a:cubicBezTo>
                      <a:pt x="8287" y="2000"/>
                      <a:pt x="9525" y="1143"/>
                      <a:pt x="10668" y="667"/>
                    </a:cubicBezTo>
                    <a:cubicBezTo>
                      <a:pt x="11716" y="286"/>
                      <a:pt x="12764" y="0"/>
                      <a:pt x="13716" y="0"/>
                    </a:cubicBezTo>
                    <a:cubicBezTo>
                      <a:pt x="14002" y="0"/>
                      <a:pt x="14192" y="0"/>
                      <a:pt x="14573" y="0"/>
                    </a:cubicBezTo>
                    <a:cubicBezTo>
                      <a:pt x="14859" y="0"/>
                      <a:pt x="15145" y="0"/>
                      <a:pt x="15335" y="0"/>
                    </a:cubicBezTo>
                    <a:lnTo>
                      <a:pt x="15335" y="638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9" name="Freeform: Shape 318">
                <a:extLst>
                  <a:ext uri="{FF2B5EF4-FFF2-40B4-BE49-F238E27FC236}">
                    <a16:creationId xmlns:a16="http://schemas.microsoft.com/office/drawing/2014/main" id="{1EDA707E-6F0D-469E-B339-479A80EBE306}"/>
                  </a:ext>
                </a:extLst>
              </p:cNvPr>
              <p:cNvSpPr/>
              <p:nvPr/>
            </p:nvSpPr>
            <p:spPr>
              <a:xfrm>
                <a:off x="6898512" y="4140842"/>
                <a:ext cx="19621" cy="22288"/>
              </a:xfrm>
              <a:custGeom>
                <a:avLst/>
                <a:gdLst>
                  <a:gd name="connsiteX0" fmla="*/ 12478 w 19621"/>
                  <a:gd name="connsiteY0" fmla="*/ 22003 h 22288"/>
                  <a:gd name="connsiteX1" fmla="*/ 7429 w 19621"/>
                  <a:gd name="connsiteY1" fmla="*/ 21336 h 22288"/>
                  <a:gd name="connsiteX2" fmla="*/ 3524 w 19621"/>
                  <a:gd name="connsiteY2" fmla="*/ 19336 h 22288"/>
                  <a:gd name="connsiteX3" fmla="*/ 953 w 19621"/>
                  <a:gd name="connsiteY3" fmla="*/ 15907 h 22288"/>
                  <a:gd name="connsiteX4" fmla="*/ 0 w 19621"/>
                  <a:gd name="connsiteY4" fmla="*/ 11049 h 22288"/>
                  <a:gd name="connsiteX5" fmla="*/ 953 w 19621"/>
                  <a:gd name="connsiteY5" fmla="*/ 6001 h 22288"/>
                  <a:gd name="connsiteX6" fmla="*/ 3715 w 19621"/>
                  <a:gd name="connsiteY6" fmla="*/ 2477 h 22288"/>
                  <a:gd name="connsiteX7" fmla="*/ 7620 w 19621"/>
                  <a:gd name="connsiteY7" fmla="*/ 572 h 22288"/>
                  <a:gd name="connsiteX8" fmla="*/ 12192 w 19621"/>
                  <a:gd name="connsiteY8" fmla="*/ 0 h 22288"/>
                  <a:gd name="connsiteX9" fmla="*/ 16193 w 19621"/>
                  <a:gd name="connsiteY9" fmla="*/ 476 h 22288"/>
                  <a:gd name="connsiteX10" fmla="*/ 19526 w 19621"/>
                  <a:gd name="connsiteY10" fmla="*/ 1715 h 22288"/>
                  <a:gd name="connsiteX11" fmla="*/ 19526 w 19621"/>
                  <a:gd name="connsiteY11" fmla="*/ 7430 h 22288"/>
                  <a:gd name="connsiteX12" fmla="*/ 18574 w 19621"/>
                  <a:gd name="connsiteY12" fmla="*/ 7430 h 22288"/>
                  <a:gd name="connsiteX13" fmla="*/ 17621 w 19621"/>
                  <a:gd name="connsiteY13" fmla="*/ 6668 h 22288"/>
                  <a:gd name="connsiteX14" fmla="*/ 16288 w 19621"/>
                  <a:gd name="connsiteY14" fmla="*/ 5810 h 22288"/>
                  <a:gd name="connsiteX15" fmla="*/ 14573 w 19621"/>
                  <a:gd name="connsiteY15" fmla="*/ 5144 h 22288"/>
                  <a:gd name="connsiteX16" fmla="*/ 12478 w 19621"/>
                  <a:gd name="connsiteY16" fmla="*/ 4858 h 22288"/>
                  <a:gd name="connsiteX17" fmla="*/ 8382 w 19621"/>
                  <a:gd name="connsiteY17" fmla="*/ 6572 h 22288"/>
                  <a:gd name="connsiteX18" fmla="*/ 6953 w 19621"/>
                  <a:gd name="connsiteY18" fmla="*/ 11240 h 22288"/>
                  <a:gd name="connsiteX19" fmla="*/ 8477 w 19621"/>
                  <a:gd name="connsiteY19" fmla="*/ 15812 h 22288"/>
                  <a:gd name="connsiteX20" fmla="*/ 12668 w 19621"/>
                  <a:gd name="connsiteY20" fmla="*/ 17431 h 22288"/>
                  <a:gd name="connsiteX21" fmla="*/ 14954 w 19621"/>
                  <a:gd name="connsiteY21" fmla="*/ 17145 h 22288"/>
                  <a:gd name="connsiteX22" fmla="*/ 16669 w 19621"/>
                  <a:gd name="connsiteY22" fmla="*/ 16478 h 22288"/>
                  <a:gd name="connsiteX23" fmla="*/ 17812 w 19621"/>
                  <a:gd name="connsiteY23" fmla="*/ 15716 h 22288"/>
                  <a:gd name="connsiteX24" fmla="*/ 18669 w 19621"/>
                  <a:gd name="connsiteY24" fmla="*/ 14859 h 22288"/>
                  <a:gd name="connsiteX25" fmla="*/ 19622 w 19621"/>
                  <a:gd name="connsiteY25" fmla="*/ 14859 h 22288"/>
                  <a:gd name="connsiteX26" fmla="*/ 19622 w 19621"/>
                  <a:gd name="connsiteY26" fmla="*/ 20574 h 22288"/>
                  <a:gd name="connsiteX27" fmla="*/ 16288 w 19621"/>
                  <a:gd name="connsiteY27" fmla="*/ 21812 h 22288"/>
                  <a:gd name="connsiteX28" fmla="*/ 12478 w 19621"/>
                  <a:gd name="connsiteY28" fmla="*/ 22289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21" h="22288">
                    <a:moveTo>
                      <a:pt x="12478" y="22003"/>
                    </a:moveTo>
                    <a:cubicBezTo>
                      <a:pt x="10668" y="22003"/>
                      <a:pt x="8953" y="21812"/>
                      <a:pt x="7429" y="21336"/>
                    </a:cubicBezTo>
                    <a:cubicBezTo>
                      <a:pt x="5905" y="20860"/>
                      <a:pt x="4572" y="20193"/>
                      <a:pt x="3524" y="19336"/>
                    </a:cubicBezTo>
                    <a:cubicBezTo>
                      <a:pt x="2381" y="18383"/>
                      <a:pt x="1524" y="17240"/>
                      <a:pt x="953" y="15907"/>
                    </a:cubicBezTo>
                    <a:cubicBezTo>
                      <a:pt x="381" y="14478"/>
                      <a:pt x="0" y="12859"/>
                      <a:pt x="0" y="11049"/>
                    </a:cubicBezTo>
                    <a:cubicBezTo>
                      <a:pt x="0" y="9049"/>
                      <a:pt x="286" y="7430"/>
                      <a:pt x="953" y="6001"/>
                    </a:cubicBezTo>
                    <a:cubicBezTo>
                      <a:pt x="1619" y="4572"/>
                      <a:pt x="2477" y="3429"/>
                      <a:pt x="3715" y="2477"/>
                    </a:cubicBezTo>
                    <a:cubicBezTo>
                      <a:pt x="4858" y="1619"/>
                      <a:pt x="6191" y="953"/>
                      <a:pt x="7620" y="572"/>
                    </a:cubicBezTo>
                    <a:cubicBezTo>
                      <a:pt x="9144" y="190"/>
                      <a:pt x="10668" y="0"/>
                      <a:pt x="12192" y="0"/>
                    </a:cubicBezTo>
                    <a:cubicBezTo>
                      <a:pt x="13621" y="0"/>
                      <a:pt x="14954" y="190"/>
                      <a:pt x="16193" y="476"/>
                    </a:cubicBezTo>
                    <a:cubicBezTo>
                      <a:pt x="17431" y="762"/>
                      <a:pt x="18478" y="1238"/>
                      <a:pt x="19526" y="1715"/>
                    </a:cubicBezTo>
                    <a:lnTo>
                      <a:pt x="19526" y="7430"/>
                    </a:lnTo>
                    <a:lnTo>
                      <a:pt x="18574" y="7430"/>
                    </a:lnTo>
                    <a:cubicBezTo>
                      <a:pt x="18574" y="7430"/>
                      <a:pt x="18002" y="6953"/>
                      <a:pt x="17621" y="6668"/>
                    </a:cubicBezTo>
                    <a:cubicBezTo>
                      <a:pt x="17240" y="6382"/>
                      <a:pt x="16764" y="6096"/>
                      <a:pt x="16288" y="5810"/>
                    </a:cubicBezTo>
                    <a:cubicBezTo>
                      <a:pt x="15811" y="5525"/>
                      <a:pt x="15240" y="5334"/>
                      <a:pt x="14573" y="5144"/>
                    </a:cubicBezTo>
                    <a:cubicBezTo>
                      <a:pt x="14002" y="4953"/>
                      <a:pt x="13240" y="4858"/>
                      <a:pt x="12478" y="4858"/>
                    </a:cubicBezTo>
                    <a:cubicBezTo>
                      <a:pt x="10668" y="4858"/>
                      <a:pt x="9334" y="5429"/>
                      <a:pt x="8382" y="6572"/>
                    </a:cubicBezTo>
                    <a:cubicBezTo>
                      <a:pt x="7429" y="7715"/>
                      <a:pt x="6953" y="9239"/>
                      <a:pt x="6953" y="11240"/>
                    </a:cubicBezTo>
                    <a:cubicBezTo>
                      <a:pt x="6953" y="13240"/>
                      <a:pt x="7429" y="14764"/>
                      <a:pt x="8477" y="15812"/>
                    </a:cubicBezTo>
                    <a:cubicBezTo>
                      <a:pt x="9430" y="16859"/>
                      <a:pt x="10858" y="17431"/>
                      <a:pt x="12668" y="17431"/>
                    </a:cubicBezTo>
                    <a:cubicBezTo>
                      <a:pt x="13526" y="17431"/>
                      <a:pt x="14288" y="17336"/>
                      <a:pt x="14954" y="17145"/>
                    </a:cubicBezTo>
                    <a:cubicBezTo>
                      <a:pt x="15621" y="16955"/>
                      <a:pt x="16193" y="16764"/>
                      <a:pt x="16669" y="16478"/>
                    </a:cubicBezTo>
                    <a:cubicBezTo>
                      <a:pt x="17050" y="16193"/>
                      <a:pt x="17431" y="16002"/>
                      <a:pt x="17812" y="15716"/>
                    </a:cubicBezTo>
                    <a:cubicBezTo>
                      <a:pt x="18098" y="15431"/>
                      <a:pt x="18383" y="15145"/>
                      <a:pt x="18669" y="14859"/>
                    </a:cubicBezTo>
                    <a:lnTo>
                      <a:pt x="19622" y="14859"/>
                    </a:lnTo>
                    <a:lnTo>
                      <a:pt x="19622" y="20574"/>
                    </a:lnTo>
                    <a:cubicBezTo>
                      <a:pt x="18574" y="21050"/>
                      <a:pt x="17431" y="21431"/>
                      <a:pt x="16288" y="21812"/>
                    </a:cubicBezTo>
                    <a:cubicBezTo>
                      <a:pt x="15145" y="22098"/>
                      <a:pt x="13906" y="22289"/>
                      <a:pt x="12478" y="2228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0" name="Freeform: Shape 319">
                <a:extLst>
                  <a:ext uri="{FF2B5EF4-FFF2-40B4-BE49-F238E27FC236}">
                    <a16:creationId xmlns:a16="http://schemas.microsoft.com/office/drawing/2014/main" id="{47CF26CB-89F5-470E-BD58-377B0E26330B}"/>
                  </a:ext>
                </a:extLst>
              </p:cNvPr>
              <p:cNvSpPr/>
              <p:nvPr/>
            </p:nvSpPr>
            <p:spPr>
              <a:xfrm>
                <a:off x="6764305" y="4175037"/>
                <a:ext cx="20097" cy="27908"/>
              </a:xfrm>
              <a:custGeom>
                <a:avLst/>
                <a:gdLst>
                  <a:gd name="connsiteX0" fmla="*/ 20098 w 20097"/>
                  <a:gd name="connsiteY0" fmla="*/ 27908 h 27908"/>
                  <a:gd name="connsiteX1" fmla="*/ 0 w 20097"/>
                  <a:gd name="connsiteY1" fmla="*/ 27908 h 27908"/>
                  <a:gd name="connsiteX2" fmla="*/ 0 w 20097"/>
                  <a:gd name="connsiteY2" fmla="*/ 0 h 27908"/>
                  <a:gd name="connsiteX3" fmla="*/ 7239 w 20097"/>
                  <a:gd name="connsiteY3" fmla="*/ 0 h 27908"/>
                  <a:gd name="connsiteX4" fmla="*/ 7239 w 20097"/>
                  <a:gd name="connsiteY4" fmla="*/ 22479 h 27908"/>
                  <a:gd name="connsiteX5" fmla="*/ 20098 w 20097"/>
                  <a:gd name="connsiteY5" fmla="*/ 22479 h 27908"/>
                  <a:gd name="connsiteX6" fmla="*/ 20098 w 20097"/>
                  <a:gd name="connsiteY6" fmla="*/ 27908 h 27908"/>
                  <a:gd name="connsiteX7" fmla="*/ 20098 w 20097"/>
                  <a:gd name="connsiteY7" fmla="*/ 27908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97" h="27908">
                    <a:moveTo>
                      <a:pt x="20098" y="27908"/>
                    </a:moveTo>
                    <a:lnTo>
                      <a:pt x="0" y="27908"/>
                    </a:lnTo>
                    <a:lnTo>
                      <a:pt x="0" y="0"/>
                    </a:lnTo>
                    <a:lnTo>
                      <a:pt x="7239" y="0"/>
                    </a:lnTo>
                    <a:lnTo>
                      <a:pt x="7239" y="22479"/>
                    </a:lnTo>
                    <a:lnTo>
                      <a:pt x="20098" y="22479"/>
                    </a:lnTo>
                    <a:lnTo>
                      <a:pt x="20098" y="27908"/>
                    </a:lnTo>
                    <a:lnTo>
                      <a:pt x="20098" y="2790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1" name="Freeform: Shape 320">
                <a:extLst>
                  <a:ext uri="{FF2B5EF4-FFF2-40B4-BE49-F238E27FC236}">
                    <a16:creationId xmlns:a16="http://schemas.microsoft.com/office/drawing/2014/main" id="{DD0F0EEC-F72F-4623-906B-C892471B3C38}"/>
                  </a:ext>
                </a:extLst>
              </p:cNvPr>
              <p:cNvSpPr/>
              <p:nvPr/>
            </p:nvSpPr>
            <p:spPr>
              <a:xfrm>
                <a:off x="6800214" y="4181133"/>
                <a:ext cx="22097" cy="29622"/>
              </a:xfrm>
              <a:custGeom>
                <a:avLst/>
                <a:gdLst>
                  <a:gd name="connsiteX0" fmla="*/ 21812 w 22097"/>
                  <a:gd name="connsiteY0" fmla="*/ 19336 h 29622"/>
                  <a:gd name="connsiteX1" fmla="*/ 20955 w 22097"/>
                  <a:gd name="connsiteY1" fmla="*/ 24289 h 29622"/>
                  <a:gd name="connsiteX2" fmla="*/ 18574 w 22097"/>
                  <a:gd name="connsiteY2" fmla="*/ 27432 h 29622"/>
                  <a:gd name="connsiteX3" fmla="*/ 14954 w 22097"/>
                  <a:gd name="connsiteY3" fmla="*/ 29147 h 29622"/>
                  <a:gd name="connsiteX4" fmla="*/ 10097 w 22097"/>
                  <a:gd name="connsiteY4" fmla="*/ 29623 h 29622"/>
                  <a:gd name="connsiteX5" fmla="*/ 5810 w 22097"/>
                  <a:gd name="connsiteY5" fmla="*/ 29337 h 29622"/>
                  <a:gd name="connsiteX6" fmla="*/ 2096 w 22097"/>
                  <a:gd name="connsiteY6" fmla="*/ 28670 h 29622"/>
                  <a:gd name="connsiteX7" fmla="*/ 2096 w 22097"/>
                  <a:gd name="connsiteY7" fmla="*/ 23336 h 29622"/>
                  <a:gd name="connsiteX8" fmla="*/ 2953 w 22097"/>
                  <a:gd name="connsiteY8" fmla="*/ 23336 h 29622"/>
                  <a:gd name="connsiteX9" fmla="*/ 6001 w 22097"/>
                  <a:gd name="connsiteY9" fmla="*/ 24194 h 29622"/>
                  <a:gd name="connsiteX10" fmla="*/ 9144 w 22097"/>
                  <a:gd name="connsiteY10" fmla="*/ 24575 h 29622"/>
                  <a:gd name="connsiteX11" fmla="*/ 12192 w 22097"/>
                  <a:gd name="connsiteY11" fmla="*/ 24289 h 29622"/>
                  <a:gd name="connsiteX12" fmla="*/ 14002 w 22097"/>
                  <a:gd name="connsiteY12" fmla="*/ 23336 h 29622"/>
                  <a:gd name="connsiteX13" fmla="*/ 14859 w 22097"/>
                  <a:gd name="connsiteY13" fmla="*/ 21812 h 29622"/>
                  <a:gd name="connsiteX14" fmla="*/ 15145 w 22097"/>
                  <a:gd name="connsiteY14" fmla="*/ 19622 h 29622"/>
                  <a:gd name="connsiteX15" fmla="*/ 15145 w 22097"/>
                  <a:gd name="connsiteY15" fmla="*/ 19241 h 29622"/>
                  <a:gd name="connsiteX16" fmla="*/ 12478 w 22097"/>
                  <a:gd name="connsiteY16" fmla="*/ 20765 h 29622"/>
                  <a:gd name="connsiteX17" fmla="*/ 9144 w 22097"/>
                  <a:gd name="connsiteY17" fmla="*/ 21336 h 29622"/>
                  <a:gd name="connsiteX18" fmla="*/ 2381 w 22097"/>
                  <a:gd name="connsiteY18" fmla="*/ 18669 h 29622"/>
                  <a:gd name="connsiteX19" fmla="*/ 0 w 22097"/>
                  <a:gd name="connsiteY19" fmla="*/ 10573 h 29622"/>
                  <a:gd name="connsiteX20" fmla="*/ 762 w 22097"/>
                  <a:gd name="connsiteY20" fmla="*/ 6096 h 29622"/>
                  <a:gd name="connsiteX21" fmla="*/ 2857 w 22097"/>
                  <a:gd name="connsiteY21" fmla="*/ 2762 h 29622"/>
                  <a:gd name="connsiteX22" fmla="*/ 5905 w 22097"/>
                  <a:gd name="connsiteY22" fmla="*/ 762 h 29622"/>
                  <a:gd name="connsiteX23" fmla="*/ 9620 w 22097"/>
                  <a:gd name="connsiteY23" fmla="*/ 0 h 29622"/>
                  <a:gd name="connsiteX24" fmla="*/ 12668 w 22097"/>
                  <a:gd name="connsiteY24" fmla="*/ 381 h 29622"/>
                  <a:gd name="connsiteX25" fmla="*/ 15240 w 22097"/>
                  <a:gd name="connsiteY25" fmla="*/ 1524 h 29622"/>
                  <a:gd name="connsiteX26" fmla="*/ 15526 w 22097"/>
                  <a:gd name="connsiteY26" fmla="*/ 572 h 29622"/>
                  <a:gd name="connsiteX27" fmla="*/ 22098 w 22097"/>
                  <a:gd name="connsiteY27" fmla="*/ 572 h 29622"/>
                  <a:gd name="connsiteX28" fmla="*/ 22098 w 22097"/>
                  <a:gd name="connsiteY28" fmla="*/ 19145 h 29622"/>
                  <a:gd name="connsiteX29" fmla="*/ 22098 w 22097"/>
                  <a:gd name="connsiteY29" fmla="*/ 19145 h 29622"/>
                  <a:gd name="connsiteX30" fmla="*/ 15050 w 22097"/>
                  <a:gd name="connsiteY30" fmla="*/ 15240 h 29622"/>
                  <a:gd name="connsiteX31" fmla="*/ 15050 w 22097"/>
                  <a:gd name="connsiteY31" fmla="*/ 5620 h 29622"/>
                  <a:gd name="connsiteX32" fmla="*/ 13621 w 22097"/>
                  <a:gd name="connsiteY32" fmla="*/ 5239 h 29622"/>
                  <a:gd name="connsiteX33" fmla="*/ 12097 w 22097"/>
                  <a:gd name="connsiteY33" fmla="*/ 5143 h 29622"/>
                  <a:gd name="connsiteX34" fmla="*/ 8096 w 22097"/>
                  <a:gd name="connsiteY34" fmla="*/ 6667 h 29622"/>
                  <a:gd name="connsiteX35" fmla="*/ 6763 w 22097"/>
                  <a:gd name="connsiteY35" fmla="*/ 10954 h 29622"/>
                  <a:gd name="connsiteX36" fmla="*/ 7906 w 22097"/>
                  <a:gd name="connsiteY36" fmla="*/ 15240 h 29622"/>
                  <a:gd name="connsiteX37" fmla="*/ 11240 w 22097"/>
                  <a:gd name="connsiteY37" fmla="*/ 16478 h 29622"/>
                  <a:gd name="connsiteX38" fmla="*/ 13240 w 22097"/>
                  <a:gd name="connsiteY38" fmla="*/ 16192 h 29622"/>
                  <a:gd name="connsiteX39" fmla="*/ 15050 w 22097"/>
                  <a:gd name="connsiteY39" fmla="*/ 15335 h 2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97" h="29622">
                    <a:moveTo>
                      <a:pt x="21812" y="19336"/>
                    </a:moveTo>
                    <a:cubicBezTo>
                      <a:pt x="21812" y="21336"/>
                      <a:pt x="21526" y="22955"/>
                      <a:pt x="20955" y="24289"/>
                    </a:cubicBezTo>
                    <a:cubicBezTo>
                      <a:pt x="20383" y="25622"/>
                      <a:pt x="19622" y="26670"/>
                      <a:pt x="18574" y="27432"/>
                    </a:cubicBezTo>
                    <a:cubicBezTo>
                      <a:pt x="17526" y="28194"/>
                      <a:pt x="16383" y="28766"/>
                      <a:pt x="14954" y="29147"/>
                    </a:cubicBezTo>
                    <a:cubicBezTo>
                      <a:pt x="13526" y="29528"/>
                      <a:pt x="11906" y="29623"/>
                      <a:pt x="10097" y="29623"/>
                    </a:cubicBezTo>
                    <a:cubicBezTo>
                      <a:pt x="8668" y="29623"/>
                      <a:pt x="7144" y="29623"/>
                      <a:pt x="5810" y="29337"/>
                    </a:cubicBezTo>
                    <a:cubicBezTo>
                      <a:pt x="4381" y="29147"/>
                      <a:pt x="3143" y="28956"/>
                      <a:pt x="2096" y="28670"/>
                    </a:cubicBezTo>
                    <a:lnTo>
                      <a:pt x="2096" y="23336"/>
                    </a:lnTo>
                    <a:lnTo>
                      <a:pt x="2953" y="23336"/>
                    </a:lnTo>
                    <a:cubicBezTo>
                      <a:pt x="3810" y="23622"/>
                      <a:pt x="4763" y="23908"/>
                      <a:pt x="6001" y="24194"/>
                    </a:cubicBezTo>
                    <a:cubicBezTo>
                      <a:pt x="7144" y="24479"/>
                      <a:pt x="8287" y="24575"/>
                      <a:pt x="9144" y="24575"/>
                    </a:cubicBezTo>
                    <a:cubicBezTo>
                      <a:pt x="10382" y="24575"/>
                      <a:pt x="11430" y="24479"/>
                      <a:pt x="12192" y="24289"/>
                    </a:cubicBezTo>
                    <a:cubicBezTo>
                      <a:pt x="12954" y="24098"/>
                      <a:pt x="13526" y="23717"/>
                      <a:pt x="14002" y="23336"/>
                    </a:cubicBezTo>
                    <a:cubicBezTo>
                      <a:pt x="14383" y="22955"/>
                      <a:pt x="14669" y="22479"/>
                      <a:pt x="14859" y="21812"/>
                    </a:cubicBezTo>
                    <a:cubicBezTo>
                      <a:pt x="15050" y="21241"/>
                      <a:pt x="15145" y="20479"/>
                      <a:pt x="15145" y="19622"/>
                    </a:cubicBezTo>
                    <a:lnTo>
                      <a:pt x="15145" y="19241"/>
                    </a:lnTo>
                    <a:cubicBezTo>
                      <a:pt x="14288" y="19907"/>
                      <a:pt x="13430" y="20479"/>
                      <a:pt x="12478" y="20765"/>
                    </a:cubicBezTo>
                    <a:cubicBezTo>
                      <a:pt x="11525" y="21146"/>
                      <a:pt x="10382" y="21336"/>
                      <a:pt x="9144" y="21336"/>
                    </a:cubicBezTo>
                    <a:cubicBezTo>
                      <a:pt x="6191" y="21336"/>
                      <a:pt x="3905" y="20479"/>
                      <a:pt x="2381" y="18669"/>
                    </a:cubicBezTo>
                    <a:cubicBezTo>
                      <a:pt x="762" y="16859"/>
                      <a:pt x="0" y="14192"/>
                      <a:pt x="0" y="10573"/>
                    </a:cubicBezTo>
                    <a:cubicBezTo>
                      <a:pt x="0" y="8858"/>
                      <a:pt x="286" y="7334"/>
                      <a:pt x="762" y="6096"/>
                    </a:cubicBezTo>
                    <a:cubicBezTo>
                      <a:pt x="1238" y="4858"/>
                      <a:pt x="1905" y="3715"/>
                      <a:pt x="2857" y="2762"/>
                    </a:cubicBezTo>
                    <a:cubicBezTo>
                      <a:pt x="3715" y="1905"/>
                      <a:pt x="4667" y="1238"/>
                      <a:pt x="5905" y="762"/>
                    </a:cubicBezTo>
                    <a:cubicBezTo>
                      <a:pt x="7144" y="286"/>
                      <a:pt x="8382" y="0"/>
                      <a:pt x="9620" y="0"/>
                    </a:cubicBezTo>
                    <a:cubicBezTo>
                      <a:pt x="10763" y="0"/>
                      <a:pt x="11811" y="191"/>
                      <a:pt x="12668" y="381"/>
                    </a:cubicBezTo>
                    <a:cubicBezTo>
                      <a:pt x="13621" y="667"/>
                      <a:pt x="14478" y="1048"/>
                      <a:pt x="15240" y="1524"/>
                    </a:cubicBezTo>
                    <a:lnTo>
                      <a:pt x="15526" y="572"/>
                    </a:lnTo>
                    <a:lnTo>
                      <a:pt x="22098" y="572"/>
                    </a:lnTo>
                    <a:lnTo>
                      <a:pt x="22098" y="19145"/>
                    </a:lnTo>
                    <a:lnTo>
                      <a:pt x="22098" y="19145"/>
                    </a:lnTo>
                    <a:close/>
                    <a:moveTo>
                      <a:pt x="15050" y="15240"/>
                    </a:moveTo>
                    <a:lnTo>
                      <a:pt x="15050" y="5620"/>
                    </a:lnTo>
                    <a:cubicBezTo>
                      <a:pt x="15050" y="5620"/>
                      <a:pt x="14192" y="5334"/>
                      <a:pt x="13621" y="5239"/>
                    </a:cubicBezTo>
                    <a:cubicBezTo>
                      <a:pt x="13049" y="5239"/>
                      <a:pt x="12573" y="5143"/>
                      <a:pt x="12097" y="5143"/>
                    </a:cubicBezTo>
                    <a:cubicBezTo>
                      <a:pt x="10382" y="5143"/>
                      <a:pt x="9049" y="5620"/>
                      <a:pt x="8096" y="6667"/>
                    </a:cubicBezTo>
                    <a:cubicBezTo>
                      <a:pt x="7239" y="7715"/>
                      <a:pt x="6763" y="9144"/>
                      <a:pt x="6763" y="10954"/>
                    </a:cubicBezTo>
                    <a:cubicBezTo>
                      <a:pt x="6763" y="12954"/>
                      <a:pt x="7144" y="14383"/>
                      <a:pt x="7906" y="15240"/>
                    </a:cubicBezTo>
                    <a:cubicBezTo>
                      <a:pt x="8668" y="16002"/>
                      <a:pt x="9811" y="16478"/>
                      <a:pt x="11240" y="16478"/>
                    </a:cubicBezTo>
                    <a:cubicBezTo>
                      <a:pt x="11906" y="16478"/>
                      <a:pt x="12573" y="16383"/>
                      <a:pt x="13240" y="16192"/>
                    </a:cubicBezTo>
                    <a:cubicBezTo>
                      <a:pt x="13906" y="16002"/>
                      <a:pt x="14478" y="15716"/>
                      <a:pt x="15050" y="1533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2" name="Freeform: Shape 321">
                <a:extLst>
                  <a:ext uri="{FF2B5EF4-FFF2-40B4-BE49-F238E27FC236}">
                    <a16:creationId xmlns:a16="http://schemas.microsoft.com/office/drawing/2014/main" id="{9142340C-5EEA-4F8B-9325-3BB200C122CE}"/>
                  </a:ext>
                </a:extLst>
              </p:cNvPr>
              <p:cNvSpPr/>
              <p:nvPr/>
            </p:nvSpPr>
            <p:spPr>
              <a:xfrm>
                <a:off x="6827741" y="4173703"/>
                <a:ext cx="21145" cy="29241"/>
              </a:xfrm>
              <a:custGeom>
                <a:avLst/>
                <a:gdLst>
                  <a:gd name="connsiteX0" fmla="*/ 21146 w 21145"/>
                  <a:gd name="connsiteY0" fmla="*/ 29242 h 29241"/>
                  <a:gd name="connsiteX1" fmla="*/ 14383 w 21145"/>
                  <a:gd name="connsiteY1" fmla="*/ 29242 h 29241"/>
                  <a:gd name="connsiteX2" fmla="*/ 14383 w 21145"/>
                  <a:gd name="connsiteY2" fmla="*/ 18859 h 29241"/>
                  <a:gd name="connsiteX3" fmla="*/ 14288 w 21145"/>
                  <a:gd name="connsiteY3" fmla="*/ 16288 h 29241"/>
                  <a:gd name="connsiteX4" fmla="*/ 13811 w 21145"/>
                  <a:gd name="connsiteY4" fmla="*/ 14383 h 29241"/>
                  <a:gd name="connsiteX5" fmla="*/ 12668 w 21145"/>
                  <a:gd name="connsiteY5" fmla="*/ 13335 h 29241"/>
                  <a:gd name="connsiteX6" fmla="*/ 10668 w 21145"/>
                  <a:gd name="connsiteY6" fmla="*/ 13049 h 29241"/>
                  <a:gd name="connsiteX7" fmla="*/ 8763 w 21145"/>
                  <a:gd name="connsiteY7" fmla="*/ 13335 h 29241"/>
                  <a:gd name="connsiteX8" fmla="*/ 6763 w 21145"/>
                  <a:gd name="connsiteY8" fmla="*/ 14288 h 29241"/>
                  <a:gd name="connsiteX9" fmla="*/ 6763 w 21145"/>
                  <a:gd name="connsiteY9" fmla="*/ 29146 h 29241"/>
                  <a:gd name="connsiteX10" fmla="*/ 0 w 21145"/>
                  <a:gd name="connsiteY10" fmla="*/ 29146 h 29241"/>
                  <a:gd name="connsiteX11" fmla="*/ 0 w 21145"/>
                  <a:gd name="connsiteY11" fmla="*/ 0 h 29241"/>
                  <a:gd name="connsiteX12" fmla="*/ 6763 w 21145"/>
                  <a:gd name="connsiteY12" fmla="*/ 0 h 29241"/>
                  <a:gd name="connsiteX13" fmla="*/ 6763 w 21145"/>
                  <a:gd name="connsiteY13" fmla="*/ 10382 h 29241"/>
                  <a:gd name="connsiteX14" fmla="*/ 10192 w 21145"/>
                  <a:gd name="connsiteY14" fmla="*/ 8287 h 29241"/>
                  <a:gd name="connsiteX15" fmla="*/ 13811 w 21145"/>
                  <a:gd name="connsiteY15" fmla="*/ 7525 h 29241"/>
                  <a:gd name="connsiteX16" fmla="*/ 19145 w 21145"/>
                  <a:gd name="connsiteY16" fmla="*/ 9525 h 29241"/>
                  <a:gd name="connsiteX17" fmla="*/ 21050 w 21145"/>
                  <a:gd name="connsiteY17" fmla="*/ 15430 h 29241"/>
                  <a:gd name="connsiteX18" fmla="*/ 21050 w 21145"/>
                  <a:gd name="connsiteY18" fmla="*/ 29146 h 29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145" h="29241">
                    <a:moveTo>
                      <a:pt x="21146" y="29242"/>
                    </a:moveTo>
                    <a:lnTo>
                      <a:pt x="14383" y="29242"/>
                    </a:lnTo>
                    <a:lnTo>
                      <a:pt x="14383" y="18859"/>
                    </a:lnTo>
                    <a:cubicBezTo>
                      <a:pt x="14383" y="18002"/>
                      <a:pt x="14383" y="17145"/>
                      <a:pt x="14288" y="16288"/>
                    </a:cubicBezTo>
                    <a:cubicBezTo>
                      <a:pt x="14288" y="15430"/>
                      <a:pt x="14002" y="14859"/>
                      <a:pt x="13811" y="14383"/>
                    </a:cubicBezTo>
                    <a:cubicBezTo>
                      <a:pt x="13526" y="13907"/>
                      <a:pt x="13240" y="13621"/>
                      <a:pt x="12668" y="13335"/>
                    </a:cubicBezTo>
                    <a:cubicBezTo>
                      <a:pt x="12192" y="13145"/>
                      <a:pt x="11525" y="13049"/>
                      <a:pt x="10668" y="13049"/>
                    </a:cubicBezTo>
                    <a:cubicBezTo>
                      <a:pt x="10097" y="13049"/>
                      <a:pt x="9430" y="13049"/>
                      <a:pt x="8763" y="13335"/>
                    </a:cubicBezTo>
                    <a:cubicBezTo>
                      <a:pt x="8096" y="13526"/>
                      <a:pt x="7430" y="13811"/>
                      <a:pt x="6763" y="14288"/>
                    </a:cubicBezTo>
                    <a:lnTo>
                      <a:pt x="6763" y="29146"/>
                    </a:lnTo>
                    <a:lnTo>
                      <a:pt x="0" y="29146"/>
                    </a:lnTo>
                    <a:lnTo>
                      <a:pt x="0" y="0"/>
                    </a:lnTo>
                    <a:lnTo>
                      <a:pt x="6763" y="0"/>
                    </a:lnTo>
                    <a:lnTo>
                      <a:pt x="6763" y="10382"/>
                    </a:lnTo>
                    <a:cubicBezTo>
                      <a:pt x="8001" y="9430"/>
                      <a:pt x="9049" y="8763"/>
                      <a:pt x="10192" y="8287"/>
                    </a:cubicBezTo>
                    <a:cubicBezTo>
                      <a:pt x="11335" y="7810"/>
                      <a:pt x="12478" y="7525"/>
                      <a:pt x="13811" y="7525"/>
                    </a:cubicBezTo>
                    <a:cubicBezTo>
                      <a:pt x="16097" y="7525"/>
                      <a:pt x="17812" y="8191"/>
                      <a:pt x="19145" y="9525"/>
                    </a:cubicBezTo>
                    <a:cubicBezTo>
                      <a:pt x="20383" y="10859"/>
                      <a:pt x="21050" y="12859"/>
                      <a:pt x="21050" y="15430"/>
                    </a:cubicBezTo>
                    <a:lnTo>
                      <a:pt x="21050" y="2914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3" name="Freeform: Shape 322">
                <a:extLst>
                  <a:ext uri="{FF2B5EF4-FFF2-40B4-BE49-F238E27FC236}">
                    <a16:creationId xmlns:a16="http://schemas.microsoft.com/office/drawing/2014/main" id="{F2EC7A10-6555-404A-BB33-062B855EB2DA}"/>
                  </a:ext>
                </a:extLst>
              </p:cNvPr>
              <p:cNvSpPr/>
              <p:nvPr/>
            </p:nvSpPr>
            <p:spPr>
              <a:xfrm>
                <a:off x="6852602" y="4175989"/>
                <a:ext cx="15811" cy="27432"/>
              </a:xfrm>
              <a:custGeom>
                <a:avLst/>
                <a:gdLst>
                  <a:gd name="connsiteX0" fmla="*/ 15716 w 15811"/>
                  <a:gd name="connsiteY0" fmla="*/ 26765 h 27432"/>
                  <a:gd name="connsiteX1" fmla="*/ 13430 w 15811"/>
                  <a:gd name="connsiteY1" fmla="*/ 27242 h 27432"/>
                  <a:gd name="connsiteX2" fmla="*/ 10477 w 15811"/>
                  <a:gd name="connsiteY2" fmla="*/ 27432 h 27432"/>
                  <a:gd name="connsiteX3" fmla="*/ 4667 w 15811"/>
                  <a:gd name="connsiteY3" fmla="*/ 25813 h 27432"/>
                  <a:gd name="connsiteX4" fmla="*/ 2762 w 15811"/>
                  <a:gd name="connsiteY4" fmla="*/ 20384 h 27432"/>
                  <a:gd name="connsiteX5" fmla="*/ 2762 w 15811"/>
                  <a:gd name="connsiteY5" fmla="*/ 10573 h 27432"/>
                  <a:gd name="connsiteX6" fmla="*/ 0 w 15811"/>
                  <a:gd name="connsiteY6" fmla="*/ 10573 h 27432"/>
                  <a:gd name="connsiteX7" fmla="*/ 0 w 15811"/>
                  <a:gd name="connsiteY7" fmla="*/ 6001 h 27432"/>
                  <a:gd name="connsiteX8" fmla="*/ 2762 w 15811"/>
                  <a:gd name="connsiteY8" fmla="*/ 6001 h 27432"/>
                  <a:gd name="connsiteX9" fmla="*/ 2762 w 15811"/>
                  <a:gd name="connsiteY9" fmla="*/ 0 h 27432"/>
                  <a:gd name="connsiteX10" fmla="*/ 9525 w 15811"/>
                  <a:gd name="connsiteY10" fmla="*/ 0 h 27432"/>
                  <a:gd name="connsiteX11" fmla="*/ 9525 w 15811"/>
                  <a:gd name="connsiteY11" fmla="*/ 6001 h 27432"/>
                  <a:gd name="connsiteX12" fmla="*/ 15811 w 15811"/>
                  <a:gd name="connsiteY12" fmla="*/ 6001 h 27432"/>
                  <a:gd name="connsiteX13" fmla="*/ 15811 w 15811"/>
                  <a:gd name="connsiteY13" fmla="*/ 10573 h 27432"/>
                  <a:gd name="connsiteX14" fmla="*/ 9525 w 15811"/>
                  <a:gd name="connsiteY14" fmla="*/ 10573 h 27432"/>
                  <a:gd name="connsiteX15" fmla="*/ 9525 w 15811"/>
                  <a:gd name="connsiteY15" fmla="*/ 18098 h 27432"/>
                  <a:gd name="connsiteX16" fmla="*/ 9525 w 15811"/>
                  <a:gd name="connsiteY16" fmla="*/ 20003 h 27432"/>
                  <a:gd name="connsiteX17" fmla="*/ 9811 w 15811"/>
                  <a:gd name="connsiteY17" fmla="*/ 21527 h 27432"/>
                  <a:gd name="connsiteX18" fmla="*/ 10763 w 15811"/>
                  <a:gd name="connsiteY18" fmla="*/ 22574 h 27432"/>
                  <a:gd name="connsiteX19" fmla="*/ 12668 w 15811"/>
                  <a:gd name="connsiteY19" fmla="*/ 22955 h 27432"/>
                  <a:gd name="connsiteX20" fmla="*/ 14002 w 15811"/>
                  <a:gd name="connsiteY20" fmla="*/ 22765 h 27432"/>
                  <a:gd name="connsiteX21" fmla="*/ 15240 w 15811"/>
                  <a:gd name="connsiteY21" fmla="*/ 22384 h 27432"/>
                  <a:gd name="connsiteX22" fmla="*/ 15811 w 15811"/>
                  <a:gd name="connsiteY22" fmla="*/ 22384 h 27432"/>
                  <a:gd name="connsiteX23" fmla="*/ 15811 w 15811"/>
                  <a:gd name="connsiteY23" fmla="*/ 26956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11" h="27432">
                    <a:moveTo>
                      <a:pt x="15716" y="26765"/>
                    </a:moveTo>
                    <a:cubicBezTo>
                      <a:pt x="14954" y="26956"/>
                      <a:pt x="14192" y="27051"/>
                      <a:pt x="13430" y="27242"/>
                    </a:cubicBezTo>
                    <a:cubicBezTo>
                      <a:pt x="12668" y="27242"/>
                      <a:pt x="11621" y="27432"/>
                      <a:pt x="10477" y="27432"/>
                    </a:cubicBezTo>
                    <a:cubicBezTo>
                      <a:pt x="7906" y="27432"/>
                      <a:pt x="5905" y="26860"/>
                      <a:pt x="4667" y="25813"/>
                    </a:cubicBezTo>
                    <a:cubicBezTo>
                      <a:pt x="3429" y="24765"/>
                      <a:pt x="2762" y="22955"/>
                      <a:pt x="2762" y="20384"/>
                    </a:cubicBezTo>
                    <a:lnTo>
                      <a:pt x="2762" y="10573"/>
                    </a:lnTo>
                    <a:lnTo>
                      <a:pt x="0" y="10573"/>
                    </a:lnTo>
                    <a:lnTo>
                      <a:pt x="0" y="6001"/>
                    </a:lnTo>
                    <a:lnTo>
                      <a:pt x="2762" y="6001"/>
                    </a:lnTo>
                    <a:lnTo>
                      <a:pt x="2762" y="0"/>
                    </a:lnTo>
                    <a:lnTo>
                      <a:pt x="9525" y="0"/>
                    </a:lnTo>
                    <a:lnTo>
                      <a:pt x="9525" y="6001"/>
                    </a:lnTo>
                    <a:lnTo>
                      <a:pt x="15811" y="6001"/>
                    </a:lnTo>
                    <a:lnTo>
                      <a:pt x="15811" y="10573"/>
                    </a:lnTo>
                    <a:lnTo>
                      <a:pt x="9525" y="10573"/>
                    </a:lnTo>
                    <a:lnTo>
                      <a:pt x="9525" y="18098"/>
                    </a:lnTo>
                    <a:cubicBezTo>
                      <a:pt x="9525" y="18860"/>
                      <a:pt x="9525" y="19431"/>
                      <a:pt x="9525" y="20003"/>
                    </a:cubicBezTo>
                    <a:cubicBezTo>
                      <a:pt x="9525" y="20574"/>
                      <a:pt x="9620" y="21050"/>
                      <a:pt x="9811" y="21527"/>
                    </a:cubicBezTo>
                    <a:cubicBezTo>
                      <a:pt x="10001" y="21908"/>
                      <a:pt x="10287" y="22289"/>
                      <a:pt x="10763" y="22574"/>
                    </a:cubicBezTo>
                    <a:cubicBezTo>
                      <a:pt x="11240" y="22860"/>
                      <a:pt x="11811" y="22955"/>
                      <a:pt x="12668" y="22955"/>
                    </a:cubicBezTo>
                    <a:cubicBezTo>
                      <a:pt x="13049" y="22955"/>
                      <a:pt x="13430" y="22955"/>
                      <a:pt x="14002" y="22765"/>
                    </a:cubicBezTo>
                    <a:cubicBezTo>
                      <a:pt x="14573" y="22670"/>
                      <a:pt x="14954" y="22479"/>
                      <a:pt x="15240" y="22384"/>
                    </a:cubicBezTo>
                    <a:lnTo>
                      <a:pt x="15811" y="22384"/>
                    </a:lnTo>
                    <a:lnTo>
                      <a:pt x="15811" y="2695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4" name="Freeform: Shape 323">
                <a:extLst>
                  <a:ext uri="{FF2B5EF4-FFF2-40B4-BE49-F238E27FC236}">
                    <a16:creationId xmlns:a16="http://schemas.microsoft.com/office/drawing/2014/main" id="{71C4D963-F934-499A-B7D2-FC0412D47F9F}"/>
                  </a:ext>
                </a:extLst>
              </p:cNvPr>
              <p:cNvSpPr/>
              <p:nvPr/>
            </p:nvSpPr>
            <p:spPr>
              <a:xfrm>
                <a:off x="6885558" y="4181228"/>
                <a:ext cx="21050" cy="21716"/>
              </a:xfrm>
              <a:custGeom>
                <a:avLst/>
                <a:gdLst>
                  <a:gd name="connsiteX0" fmla="*/ 21050 w 21050"/>
                  <a:gd name="connsiteY0" fmla="*/ 21717 h 21716"/>
                  <a:gd name="connsiteX1" fmla="*/ 14288 w 21050"/>
                  <a:gd name="connsiteY1" fmla="*/ 21717 h 21716"/>
                  <a:gd name="connsiteX2" fmla="*/ 14288 w 21050"/>
                  <a:gd name="connsiteY2" fmla="*/ 11335 h 21716"/>
                  <a:gd name="connsiteX3" fmla="*/ 14192 w 21050"/>
                  <a:gd name="connsiteY3" fmla="*/ 8763 h 21716"/>
                  <a:gd name="connsiteX4" fmla="*/ 13716 w 21050"/>
                  <a:gd name="connsiteY4" fmla="*/ 6858 h 21716"/>
                  <a:gd name="connsiteX5" fmla="*/ 12668 w 21050"/>
                  <a:gd name="connsiteY5" fmla="*/ 5810 h 21716"/>
                  <a:gd name="connsiteX6" fmla="*/ 10668 w 21050"/>
                  <a:gd name="connsiteY6" fmla="*/ 5524 h 21716"/>
                  <a:gd name="connsiteX7" fmla="*/ 8858 w 21050"/>
                  <a:gd name="connsiteY7" fmla="*/ 5810 h 21716"/>
                  <a:gd name="connsiteX8" fmla="*/ 6763 w 21050"/>
                  <a:gd name="connsiteY8" fmla="*/ 6763 h 21716"/>
                  <a:gd name="connsiteX9" fmla="*/ 6763 w 21050"/>
                  <a:gd name="connsiteY9" fmla="*/ 21622 h 21716"/>
                  <a:gd name="connsiteX10" fmla="*/ 0 w 21050"/>
                  <a:gd name="connsiteY10" fmla="*/ 21622 h 21716"/>
                  <a:gd name="connsiteX11" fmla="*/ 0 w 21050"/>
                  <a:gd name="connsiteY11" fmla="*/ 572 h 21716"/>
                  <a:gd name="connsiteX12" fmla="*/ 6763 w 21050"/>
                  <a:gd name="connsiteY12" fmla="*/ 572 h 21716"/>
                  <a:gd name="connsiteX13" fmla="*/ 6763 w 21050"/>
                  <a:gd name="connsiteY13" fmla="*/ 2858 h 21716"/>
                  <a:gd name="connsiteX14" fmla="*/ 10192 w 21050"/>
                  <a:gd name="connsiteY14" fmla="*/ 762 h 21716"/>
                  <a:gd name="connsiteX15" fmla="*/ 13811 w 21050"/>
                  <a:gd name="connsiteY15" fmla="*/ 0 h 21716"/>
                  <a:gd name="connsiteX16" fmla="*/ 19145 w 21050"/>
                  <a:gd name="connsiteY16" fmla="*/ 2000 h 21716"/>
                  <a:gd name="connsiteX17" fmla="*/ 21050 w 21050"/>
                  <a:gd name="connsiteY17" fmla="*/ 7906 h 21716"/>
                  <a:gd name="connsiteX18" fmla="*/ 21050 w 21050"/>
                  <a:gd name="connsiteY18" fmla="*/ 21622 h 21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0" h="21716">
                    <a:moveTo>
                      <a:pt x="21050" y="21717"/>
                    </a:moveTo>
                    <a:lnTo>
                      <a:pt x="14288" y="21717"/>
                    </a:lnTo>
                    <a:lnTo>
                      <a:pt x="14288" y="11335"/>
                    </a:lnTo>
                    <a:cubicBezTo>
                      <a:pt x="14288" y="10478"/>
                      <a:pt x="14288" y="9620"/>
                      <a:pt x="14192" y="8763"/>
                    </a:cubicBezTo>
                    <a:cubicBezTo>
                      <a:pt x="14192" y="7906"/>
                      <a:pt x="13907" y="7334"/>
                      <a:pt x="13716" y="6858"/>
                    </a:cubicBezTo>
                    <a:cubicBezTo>
                      <a:pt x="13430" y="6382"/>
                      <a:pt x="13145" y="6096"/>
                      <a:pt x="12668" y="5810"/>
                    </a:cubicBezTo>
                    <a:cubicBezTo>
                      <a:pt x="12192" y="5620"/>
                      <a:pt x="11525" y="5524"/>
                      <a:pt x="10668" y="5524"/>
                    </a:cubicBezTo>
                    <a:cubicBezTo>
                      <a:pt x="10097" y="5524"/>
                      <a:pt x="9430" y="5524"/>
                      <a:pt x="8858" y="5810"/>
                    </a:cubicBezTo>
                    <a:cubicBezTo>
                      <a:pt x="8192" y="6001"/>
                      <a:pt x="7525" y="6286"/>
                      <a:pt x="6763" y="6763"/>
                    </a:cubicBezTo>
                    <a:lnTo>
                      <a:pt x="6763" y="21622"/>
                    </a:lnTo>
                    <a:lnTo>
                      <a:pt x="0" y="21622"/>
                    </a:lnTo>
                    <a:lnTo>
                      <a:pt x="0" y="572"/>
                    </a:lnTo>
                    <a:lnTo>
                      <a:pt x="6763" y="572"/>
                    </a:lnTo>
                    <a:lnTo>
                      <a:pt x="6763" y="2858"/>
                    </a:lnTo>
                    <a:cubicBezTo>
                      <a:pt x="8001" y="1905"/>
                      <a:pt x="9144" y="1238"/>
                      <a:pt x="10192" y="762"/>
                    </a:cubicBezTo>
                    <a:cubicBezTo>
                      <a:pt x="11335" y="286"/>
                      <a:pt x="12478" y="0"/>
                      <a:pt x="13811" y="0"/>
                    </a:cubicBezTo>
                    <a:cubicBezTo>
                      <a:pt x="16097" y="0"/>
                      <a:pt x="17812" y="667"/>
                      <a:pt x="19145" y="2000"/>
                    </a:cubicBezTo>
                    <a:cubicBezTo>
                      <a:pt x="20383" y="3334"/>
                      <a:pt x="21050" y="5334"/>
                      <a:pt x="21050" y="7906"/>
                    </a:cubicBezTo>
                    <a:lnTo>
                      <a:pt x="21050" y="2162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5" name="Freeform: Shape 324">
                <a:extLst>
                  <a:ext uri="{FF2B5EF4-FFF2-40B4-BE49-F238E27FC236}">
                    <a16:creationId xmlns:a16="http://schemas.microsoft.com/office/drawing/2014/main" id="{01B87ACD-D8A7-4D13-B47B-CB334AECFABC}"/>
                  </a:ext>
                </a:extLst>
              </p:cNvPr>
              <p:cNvSpPr/>
              <p:nvPr/>
            </p:nvSpPr>
            <p:spPr>
              <a:xfrm>
                <a:off x="6910800" y="4181133"/>
                <a:ext cx="22193" cy="29622"/>
              </a:xfrm>
              <a:custGeom>
                <a:avLst/>
                <a:gdLst>
                  <a:gd name="connsiteX0" fmla="*/ 21812 w 22193"/>
                  <a:gd name="connsiteY0" fmla="*/ 19336 h 29622"/>
                  <a:gd name="connsiteX1" fmla="*/ 20955 w 22193"/>
                  <a:gd name="connsiteY1" fmla="*/ 24289 h 29622"/>
                  <a:gd name="connsiteX2" fmla="*/ 18574 w 22193"/>
                  <a:gd name="connsiteY2" fmla="*/ 27432 h 29622"/>
                  <a:gd name="connsiteX3" fmla="*/ 14954 w 22193"/>
                  <a:gd name="connsiteY3" fmla="*/ 29147 h 29622"/>
                  <a:gd name="connsiteX4" fmla="*/ 10097 w 22193"/>
                  <a:gd name="connsiteY4" fmla="*/ 29623 h 29622"/>
                  <a:gd name="connsiteX5" fmla="*/ 5810 w 22193"/>
                  <a:gd name="connsiteY5" fmla="*/ 29337 h 29622"/>
                  <a:gd name="connsiteX6" fmla="*/ 2096 w 22193"/>
                  <a:gd name="connsiteY6" fmla="*/ 28670 h 29622"/>
                  <a:gd name="connsiteX7" fmla="*/ 2096 w 22193"/>
                  <a:gd name="connsiteY7" fmla="*/ 23336 h 29622"/>
                  <a:gd name="connsiteX8" fmla="*/ 2953 w 22193"/>
                  <a:gd name="connsiteY8" fmla="*/ 23336 h 29622"/>
                  <a:gd name="connsiteX9" fmla="*/ 6001 w 22193"/>
                  <a:gd name="connsiteY9" fmla="*/ 24194 h 29622"/>
                  <a:gd name="connsiteX10" fmla="*/ 9144 w 22193"/>
                  <a:gd name="connsiteY10" fmla="*/ 24575 h 29622"/>
                  <a:gd name="connsiteX11" fmla="*/ 12192 w 22193"/>
                  <a:gd name="connsiteY11" fmla="*/ 24289 h 29622"/>
                  <a:gd name="connsiteX12" fmla="*/ 14002 w 22193"/>
                  <a:gd name="connsiteY12" fmla="*/ 23336 h 29622"/>
                  <a:gd name="connsiteX13" fmla="*/ 14859 w 22193"/>
                  <a:gd name="connsiteY13" fmla="*/ 21812 h 29622"/>
                  <a:gd name="connsiteX14" fmla="*/ 15145 w 22193"/>
                  <a:gd name="connsiteY14" fmla="*/ 19622 h 29622"/>
                  <a:gd name="connsiteX15" fmla="*/ 15145 w 22193"/>
                  <a:gd name="connsiteY15" fmla="*/ 19241 h 29622"/>
                  <a:gd name="connsiteX16" fmla="*/ 12478 w 22193"/>
                  <a:gd name="connsiteY16" fmla="*/ 20765 h 29622"/>
                  <a:gd name="connsiteX17" fmla="*/ 9144 w 22193"/>
                  <a:gd name="connsiteY17" fmla="*/ 21336 h 29622"/>
                  <a:gd name="connsiteX18" fmla="*/ 2381 w 22193"/>
                  <a:gd name="connsiteY18" fmla="*/ 18669 h 29622"/>
                  <a:gd name="connsiteX19" fmla="*/ 0 w 22193"/>
                  <a:gd name="connsiteY19" fmla="*/ 10573 h 29622"/>
                  <a:gd name="connsiteX20" fmla="*/ 762 w 22193"/>
                  <a:gd name="connsiteY20" fmla="*/ 6096 h 29622"/>
                  <a:gd name="connsiteX21" fmla="*/ 2857 w 22193"/>
                  <a:gd name="connsiteY21" fmla="*/ 2762 h 29622"/>
                  <a:gd name="connsiteX22" fmla="*/ 5905 w 22193"/>
                  <a:gd name="connsiteY22" fmla="*/ 762 h 29622"/>
                  <a:gd name="connsiteX23" fmla="*/ 9620 w 22193"/>
                  <a:gd name="connsiteY23" fmla="*/ 0 h 29622"/>
                  <a:gd name="connsiteX24" fmla="*/ 12764 w 22193"/>
                  <a:gd name="connsiteY24" fmla="*/ 381 h 29622"/>
                  <a:gd name="connsiteX25" fmla="*/ 15335 w 22193"/>
                  <a:gd name="connsiteY25" fmla="*/ 1524 h 29622"/>
                  <a:gd name="connsiteX26" fmla="*/ 15621 w 22193"/>
                  <a:gd name="connsiteY26" fmla="*/ 572 h 29622"/>
                  <a:gd name="connsiteX27" fmla="*/ 22193 w 22193"/>
                  <a:gd name="connsiteY27" fmla="*/ 572 h 29622"/>
                  <a:gd name="connsiteX28" fmla="*/ 22193 w 22193"/>
                  <a:gd name="connsiteY28" fmla="*/ 19145 h 29622"/>
                  <a:gd name="connsiteX29" fmla="*/ 22193 w 22193"/>
                  <a:gd name="connsiteY29" fmla="*/ 19145 h 29622"/>
                  <a:gd name="connsiteX30" fmla="*/ 15049 w 22193"/>
                  <a:gd name="connsiteY30" fmla="*/ 15240 h 29622"/>
                  <a:gd name="connsiteX31" fmla="*/ 15049 w 22193"/>
                  <a:gd name="connsiteY31" fmla="*/ 5620 h 29622"/>
                  <a:gd name="connsiteX32" fmla="*/ 13621 w 22193"/>
                  <a:gd name="connsiteY32" fmla="*/ 5239 h 29622"/>
                  <a:gd name="connsiteX33" fmla="*/ 12097 w 22193"/>
                  <a:gd name="connsiteY33" fmla="*/ 5143 h 29622"/>
                  <a:gd name="connsiteX34" fmla="*/ 8096 w 22193"/>
                  <a:gd name="connsiteY34" fmla="*/ 6667 h 29622"/>
                  <a:gd name="connsiteX35" fmla="*/ 6763 w 22193"/>
                  <a:gd name="connsiteY35" fmla="*/ 10954 h 29622"/>
                  <a:gd name="connsiteX36" fmla="*/ 7906 w 22193"/>
                  <a:gd name="connsiteY36" fmla="*/ 15240 h 29622"/>
                  <a:gd name="connsiteX37" fmla="*/ 11240 w 22193"/>
                  <a:gd name="connsiteY37" fmla="*/ 16478 h 29622"/>
                  <a:gd name="connsiteX38" fmla="*/ 13240 w 22193"/>
                  <a:gd name="connsiteY38" fmla="*/ 16192 h 29622"/>
                  <a:gd name="connsiteX39" fmla="*/ 14954 w 22193"/>
                  <a:gd name="connsiteY39" fmla="*/ 15335 h 2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193" h="29622">
                    <a:moveTo>
                      <a:pt x="21812" y="19336"/>
                    </a:moveTo>
                    <a:cubicBezTo>
                      <a:pt x="21812" y="21336"/>
                      <a:pt x="21526" y="22955"/>
                      <a:pt x="20955" y="24289"/>
                    </a:cubicBezTo>
                    <a:cubicBezTo>
                      <a:pt x="20383" y="25622"/>
                      <a:pt x="19622" y="26670"/>
                      <a:pt x="18574" y="27432"/>
                    </a:cubicBezTo>
                    <a:cubicBezTo>
                      <a:pt x="17526" y="28194"/>
                      <a:pt x="16383" y="28766"/>
                      <a:pt x="14954" y="29147"/>
                    </a:cubicBezTo>
                    <a:cubicBezTo>
                      <a:pt x="13525" y="29528"/>
                      <a:pt x="11906" y="29623"/>
                      <a:pt x="10097" y="29623"/>
                    </a:cubicBezTo>
                    <a:cubicBezTo>
                      <a:pt x="8668" y="29623"/>
                      <a:pt x="7239" y="29623"/>
                      <a:pt x="5810" y="29337"/>
                    </a:cubicBezTo>
                    <a:cubicBezTo>
                      <a:pt x="4381" y="29147"/>
                      <a:pt x="3143" y="28956"/>
                      <a:pt x="2096" y="28670"/>
                    </a:cubicBezTo>
                    <a:lnTo>
                      <a:pt x="2096" y="23336"/>
                    </a:lnTo>
                    <a:lnTo>
                      <a:pt x="2953" y="23336"/>
                    </a:lnTo>
                    <a:cubicBezTo>
                      <a:pt x="3810" y="23622"/>
                      <a:pt x="4763" y="23908"/>
                      <a:pt x="6001" y="24194"/>
                    </a:cubicBezTo>
                    <a:cubicBezTo>
                      <a:pt x="7144" y="24479"/>
                      <a:pt x="8287" y="24575"/>
                      <a:pt x="9144" y="24575"/>
                    </a:cubicBezTo>
                    <a:cubicBezTo>
                      <a:pt x="10382" y="24575"/>
                      <a:pt x="11430" y="24479"/>
                      <a:pt x="12192" y="24289"/>
                    </a:cubicBezTo>
                    <a:cubicBezTo>
                      <a:pt x="12954" y="24098"/>
                      <a:pt x="13525" y="23717"/>
                      <a:pt x="14002" y="23336"/>
                    </a:cubicBezTo>
                    <a:cubicBezTo>
                      <a:pt x="14383" y="22955"/>
                      <a:pt x="14669" y="22479"/>
                      <a:pt x="14859" y="21812"/>
                    </a:cubicBezTo>
                    <a:cubicBezTo>
                      <a:pt x="15049" y="21241"/>
                      <a:pt x="15145" y="20479"/>
                      <a:pt x="15145" y="19622"/>
                    </a:cubicBezTo>
                    <a:lnTo>
                      <a:pt x="15145" y="19241"/>
                    </a:lnTo>
                    <a:cubicBezTo>
                      <a:pt x="14383" y="19907"/>
                      <a:pt x="13430" y="20479"/>
                      <a:pt x="12478" y="20765"/>
                    </a:cubicBezTo>
                    <a:cubicBezTo>
                      <a:pt x="11525" y="21146"/>
                      <a:pt x="10382" y="21336"/>
                      <a:pt x="9144" y="21336"/>
                    </a:cubicBezTo>
                    <a:cubicBezTo>
                      <a:pt x="6191" y="21336"/>
                      <a:pt x="3905" y="20479"/>
                      <a:pt x="2381" y="18669"/>
                    </a:cubicBezTo>
                    <a:cubicBezTo>
                      <a:pt x="762" y="16859"/>
                      <a:pt x="0" y="14192"/>
                      <a:pt x="0" y="10573"/>
                    </a:cubicBezTo>
                    <a:cubicBezTo>
                      <a:pt x="0" y="8858"/>
                      <a:pt x="191" y="7334"/>
                      <a:pt x="762" y="6096"/>
                    </a:cubicBezTo>
                    <a:cubicBezTo>
                      <a:pt x="1238" y="4858"/>
                      <a:pt x="1905" y="3715"/>
                      <a:pt x="2857" y="2762"/>
                    </a:cubicBezTo>
                    <a:cubicBezTo>
                      <a:pt x="3715" y="1905"/>
                      <a:pt x="4667" y="1238"/>
                      <a:pt x="5905" y="762"/>
                    </a:cubicBezTo>
                    <a:cubicBezTo>
                      <a:pt x="7144" y="286"/>
                      <a:pt x="8382" y="0"/>
                      <a:pt x="9620" y="0"/>
                    </a:cubicBezTo>
                    <a:cubicBezTo>
                      <a:pt x="10763" y="0"/>
                      <a:pt x="11811" y="191"/>
                      <a:pt x="12764" y="381"/>
                    </a:cubicBezTo>
                    <a:cubicBezTo>
                      <a:pt x="13716" y="667"/>
                      <a:pt x="14573" y="1048"/>
                      <a:pt x="15335" y="1524"/>
                    </a:cubicBezTo>
                    <a:lnTo>
                      <a:pt x="15621" y="572"/>
                    </a:lnTo>
                    <a:lnTo>
                      <a:pt x="22193" y="572"/>
                    </a:lnTo>
                    <a:lnTo>
                      <a:pt x="22193" y="19145"/>
                    </a:lnTo>
                    <a:lnTo>
                      <a:pt x="22193" y="19145"/>
                    </a:lnTo>
                    <a:close/>
                    <a:moveTo>
                      <a:pt x="15049" y="15240"/>
                    </a:moveTo>
                    <a:lnTo>
                      <a:pt x="15049" y="5620"/>
                    </a:lnTo>
                    <a:cubicBezTo>
                      <a:pt x="15049" y="5620"/>
                      <a:pt x="14192" y="5334"/>
                      <a:pt x="13621" y="5239"/>
                    </a:cubicBezTo>
                    <a:cubicBezTo>
                      <a:pt x="13049" y="5239"/>
                      <a:pt x="12573" y="5143"/>
                      <a:pt x="12097" y="5143"/>
                    </a:cubicBezTo>
                    <a:cubicBezTo>
                      <a:pt x="10287" y="5143"/>
                      <a:pt x="9049" y="5620"/>
                      <a:pt x="8096" y="6667"/>
                    </a:cubicBezTo>
                    <a:cubicBezTo>
                      <a:pt x="7239" y="7715"/>
                      <a:pt x="6763" y="9144"/>
                      <a:pt x="6763" y="10954"/>
                    </a:cubicBezTo>
                    <a:cubicBezTo>
                      <a:pt x="6763" y="12954"/>
                      <a:pt x="7144" y="14383"/>
                      <a:pt x="7906" y="15240"/>
                    </a:cubicBezTo>
                    <a:cubicBezTo>
                      <a:pt x="8668" y="16002"/>
                      <a:pt x="9811" y="16478"/>
                      <a:pt x="11240" y="16478"/>
                    </a:cubicBezTo>
                    <a:cubicBezTo>
                      <a:pt x="11906" y="16478"/>
                      <a:pt x="12573" y="16383"/>
                      <a:pt x="13240" y="16192"/>
                    </a:cubicBezTo>
                    <a:cubicBezTo>
                      <a:pt x="13906" y="16002"/>
                      <a:pt x="14478" y="15716"/>
                      <a:pt x="14954" y="1533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6" name="Freeform: Shape 325">
                <a:extLst>
                  <a:ext uri="{FF2B5EF4-FFF2-40B4-BE49-F238E27FC236}">
                    <a16:creationId xmlns:a16="http://schemas.microsoft.com/office/drawing/2014/main" id="{4C0767C4-B7C3-491C-8F4E-708507868DBD}"/>
                  </a:ext>
                </a:extLst>
              </p:cNvPr>
              <p:cNvSpPr/>
              <p:nvPr/>
            </p:nvSpPr>
            <p:spPr>
              <a:xfrm>
                <a:off x="6878700" y="4100647"/>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7" name="Freeform: Shape 326">
                <a:extLst>
                  <a:ext uri="{FF2B5EF4-FFF2-40B4-BE49-F238E27FC236}">
                    <a16:creationId xmlns:a16="http://schemas.microsoft.com/office/drawing/2014/main" id="{17DC5001-9770-4DC7-8BEF-4CCFFF3047F3}"/>
                  </a:ext>
                </a:extLst>
              </p:cNvPr>
              <p:cNvSpPr/>
              <p:nvPr/>
            </p:nvSpPr>
            <p:spPr>
              <a:xfrm>
                <a:off x="6878891" y="4091122"/>
                <a:ext cx="6667" cy="7620"/>
              </a:xfrm>
              <a:custGeom>
                <a:avLst/>
                <a:gdLst>
                  <a:gd name="connsiteX0" fmla="*/ 0 w 6667"/>
                  <a:gd name="connsiteY0" fmla="*/ 0 h 7620"/>
                  <a:gd name="connsiteX1" fmla="*/ 3239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239"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8" name="Freeform: Shape 327">
                <a:extLst>
                  <a:ext uri="{FF2B5EF4-FFF2-40B4-BE49-F238E27FC236}">
                    <a16:creationId xmlns:a16="http://schemas.microsoft.com/office/drawing/2014/main" id="{E7586D33-E759-4142-B676-0705059A6AC9}"/>
                  </a:ext>
                </a:extLst>
              </p:cNvPr>
              <p:cNvSpPr/>
              <p:nvPr/>
            </p:nvSpPr>
            <p:spPr>
              <a:xfrm>
                <a:off x="6888035" y="4141128"/>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29" name="Freeform: Shape 328">
                <a:extLst>
                  <a:ext uri="{FF2B5EF4-FFF2-40B4-BE49-F238E27FC236}">
                    <a16:creationId xmlns:a16="http://schemas.microsoft.com/office/drawing/2014/main" id="{6852F6FC-2393-4C0C-95A1-D5948871676A}"/>
                  </a:ext>
                </a:extLst>
              </p:cNvPr>
              <p:cNvSpPr/>
              <p:nvPr/>
            </p:nvSpPr>
            <p:spPr>
              <a:xfrm>
                <a:off x="6888130" y="4131603"/>
                <a:ext cx="6762" cy="7620"/>
              </a:xfrm>
              <a:custGeom>
                <a:avLst/>
                <a:gdLst>
                  <a:gd name="connsiteX0" fmla="*/ 0 w 6762"/>
                  <a:gd name="connsiteY0" fmla="*/ 0 h 7620"/>
                  <a:gd name="connsiteX1" fmla="*/ 3334 w 6762"/>
                  <a:gd name="connsiteY1" fmla="*/ 7620 h 7620"/>
                  <a:gd name="connsiteX2" fmla="*/ 6763 w 6762"/>
                  <a:gd name="connsiteY2" fmla="*/ 0 h 7620"/>
                  <a:gd name="connsiteX3" fmla="*/ 0 w 6762"/>
                  <a:gd name="connsiteY3" fmla="*/ 0 h 7620"/>
                  <a:gd name="connsiteX4" fmla="*/ 0 w 6762"/>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7620">
                    <a:moveTo>
                      <a:pt x="0" y="0"/>
                    </a:moveTo>
                    <a:lnTo>
                      <a:pt x="3334" y="7620"/>
                    </a:lnTo>
                    <a:lnTo>
                      <a:pt x="6763"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0" name="Freeform: Shape 329">
                <a:extLst>
                  <a:ext uri="{FF2B5EF4-FFF2-40B4-BE49-F238E27FC236}">
                    <a16:creationId xmlns:a16="http://schemas.microsoft.com/office/drawing/2014/main" id="{D85E6F0C-E73C-4ADC-ABF7-DA1E5B6BCE75}"/>
                  </a:ext>
                </a:extLst>
              </p:cNvPr>
              <p:cNvSpPr/>
              <p:nvPr/>
            </p:nvSpPr>
            <p:spPr>
              <a:xfrm>
                <a:off x="6872890" y="4181895"/>
                <a:ext cx="6667" cy="21050"/>
              </a:xfrm>
              <a:custGeom>
                <a:avLst/>
                <a:gdLst>
                  <a:gd name="connsiteX0" fmla="*/ 6668 w 6667"/>
                  <a:gd name="connsiteY0" fmla="*/ 21050 h 21050"/>
                  <a:gd name="connsiteX1" fmla="*/ 0 w 6667"/>
                  <a:gd name="connsiteY1" fmla="*/ 21050 h 21050"/>
                  <a:gd name="connsiteX2" fmla="*/ 0 w 6667"/>
                  <a:gd name="connsiteY2" fmla="*/ 0 h 21050"/>
                  <a:gd name="connsiteX3" fmla="*/ 6668 w 6667"/>
                  <a:gd name="connsiteY3" fmla="*/ 0 h 21050"/>
                  <a:gd name="connsiteX4" fmla="*/ 6668 w 6667"/>
                  <a:gd name="connsiteY4" fmla="*/ 21050 h 21050"/>
                  <a:gd name="connsiteX5" fmla="*/ 6668 w 6667"/>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21050">
                    <a:moveTo>
                      <a:pt x="6668" y="21050"/>
                    </a:moveTo>
                    <a:lnTo>
                      <a:pt x="0" y="21050"/>
                    </a:lnTo>
                    <a:lnTo>
                      <a:pt x="0" y="0"/>
                    </a:lnTo>
                    <a:lnTo>
                      <a:pt x="6668" y="0"/>
                    </a:lnTo>
                    <a:lnTo>
                      <a:pt x="6668" y="21050"/>
                    </a:lnTo>
                    <a:lnTo>
                      <a:pt x="6668"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1" name="Freeform: Shape 330">
                <a:extLst>
                  <a:ext uri="{FF2B5EF4-FFF2-40B4-BE49-F238E27FC236}">
                    <a16:creationId xmlns:a16="http://schemas.microsoft.com/office/drawing/2014/main" id="{540F15E4-5DB7-4BB9-AF3F-9A0EC98BDCB5}"/>
                  </a:ext>
                </a:extLst>
              </p:cNvPr>
              <p:cNvSpPr/>
              <p:nvPr/>
            </p:nvSpPr>
            <p:spPr>
              <a:xfrm>
                <a:off x="6872985" y="4172370"/>
                <a:ext cx="6667" cy="7620"/>
              </a:xfrm>
              <a:custGeom>
                <a:avLst/>
                <a:gdLst>
                  <a:gd name="connsiteX0" fmla="*/ 0 w 6667"/>
                  <a:gd name="connsiteY0" fmla="*/ 0 h 7620"/>
                  <a:gd name="connsiteX1" fmla="*/ 3334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334"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2" name="Freeform: Shape 331">
                <a:extLst>
                  <a:ext uri="{FF2B5EF4-FFF2-40B4-BE49-F238E27FC236}">
                    <a16:creationId xmlns:a16="http://schemas.microsoft.com/office/drawing/2014/main" id="{B7200457-AAFB-4520-A638-0EA5FACF6545}"/>
                  </a:ext>
                </a:extLst>
              </p:cNvPr>
              <p:cNvSpPr/>
              <p:nvPr/>
            </p:nvSpPr>
            <p:spPr>
              <a:xfrm>
                <a:off x="6788975" y="4181895"/>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3" name="Freeform: Shape 332">
                <a:extLst>
                  <a:ext uri="{FF2B5EF4-FFF2-40B4-BE49-F238E27FC236}">
                    <a16:creationId xmlns:a16="http://schemas.microsoft.com/office/drawing/2014/main" id="{154607E6-A8FC-429C-8D85-78584F7485C2}"/>
                  </a:ext>
                </a:extLst>
              </p:cNvPr>
              <p:cNvSpPr/>
              <p:nvPr/>
            </p:nvSpPr>
            <p:spPr>
              <a:xfrm>
                <a:off x="6789165" y="4172370"/>
                <a:ext cx="6667" cy="7620"/>
              </a:xfrm>
              <a:custGeom>
                <a:avLst/>
                <a:gdLst>
                  <a:gd name="connsiteX0" fmla="*/ 0 w 6667"/>
                  <a:gd name="connsiteY0" fmla="*/ 0 h 7620"/>
                  <a:gd name="connsiteX1" fmla="*/ 3334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334"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4" name="Freeform: Shape 333">
                <a:extLst>
                  <a:ext uri="{FF2B5EF4-FFF2-40B4-BE49-F238E27FC236}">
                    <a16:creationId xmlns:a16="http://schemas.microsoft.com/office/drawing/2014/main" id="{009C672C-7A93-44F6-BB65-18B00CBD6D94}"/>
                  </a:ext>
                </a:extLst>
              </p:cNvPr>
              <p:cNvSpPr/>
              <p:nvPr/>
            </p:nvSpPr>
            <p:spPr>
              <a:xfrm>
                <a:off x="6936993" y="4181704"/>
                <a:ext cx="10096" cy="10096"/>
              </a:xfrm>
              <a:custGeom>
                <a:avLst/>
                <a:gdLst>
                  <a:gd name="connsiteX0" fmla="*/ 10097 w 10096"/>
                  <a:gd name="connsiteY0" fmla="*/ 5048 h 10096"/>
                  <a:gd name="connsiteX1" fmla="*/ 5144 w 10096"/>
                  <a:gd name="connsiteY1" fmla="*/ 10096 h 10096"/>
                  <a:gd name="connsiteX2" fmla="*/ 0 w 10096"/>
                  <a:gd name="connsiteY2" fmla="*/ 5048 h 10096"/>
                  <a:gd name="connsiteX3" fmla="*/ 4953 w 10096"/>
                  <a:gd name="connsiteY3" fmla="*/ 0 h 10096"/>
                  <a:gd name="connsiteX4" fmla="*/ 10097 w 10096"/>
                  <a:gd name="connsiteY4" fmla="*/ 5048 h 10096"/>
                  <a:gd name="connsiteX5" fmla="*/ 762 w 10096"/>
                  <a:gd name="connsiteY5" fmla="*/ 5048 h 10096"/>
                  <a:gd name="connsiteX6" fmla="*/ 5144 w 10096"/>
                  <a:gd name="connsiteY6" fmla="*/ 9334 h 10096"/>
                  <a:gd name="connsiteX7" fmla="*/ 9334 w 10096"/>
                  <a:gd name="connsiteY7" fmla="*/ 5048 h 10096"/>
                  <a:gd name="connsiteX8" fmla="*/ 4953 w 10096"/>
                  <a:gd name="connsiteY8" fmla="*/ 762 h 10096"/>
                  <a:gd name="connsiteX9" fmla="*/ 762 w 10096"/>
                  <a:gd name="connsiteY9" fmla="*/ 5048 h 10096"/>
                  <a:gd name="connsiteX10" fmla="*/ 4191 w 10096"/>
                  <a:gd name="connsiteY10" fmla="*/ 8001 h 10096"/>
                  <a:gd name="connsiteX11" fmla="*/ 3239 w 10096"/>
                  <a:gd name="connsiteY11" fmla="*/ 8001 h 10096"/>
                  <a:gd name="connsiteX12" fmla="*/ 3239 w 10096"/>
                  <a:gd name="connsiteY12" fmla="*/ 2191 h 10096"/>
                  <a:gd name="connsiteX13" fmla="*/ 5429 w 10096"/>
                  <a:gd name="connsiteY13" fmla="*/ 2191 h 10096"/>
                  <a:gd name="connsiteX14" fmla="*/ 7048 w 10096"/>
                  <a:gd name="connsiteY14" fmla="*/ 3620 h 10096"/>
                  <a:gd name="connsiteX15" fmla="*/ 5810 w 10096"/>
                  <a:gd name="connsiteY15" fmla="*/ 4953 h 10096"/>
                  <a:gd name="connsiteX16" fmla="*/ 5810 w 10096"/>
                  <a:gd name="connsiteY16" fmla="*/ 4953 h 10096"/>
                  <a:gd name="connsiteX17" fmla="*/ 6858 w 10096"/>
                  <a:gd name="connsiteY17" fmla="*/ 6477 h 10096"/>
                  <a:gd name="connsiteX18" fmla="*/ 7144 w 10096"/>
                  <a:gd name="connsiteY18" fmla="*/ 8001 h 10096"/>
                  <a:gd name="connsiteX19" fmla="*/ 6191 w 10096"/>
                  <a:gd name="connsiteY19" fmla="*/ 8001 h 10096"/>
                  <a:gd name="connsiteX20" fmla="*/ 5905 w 10096"/>
                  <a:gd name="connsiteY20" fmla="*/ 6096 h 10096"/>
                  <a:gd name="connsiteX21" fmla="*/ 5048 w 10096"/>
                  <a:gd name="connsiteY21" fmla="*/ 5429 h 10096"/>
                  <a:gd name="connsiteX22" fmla="*/ 4096 w 10096"/>
                  <a:gd name="connsiteY22" fmla="*/ 5429 h 10096"/>
                  <a:gd name="connsiteX23" fmla="*/ 4096 w 10096"/>
                  <a:gd name="connsiteY23" fmla="*/ 8001 h 10096"/>
                  <a:gd name="connsiteX24" fmla="*/ 4096 w 10096"/>
                  <a:gd name="connsiteY24" fmla="*/ 8001 h 10096"/>
                  <a:gd name="connsiteX25" fmla="*/ 4191 w 10096"/>
                  <a:gd name="connsiteY25" fmla="*/ 4667 h 10096"/>
                  <a:gd name="connsiteX26" fmla="*/ 5429 w 10096"/>
                  <a:gd name="connsiteY26" fmla="*/ 4667 h 10096"/>
                  <a:gd name="connsiteX27" fmla="*/ 6286 w 10096"/>
                  <a:gd name="connsiteY27" fmla="*/ 3715 h 10096"/>
                  <a:gd name="connsiteX28" fmla="*/ 5429 w 10096"/>
                  <a:gd name="connsiteY28" fmla="*/ 2858 h 10096"/>
                  <a:gd name="connsiteX29" fmla="*/ 4191 w 10096"/>
                  <a:gd name="connsiteY29" fmla="*/ 2858 h 10096"/>
                  <a:gd name="connsiteX30" fmla="*/ 4191 w 10096"/>
                  <a:gd name="connsiteY30" fmla="*/ 4667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96" h="10096">
                    <a:moveTo>
                      <a:pt x="10097" y="5048"/>
                    </a:moveTo>
                    <a:cubicBezTo>
                      <a:pt x="10097" y="7906"/>
                      <a:pt x="8001" y="10096"/>
                      <a:pt x="5144" y="10096"/>
                    </a:cubicBezTo>
                    <a:cubicBezTo>
                      <a:pt x="2286" y="10096"/>
                      <a:pt x="0" y="7810"/>
                      <a:pt x="0" y="5048"/>
                    </a:cubicBezTo>
                    <a:cubicBezTo>
                      <a:pt x="0" y="2286"/>
                      <a:pt x="2191" y="0"/>
                      <a:pt x="4953" y="0"/>
                    </a:cubicBezTo>
                    <a:cubicBezTo>
                      <a:pt x="7715" y="0"/>
                      <a:pt x="10001" y="2191"/>
                      <a:pt x="10097" y="5048"/>
                    </a:cubicBezTo>
                    <a:moveTo>
                      <a:pt x="762" y="5048"/>
                    </a:moveTo>
                    <a:cubicBezTo>
                      <a:pt x="762" y="7429"/>
                      <a:pt x="2762" y="9334"/>
                      <a:pt x="5144" y="9334"/>
                    </a:cubicBezTo>
                    <a:cubicBezTo>
                      <a:pt x="7525" y="9334"/>
                      <a:pt x="9430" y="7429"/>
                      <a:pt x="9334" y="5048"/>
                    </a:cubicBezTo>
                    <a:cubicBezTo>
                      <a:pt x="9334" y="2667"/>
                      <a:pt x="7334" y="762"/>
                      <a:pt x="4953" y="762"/>
                    </a:cubicBezTo>
                    <a:cubicBezTo>
                      <a:pt x="2572" y="762"/>
                      <a:pt x="667" y="2667"/>
                      <a:pt x="762" y="5048"/>
                    </a:cubicBezTo>
                    <a:moveTo>
                      <a:pt x="4191" y="8001"/>
                    </a:moveTo>
                    <a:lnTo>
                      <a:pt x="3239" y="8001"/>
                    </a:lnTo>
                    <a:lnTo>
                      <a:pt x="3239" y="2191"/>
                    </a:lnTo>
                    <a:lnTo>
                      <a:pt x="5429" y="2191"/>
                    </a:lnTo>
                    <a:cubicBezTo>
                      <a:pt x="6572" y="2191"/>
                      <a:pt x="7048" y="2953"/>
                      <a:pt x="7048" y="3620"/>
                    </a:cubicBezTo>
                    <a:cubicBezTo>
                      <a:pt x="7048" y="4286"/>
                      <a:pt x="6572" y="4858"/>
                      <a:pt x="5810" y="4953"/>
                    </a:cubicBezTo>
                    <a:lnTo>
                      <a:pt x="5810" y="4953"/>
                    </a:lnTo>
                    <a:cubicBezTo>
                      <a:pt x="6572" y="5048"/>
                      <a:pt x="6763" y="5239"/>
                      <a:pt x="6858" y="6477"/>
                    </a:cubicBezTo>
                    <a:cubicBezTo>
                      <a:pt x="6858" y="6763"/>
                      <a:pt x="6953" y="7620"/>
                      <a:pt x="7144" y="8001"/>
                    </a:cubicBezTo>
                    <a:lnTo>
                      <a:pt x="6191" y="8001"/>
                    </a:lnTo>
                    <a:cubicBezTo>
                      <a:pt x="6191" y="8001"/>
                      <a:pt x="6001" y="6858"/>
                      <a:pt x="5905" y="6096"/>
                    </a:cubicBezTo>
                    <a:cubicBezTo>
                      <a:pt x="5905" y="5524"/>
                      <a:pt x="5239" y="5429"/>
                      <a:pt x="5048" y="5429"/>
                    </a:cubicBezTo>
                    <a:lnTo>
                      <a:pt x="4096" y="5429"/>
                    </a:lnTo>
                    <a:lnTo>
                      <a:pt x="4096" y="8001"/>
                    </a:lnTo>
                    <a:lnTo>
                      <a:pt x="4096" y="8001"/>
                    </a:lnTo>
                    <a:close/>
                    <a:moveTo>
                      <a:pt x="4191" y="4667"/>
                    </a:moveTo>
                    <a:lnTo>
                      <a:pt x="5429" y="4667"/>
                    </a:lnTo>
                    <a:cubicBezTo>
                      <a:pt x="6001" y="4667"/>
                      <a:pt x="6286" y="4191"/>
                      <a:pt x="6286" y="3715"/>
                    </a:cubicBezTo>
                    <a:cubicBezTo>
                      <a:pt x="6286" y="3334"/>
                      <a:pt x="6096" y="2858"/>
                      <a:pt x="5429" y="2858"/>
                    </a:cubicBezTo>
                    <a:lnTo>
                      <a:pt x="4191" y="2858"/>
                    </a:lnTo>
                    <a:lnTo>
                      <a:pt x="4191" y="4667"/>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335" name="Group 334">
              <a:extLst>
                <a:ext uri="{FF2B5EF4-FFF2-40B4-BE49-F238E27FC236}">
                  <a16:creationId xmlns:a16="http://schemas.microsoft.com/office/drawing/2014/main" id="{13FF2052-3A4D-4484-9451-1BA2DFD9E2DD}"/>
                </a:ext>
              </a:extLst>
            </p:cNvPr>
            <p:cNvGrpSpPr/>
            <p:nvPr userDrawn="1"/>
          </p:nvGrpSpPr>
          <p:grpSpPr>
            <a:xfrm>
              <a:off x="7172823" y="1735381"/>
              <a:ext cx="757767" cy="207212"/>
              <a:chOff x="5381625" y="3233737"/>
              <a:chExt cx="1432312" cy="391667"/>
            </a:xfrm>
          </p:grpSpPr>
          <p:sp>
            <p:nvSpPr>
              <p:cNvPr id="336" name="Freeform: Shape 335">
                <a:extLst>
                  <a:ext uri="{FF2B5EF4-FFF2-40B4-BE49-F238E27FC236}">
                    <a16:creationId xmlns:a16="http://schemas.microsoft.com/office/drawing/2014/main" id="{210ECE06-9359-41F3-8FDA-38BCB3BA1B5E}"/>
                  </a:ext>
                </a:extLst>
              </p:cNvPr>
              <p:cNvSpPr/>
              <p:nvPr/>
            </p:nvSpPr>
            <p:spPr>
              <a:xfrm>
                <a:off x="5976080" y="3343846"/>
                <a:ext cx="146780" cy="212312"/>
              </a:xfrm>
              <a:custGeom>
                <a:avLst/>
                <a:gdLst>
                  <a:gd name="connsiteX0" fmla="*/ 70866 w 146780"/>
                  <a:gd name="connsiteY0" fmla="*/ 157544 h 212312"/>
                  <a:gd name="connsiteX1" fmla="*/ 60484 w 146780"/>
                  <a:gd name="connsiteY1" fmla="*/ 177832 h 212312"/>
                  <a:gd name="connsiteX2" fmla="*/ 48292 w 146780"/>
                  <a:gd name="connsiteY2" fmla="*/ 195453 h 212312"/>
                  <a:gd name="connsiteX3" fmla="*/ 32099 w 146780"/>
                  <a:gd name="connsiteY3" fmla="*/ 207740 h 212312"/>
                  <a:gd name="connsiteX4" fmla="*/ 9525 w 146780"/>
                  <a:gd name="connsiteY4" fmla="*/ 212312 h 212312"/>
                  <a:gd name="connsiteX5" fmla="*/ 4477 w 146780"/>
                  <a:gd name="connsiteY5" fmla="*/ 211836 h 212312"/>
                  <a:gd name="connsiteX6" fmla="*/ 0 w 146780"/>
                  <a:gd name="connsiteY6" fmla="*/ 210788 h 212312"/>
                  <a:gd name="connsiteX7" fmla="*/ 3715 w 146780"/>
                  <a:gd name="connsiteY7" fmla="*/ 193834 h 212312"/>
                  <a:gd name="connsiteX8" fmla="*/ 11240 w 146780"/>
                  <a:gd name="connsiteY8" fmla="*/ 194691 h 212312"/>
                  <a:gd name="connsiteX9" fmla="*/ 26099 w 146780"/>
                  <a:gd name="connsiteY9" fmla="*/ 189643 h 212312"/>
                  <a:gd name="connsiteX10" fmla="*/ 36862 w 146780"/>
                  <a:gd name="connsiteY10" fmla="*/ 177165 h 212312"/>
                  <a:gd name="connsiteX11" fmla="*/ 44958 w 146780"/>
                  <a:gd name="connsiteY11" fmla="*/ 161639 h 212312"/>
                  <a:gd name="connsiteX12" fmla="*/ 51816 w 146780"/>
                  <a:gd name="connsiteY12" fmla="*/ 147066 h 212312"/>
                  <a:gd name="connsiteX13" fmla="*/ 44005 w 146780"/>
                  <a:gd name="connsiteY13" fmla="*/ 147066 h 212312"/>
                  <a:gd name="connsiteX14" fmla="*/ 22193 w 146780"/>
                  <a:gd name="connsiteY14" fmla="*/ 0 h 212312"/>
                  <a:gd name="connsiteX15" fmla="*/ 44863 w 146780"/>
                  <a:gd name="connsiteY15" fmla="*/ 0 h 212312"/>
                  <a:gd name="connsiteX16" fmla="*/ 62198 w 146780"/>
                  <a:gd name="connsiteY16" fmla="*/ 130778 h 212312"/>
                  <a:gd name="connsiteX17" fmla="*/ 62770 w 146780"/>
                  <a:gd name="connsiteY17" fmla="*/ 130778 h 212312"/>
                  <a:gd name="connsiteX18" fmla="*/ 123825 w 146780"/>
                  <a:gd name="connsiteY18" fmla="*/ 0 h 212312"/>
                  <a:gd name="connsiteX19" fmla="*/ 146780 w 146780"/>
                  <a:gd name="connsiteY19" fmla="*/ 0 h 212312"/>
                  <a:gd name="connsiteX20" fmla="*/ 70866 w 146780"/>
                  <a:gd name="connsiteY20" fmla="*/ 157448 h 212312"/>
                  <a:gd name="connsiteX21" fmla="*/ 70866 w 146780"/>
                  <a:gd name="connsiteY21" fmla="*/ 157448 h 21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780" h="212312">
                    <a:moveTo>
                      <a:pt x="70866" y="157544"/>
                    </a:moveTo>
                    <a:cubicBezTo>
                      <a:pt x="67532" y="164497"/>
                      <a:pt x="64008" y="171260"/>
                      <a:pt x="60484" y="177832"/>
                    </a:cubicBezTo>
                    <a:cubicBezTo>
                      <a:pt x="56959" y="184499"/>
                      <a:pt x="52864" y="190310"/>
                      <a:pt x="48292" y="195453"/>
                    </a:cubicBezTo>
                    <a:cubicBezTo>
                      <a:pt x="43720" y="200596"/>
                      <a:pt x="38291" y="204692"/>
                      <a:pt x="32099" y="207740"/>
                    </a:cubicBezTo>
                    <a:cubicBezTo>
                      <a:pt x="25813" y="210788"/>
                      <a:pt x="18383" y="212312"/>
                      <a:pt x="9525" y="212312"/>
                    </a:cubicBezTo>
                    <a:cubicBezTo>
                      <a:pt x="7620" y="212312"/>
                      <a:pt x="6001" y="212217"/>
                      <a:pt x="4477" y="211836"/>
                    </a:cubicBezTo>
                    <a:cubicBezTo>
                      <a:pt x="2953" y="211550"/>
                      <a:pt x="1524" y="211169"/>
                      <a:pt x="0" y="210788"/>
                    </a:cubicBezTo>
                    <a:lnTo>
                      <a:pt x="3715" y="193834"/>
                    </a:lnTo>
                    <a:cubicBezTo>
                      <a:pt x="5905" y="194405"/>
                      <a:pt x="8477" y="194691"/>
                      <a:pt x="11240" y="194691"/>
                    </a:cubicBezTo>
                    <a:cubicBezTo>
                      <a:pt x="17050" y="194691"/>
                      <a:pt x="22003" y="192977"/>
                      <a:pt x="26099" y="189643"/>
                    </a:cubicBezTo>
                    <a:cubicBezTo>
                      <a:pt x="30194" y="186309"/>
                      <a:pt x="33814" y="182118"/>
                      <a:pt x="36862" y="177165"/>
                    </a:cubicBezTo>
                    <a:cubicBezTo>
                      <a:pt x="39910" y="172212"/>
                      <a:pt x="42672" y="166973"/>
                      <a:pt x="44958" y="161639"/>
                    </a:cubicBezTo>
                    <a:cubicBezTo>
                      <a:pt x="47339" y="156210"/>
                      <a:pt x="49530" y="151352"/>
                      <a:pt x="51816" y="147066"/>
                    </a:cubicBezTo>
                    <a:lnTo>
                      <a:pt x="44005" y="147066"/>
                    </a:lnTo>
                    <a:lnTo>
                      <a:pt x="22193" y="0"/>
                    </a:lnTo>
                    <a:lnTo>
                      <a:pt x="44863" y="0"/>
                    </a:lnTo>
                    <a:lnTo>
                      <a:pt x="62198" y="130778"/>
                    </a:lnTo>
                    <a:lnTo>
                      <a:pt x="62770" y="130778"/>
                    </a:lnTo>
                    <a:lnTo>
                      <a:pt x="123825" y="0"/>
                    </a:lnTo>
                    <a:lnTo>
                      <a:pt x="146780" y="0"/>
                    </a:lnTo>
                    <a:lnTo>
                      <a:pt x="70866" y="157448"/>
                    </a:lnTo>
                    <a:lnTo>
                      <a:pt x="70866" y="157448"/>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7" name="Freeform: Shape 336">
                <a:extLst>
                  <a:ext uri="{FF2B5EF4-FFF2-40B4-BE49-F238E27FC236}">
                    <a16:creationId xmlns:a16="http://schemas.microsoft.com/office/drawing/2014/main" id="{779C1E46-E5A1-4D62-AE39-B30CECD8F55F}"/>
                  </a:ext>
                </a:extLst>
              </p:cNvPr>
              <p:cNvSpPr/>
              <p:nvPr/>
            </p:nvSpPr>
            <p:spPr>
              <a:xfrm>
                <a:off x="6114082" y="3342417"/>
                <a:ext cx="138753" cy="150209"/>
              </a:xfrm>
              <a:custGeom>
                <a:avLst/>
                <a:gdLst>
                  <a:gd name="connsiteX0" fmla="*/ 128888 w 138753"/>
                  <a:gd name="connsiteY0" fmla="*/ 95345 h 150209"/>
                  <a:gd name="connsiteX1" fmla="*/ 127174 w 138753"/>
                  <a:gd name="connsiteY1" fmla="*/ 103442 h 150209"/>
                  <a:gd name="connsiteX2" fmla="*/ 117077 w 138753"/>
                  <a:gd name="connsiteY2" fmla="*/ 128397 h 150209"/>
                  <a:gd name="connsiteX3" fmla="*/ 100789 w 138753"/>
                  <a:gd name="connsiteY3" fmla="*/ 142399 h 150209"/>
                  <a:gd name="connsiteX4" fmla="*/ 79644 w 138753"/>
                  <a:gd name="connsiteY4" fmla="*/ 148685 h 150209"/>
                  <a:gd name="connsiteX5" fmla="*/ 54879 w 138753"/>
                  <a:gd name="connsiteY5" fmla="*/ 150209 h 150209"/>
                  <a:gd name="connsiteX6" fmla="*/ 19827 w 138753"/>
                  <a:gd name="connsiteY6" fmla="*/ 145733 h 150209"/>
                  <a:gd name="connsiteX7" fmla="*/ 3349 w 138753"/>
                  <a:gd name="connsiteY7" fmla="*/ 131731 h 150209"/>
                  <a:gd name="connsiteX8" fmla="*/ 396 w 138753"/>
                  <a:gd name="connsiteY8" fmla="*/ 107347 h 150209"/>
                  <a:gd name="connsiteX9" fmla="*/ 6111 w 138753"/>
                  <a:gd name="connsiteY9" fmla="*/ 72104 h 150209"/>
                  <a:gd name="connsiteX10" fmla="*/ 14779 w 138753"/>
                  <a:gd name="connsiteY10" fmla="*/ 40672 h 150209"/>
                  <a:gd name="connsiteX11" fmla="*/ 28399 w 138753"/>
                  <a:gd name="connsiteY11" fmla="*/ 18098 h 150209"/>
                  <a:gd name="connsiteX12" fmla="*/ 50116 w 138753"/>
                  <a:gd name="connsiteY12" fmla="*/ 4572 h 150209"/>
                  <a:gd name="connsiteX13" fmla="*/ 83168 w 138753"/>
                  <a:gd name="connsiteY13" fmla="*/ 0 h 150209"/>
                  <a:gd name="connsiteX14" fmla="*/ 107933 w 138753"/>
                  <a:gd name="connsiteY14" fmla="*/ 1238 h 150209"/>
                  <a:gd name="connsiteX15" fmla="*/ 126888 w 138753"/>
                  <a:gd name="connsiteY15" fmla="*/ 7144 h 150209"/>
                  <a:gd name="connsiteX16" fmla="*/ 137365 w 138753"/>
                  <a:gd name="connsiteY16" fmla="*/ 20860 h 150209"/>
                  <a:gd name="connsiteX17" fmla="*/ 136984 w 138753"/>
                  <a:gd name="connsiteY17" fmla="*/ 45625 h 150209"/>
                  <a:gd name="connsiteX18" fmla="*/ 136127 w 138753"/>
                  <a:gd name="connsiteY18" fmla="*/ 49530 h 150209"/>
                  <a:gd name="connsiteX19" fmla="*/ 114029 w 138753"/>
                  <a:gd name="connsiteY19" fmla="*/ 49530 h 150209"/>
                  <a:gd name="connsiteX20" fmla="*/ 115077 w 138753"/>
                  <a:gd name="connsiteY20" fmla="*/ 45053 h 150209"/>
                  <a:gd name="connsiteX21" fmla="*/ 115648 w 138753"/>
                  <a:gd name="connsiteY21" fmla="*/ 29528 h 150209"/>
                  <a:gd name="connsiteX22" fmla="*/ 109648 w 138753"/>
                  <a:gd name="connsiteY22" fmla="*/ 21622 h 150209"/>
                  <a:gd name="connsiteX23" fmla="*/ 97551 w 138753"/>
                  <a:gd name="connsiteY23" fmla="*/ 18574 h 150209"/>
                  <a:gd name="connsiteX24" fmla="*/ 80596 w 138753"/>
                  <a:gd name="connsiteY24" fmla="*/ 18002 h 150209"/>
                  <a:gd name="connsiteX25" fmla="*/ 57070 w 138753"/>
                  <a:gd name="connsiteY25" fmla="*/ 20765 h 150209"/>
                  <a:gd name="connsiteX26" fmla="*/ 43258 w 138753"/>
                  <a:gd name="connsiteY26" fmla="*/ 30575 h 150209"/>
                  <a:gd name="connsiteX27" fmla="*/ 34686 w 138753"/>
                  <a:gd name="connsiteY27" fmla="*/ 49149 h 150209"/>
                  <a:gd name="connsiteX28" fmla="*/ 27637 w 138753"/>
                  <a:gd name="connsiteY28" fmla="*/ 78391 h 150209"/>
                  <a:gd name="connsiteX29" fmla="*/ 23065 w 138753"/>
                  <a:gd name="connsiteY29" fmla="*/ 104394 h 150209"/>
                  <a:gd name="connsiteX30" fmla="*/ 24970 w 138753"/>
                  <a:gd name="connsiteY30" fmla="*/ 120872 h 150209"/>
                  <a:gd name="connsiteX31" fmla="*/ 36400 w 138753"/>
                  <a:gd name="connsiteY31" fmla="*/ 129731 h 150209"/>
                  <a:gd name="connsiteX32" fmla="*/ 60975 w 138753"/>
                  <a:gd name="connsiteY32" fmla="*/ 132398 h 150209"/>
                  <a:gd name="connsiteX33" fmla="*/ 78787 w 138753"/>
                  <a:gd name="connsiteY33" fmla="*/ 131540 h 150209"/>
                  <a:gd name="connsiteX34" fmla="*/ 91360 w 138753"/>
                  <a:gd name="connsiteY34" fmla="*/ 127635 h 150209"/>
                  <a:gd name="connsiteX35" fmla="*/ 99742 w 138753"/>
                  <a:gd name="connsiteY35" fmla="*/ 118682 h 150209"/>
                  <a:gd name="connsiteX36" fmla="*/ 105171 w 138753"/>
                  <a:gd name="connsiteY36" fmla="*/ 102775 h 150209"/>
                  <a:gd name="connsiteX37" fmla="*/ 106504 w 138753"/>
                  <a:gd name="connsiteY37" fmla="*/ 95536 h 150209"/>
                  <a:gd name="connsiteX38" fmla="*/ 128698 w 138753"/>
                  <a:gd name="connsiteY38" fmla="*/ 95536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753" h="150209">
                    <a:moveTo>
                      <a:pt x="128888" y="95345"/>
                    </a:moveTo>
                    <a:lnTo>
                      <a:pt x="127174" y="103442"/>
                    </a:lnTo>
                    <a:cubicBezTo>
                      <a:pt x="124983" y="113919"/>
                      <a:pt x="121554" y="122206"/>
                      <a:pt x="117077" y="128397"/>
                    </a:cubicBezTo>
                    <a:cubicBezTo>
                      <a:pt x="112600" y="134493"/>
                      <a:pt x="107171" y="139160"/>
                      <a:pt x="100789" y="142399"/>
                    </a:cubicBezTo>
                    <a:cubicBezTo>
                      <a:pt x="94408" y="145542"/>
                      <a:pt x="87359" y="147638"/>
                      <a:pt x="79644" y="148685"/>
                    </a:cubicBezTo>
                    <a:cubicBezTo>
                      <a:pt x="71929" y="149733"/>
                      <a:pt x="63642" y="150209"/>
                      <a:pt x="54879" y="150209"/>
                    </a:cubicBezTo>
                    <a:cubicBezTo>
                      <a:pt x="39544" y="150209"/>
                      <a:pt x="27923" y="148685"/>
                      <a:pt x="19827" y="145733"/>
                    </a:cubicBezTo>
                    <a:cubicBezTo>
                      <a:pt x="11826" y="142685"/>
                      <a:pt x="6301" y="138113"/>
                      <a:pt x="3349" y="131731"/>
                    </a:cubicBezTo>
                    <a:cubicBezTo>
                      <a:pt x="396" y="125349"/>
                      <a:pt x="-652" y="117253"/>
                      <a:pt x="396" y="107347"/>
                    </a:cubicBezTo>
                    <a:cubicBezTo>
                      <a:pt x="1444" y="97441"/>
                      <a:pt x="3349" y="85725"/>
                      <a:pt x="6111" y="72104"/>
                    </a:cubicBezTo>
                    <a:cubicBezTo>
                      <a:pt x="8492" y="60198"/>
                      <a:pt x="11445" y="49720"/>
                      <a:pt x="14779" y="40672"/>
                    </a:cubicBezTo>
                    <a:cubicBezTo>
                      <a:pt x="18112" y="31623"/>
                      <a:pt x="22684" y="24098"/>
                      <a:pt x="28399" y="18098"/>
                    </a:cubicBezTo>
                    <a:cubicBezTo>
                      <a:pt x="34114" y="12097"/>
                      <a:pt x="41353" y="7620"/>
                      <a:pt x="50116" y="4572"/>
                    </a:cubicBezTo>
                    <a:cubicBezTo>
                      <a:pt x="58879" y="1429"/>
                      <a:pt x="69928" y="0"/>
                      <a:pt x="83168" y="0"/>
                    </a:cubicBezTo>
                    <a:cubicBezTo>
                      <a:pt x="92122" y="0"/>
                      <a:pt x="100408" y="381"/>
                      <a:pt x="107933" y="1238"/>
                    </a:cubicBezTo>
                    <a:cubicBezTo>
                      <a:pt x="115553" y="2096"/>
                      <a:pt x="121840" y="4001"/>
                      <a:pt x="126888" y="7144"/>
                    </a:cubicBezTo>
                    <a:cubicBezTo>
                      <a:pt x="131936" y="10192"/>
                      <a:pt x="135460" y="14764"/>
                      <a:pt x="137365" y="20860"/>
                    </a:cubicBezTo>
                    <a:cubicBezTo>
                      <a:pt x="139366" y="26956"/>
                      <a:pt x="139175" y="35147"/>
                      <a:pt x="136984" y="45625"/>
                    </a:cubicBezTo>
                    <a:lnTo>
                      <a:pt x="136127" y="49530"/>
                    </a:lnTo>
                    <a:lnTo>
                      <a:pt x="114029" y="49530"/>
                    </a:lnTo>
                    <a:lnTo>
                      <a:pt x="115077" y="45053"/>
                    </a:lnTo>
                    <a:cubicBezTo>
                      <a:pt x="116410" y="38386"/>
                      <a:pt x="116601" y="33147"/>
                      <a:pt x="115648" y="29528"/>
                    </a:cubicBezTo>
                    <a:cubicBezTo>
                      <a:pt x="114791" y="25908"/>
                      <a:pt x="112696" y="23241"/>
                      <a:pt x="109648" y="21622"/>
                    </a:cubicBezTo>
                    <a:cubicBezTo>
                      <a:pt x="106504" y="19907"/>
                      <a:pt x="102504" y="18860"/>
                      <a:pt x="97551" y="18574"/>
                    </a:cubicBezTo>
                    <a:cubicBezTo>
                      <a:pt x="92598" y="18193"/>
                      <a:pt x="86978" y="18002"/>
                      <a:pt x="80596" y="18002"/>
                    </a:cubicBezTo>
                    <a:cubicBezTo>
                      <a:pt x="70690" y="18002"/>
                      <a:pt x="62880" y="18955"/>
                      <a:pt x="57070" y="20765"/>
                    </a:cubicBezTo>
                    <a:cubicBezTo>
                      <a:pt x="51259" y="22670"/>
                      <a:pt x="46687" y="25908"/>
                      <a:pt x="43258" y="30575"/>
                    </a:cubicBezTo>
                    <a:cubicBezTo>
                      <a:pt x="39829" y="35243"/>
                      <a:pt x="36972" y="41434"/>
                      <a:pt x="34686" y="49149"/>
                    </a:cubicBezTo>
                    <a:cubicBezTo>
                      <a:pt x="32495" y="56959"/>
                      <a:pt x="30114" y="66675"/>
                      <a:pt x="27637" y="78391"/>
                    </a:cubicBezTo>
                    <a:cubicBezTo>
                      <a:pt x="25447" y="88773"/>
                      <a:pt x="23827" y="97536"/>
                      <a:pt x="23065" y="104394"/>
                    </a:cubicBezTo>
                    <a:cubicBezTo>
                      <a:pt x="22303" y="111252"/>
                      <a:pt x="22875" y="116777"/>
                      <a:pt x="24970" y="120872"/>
                    </a:cubicBezTo>
                    <a:cubicBezTo>
                      <a:pt x="26971" y="124968"/>
                      <a:pt x="30876" y="127921"/>
                      <a:pt x="36400" y="129731"/>
                    </a:cubicBezTo>
                    <a:cubicBezTo>
                      <a:pt x="41925" y="131540"/>
                      <a:pt x="50212" y="132398"/>
                      <a:pt x="60975" y="132398"/>
                    </a:cubicBezTo>
                    <a:cubicBezTo>
                      <a:pt x="67928" y="132398"/>
                      <a:pt x="73834" y="132112"/>
                      <a:pt x="78787" y="131540"/>
                    </a:cubicBezTo>
                    <a:cubicBezTo>
                      <a:pt x="83740" y="130969"/>
                      <a:pt x="87931" y="129731"/>
                      <a:pt x="91360" y="127635"/>
                    </a:cubicBezTo>
                    <a:cubicBezTo>
                      <a:pt x="94789" y="125635"/>
                      <a:pt x="97646" y="122587"/>
                      <a:pt x="99742" y="118682"/>
                    </a:cubicBezTo>
                    <a:cubicBezTo>
                      <a:pt x="101837" y="114776"/>
                      <a:pt x="103742" y="109442"/>
                      <a:pt x="105171" y="102775"/>
                    </a:cubicBezTo>
                    <a:lnTo>
                      <a:pt x="106504" y="95536"/>
                    </a:lnTo>
                    <a:lnTo>
                      <a:pt x="128698" y="9553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8" name="Freeform: Shape 337">
                <a:extLst>
                  <a:ext uri="{FF2B5EF4-FFF2-40B4-BE49-F238E27FC236}">
                    <a16:creationId xmlns:a16="http://schemas.microsoft.com/office/drawing/2014/main" id="{13B87FCE-5C94-492A-BBBD-3557068038E2}"/>
                  </a:ext>
                </a:extLst>
              </p:cNvPr>
              <p:cNvSpPr/>
              <p:nvPr/>
            </p:nvSpPr>
            <p:spPr>
              <a:xfrm>
                <a:off x="5838510" y="3342417"/>
                <a:ext cx="138539" cy="150209"/>
              </a:xfrm>
              <a:custGeom>
                <a:avLst/>
                <a:gdLst>
                  <a:gd name="connsiteX0" fmla="*/ 128807 w 138539"/>
                  <a:gd name="connsiteY0" fmla="*/ 95345 h 150209"/>
                  <a:gd name="connsiteX1" fmla="*/ 127092 w 138539"/>
                  <a:gd name="connsiteY1" fmla="*/ 103442 h 150209"/>
                  <a:gd name="connsiteX2" fmla="*/ 117091 w 138539"/>
                  <a:gd name="connsiteY2" fmla="*/ 128397 h 150209"/>
                  <a:gd name="connsiteX3" fmla="*/ 100803 w 138539"/>
                  <a:gd name="connsiteY3" fmla="*/ 142399 h 150209"/>
                  <a:gd name="connsiteX4" fmla="*/ 79658 w 138539"/>
                  <a:gd name="connsiteY4" fmla="*/ 148685 h 150209"/>
                  <a:gd name="connsiteX5" fmla="*/ 54893 w 138539"/>
                  <a:gd name="connsiteY5" fmla="*/ 150209 h 150209"/>
                  <a:gd name="connsiteX6" fmla="*/ 19841 w 138539"/>
                  <a:gd name="connsiteY6" fmla="*/ 145733 h 150209"/>
                  <a:gd name="connsiteX7" fmla="*/ 3363 w 138539"/>
                  <a:gd name="connsiteY7" fmla="*/ 131731 h 150209"/>
                  <a:gd name="connsiteX8" fmla="*/ 410 w 138539"/>
                  <a:gd name="connsiteY8" fmla="*/ 107347 h 150209"/>
                  <a:gd name="connsiteX9" fmla="*/ 6125 w 138539"/>
                  <a:gd name="connsiteY9" fmla="*/ 72104 h 150209"/>
                  <a:gd name="connsiteX10" fmla="*/ 14793 w 138539"/>
                  <a:gd name="connsiteY10" fmla="*/ 40672 h 150209"/>
                  <a:gd name="connsiteX11" fmla="*/ 28413 w 138539"/>
                  <a:gd name="connsiteY11" fmla="*/ 18098 h 150209"/>
                  <a:gd name="connsiteX12" fmla="*/ 50035 w 138539"/>
                  <a:gd name="connsiteY12" fmla="*/ 4572 h 150209"/>
                  <a:gd name="connsiteX13" fmla="*/ 83087 w 138539"/>
                  <a:gd name="connsiteY13" fmla="*/ 0 h 150209"/>
                  <a:gd name="connsiteX14" fmla="*/ 107852 w 138539"/>
                  <a:gd name="connsiteY14" fmla="*/ 1238 h 150209"/>
                  <a:gd name="connsiteX15" fmla="*/ 126711 w 138539"/>
                  <a:gd name="connsiteY15" fmla="*/ 7144 h 150209"/>
                  <a:gd name="connsiteX16" fmla="*/ 137189 w 138539"/>
                  <a:gd name="connsiteY16" fmla="*/ 20860 h 150209"/>
                  <a:gd name="connsiteX17" fmla="*/ 136808 w 138539"/>
                  <a:gd name="connsiteY17" fmla="*/ 45625 h 150209"/>
                  <a:gd name="connsiteX18" fmla="*/ 135951 w 138539"/>
                  <a:gd name="connsiteY18" fmla="*/ 49530 h 150209"/>
                  <a:gd name="connsiteX19" fmla="*/ 113853 w 138539"/>
                  <a:gd name="connsiteY19" fmla="*/ 49530 h 150209"/>
                  <a:gd name="connsiteX20" fmla="*/ 114996 w 138539"/>
                  <a:gd name="connsiteY20" fmla="*/ 45053 h 150209"/>
                  <a:gd name="connsiteX21" fmla="*/ 115567 w 138539"/>
                  <a:gd name="connsiteY21" fmla="*/ 29528 h 150209"/>
                  <a:gd name="connsiteX22" fmla="*/ 109566 w 138539"/>
                  <a:gd name="connsiteY22" fmla="*/ 21622 h 150209"/>
                  <a:gd name="connsiteX23" fmla="*/ 97470 w 138539"/>
                  <a:gd name="connsiteY23" fmla="*/ 18574 h 150209"/>
                  <a:gd name="connsiteX24" fmla="*/ 80515 w 138539"/>
                  <a:gd name="connsiteY24" fmla="*/ 18002 h 150209"/>
                  <a:gd name="connsiteX25" fmla="*/ 56988 w 138539"/>
                  <a:gd name="connsiteY25" fmla="*/ 20765 h 150209"/>
                  <a:gd name="connsiteX26" fmla="*/ 43082 w 138539"/>
                  <a:gd name="connsiteY26" fmla="*/ 30575 h 150209"/>
                  <a:gd name="connsiteX27" fmla="*/ 34509 w 138539"/>
                  <a:gd name="connsiteY27" fmla="*/ 49149 h 150209"/>
                  <a:gd name="connsiteX28" fmla="*/ 27556 w 138539"/>
                  <a:gd name="connsiteY28" fmla="*/ 78391 h 150209"/>
                  <a:gd name="connsiteX29" fmla="*/ 22889 w 138539"/>
                  <a:gd name="connsiteY29" fmla="*/ 104394 h 150209"/>
                  <a:gd name="connsiteX30" fmla="*/ 24699 w 138539"/>
                  <a:gd name="connsiteY30" fmla="*/ 120872 h 150209"/>
                  <a:gd name="connsiteX31" fmla="*/ 36129 w 138539"/>
                  <a:gd name="connsiteY31" fmla="*/ 129731 h 150209"/>
                  <a:gd name="connsiteX32" fmla="*/ 60798 w 138539"/>
                  <a:gd name="connsiteY32" fmla="*/ 132398 h 150209"/>
                  <a:gd name="connsiteX33" fmla="*/ 78610 w 138539"/>
                  <a:gd name="connsiteY33" fmla="*/ 131540 h 150209"/>
                  <a:gd name="connsiteX34" fmla="*/ 91183 w 138539"/>
                  <a:gd name="connsiteY34" fmla="*/ 127635 h 150209"/>
                  <a:gd name="connsiteX35" fmla="*/ 99565 w 138539"/>
                  <a:gd name="connsiteY35" fmla="*/ 118682 h 150209"/>
                  <a:gd name="connsiteX36" fmla="*/ 104994 w 138539"/>
                  <a:gd name="connsiteY36" fmla="*/ 102775 h 150209"/>
                  <a:gd name="connsiteX37" fmla="*/ 106423 w 138539"/>
                  <a:gd name="connsiteY37" fmla="*/ 95536 h 150209"/>
                  <a:gd name="connsiteX38" fmla="*/ 128616 w 138539"/>
                  <a:gd name="connsiteY38" fmla="*/ 95536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539" h="150209">
                    <a:moveTo>
                      <a:pt x="128807" y="95345"/>
                    </a:moveTo>
                    <a:lnTo>
                      <a:pt x="127092" y="103442"/>
                    </a:lnTo>
                    <a:cubicBezTo>
                      <a:pt x="124902" y="113919"/>
                      <a:pt x="121473" y="122206"/>
                      <a:pt x="117091" y="128397"/>
                    </a:cubicBezTo>
                    <a:cubicBezTo>
                      <a:pt x="112614" y="134493"/>
                      <a:pt x="107185" y="139160"/>
                      <a:pt x="100803" y="142399"/>
                    </a:cubicBezTo>
                    <a:cubicBezTo>
                      <a:pt x="94422" y="145542"/>
                      <a:pt x="87373" y="147638"/>
                      <a:pt x="79658" y="148685"/>
                    </a:cubicBezTo>
                    <a:cubicBezTo>
                      <a:pt x="71847" y="149733"/>
                      <a:pt x="63656" y="150209"/>
                      <a:pt x="54893" y="150209"/>
                    </a:cubicBezTo>
                    <a:cubicBezTo>
                      <a:pt x="39558" y="150209"/>
                      <a:pt x="27937" y="148685"/>
                      <a:pt x="19841" y="145733"/>
                    </a:cubicBezTo>
                    <a:cubicBezTo>
                      <a:pt x="11840" y="142685"/>
                      <a:pt x="6315" y="138113"/>
                      <a:pt x="3363" y="131731"/>
                    </a:cubicBezTo>
                    <a:cubicBezTo>
                      <a:pt x="315" y="125349"/>
                      <a:pt x="-638" y="117253"/>
                      <a:pt x="410" y="107347"/>
                    </a:cubicBezTo>
                    <a:cubicBezTo>
                      <a:pt x="1458" y="97441"/>
                      <a:pt x="3363" y="85725"/>
                      <a:pt x="6125" y="72104"/>
                    </a:cubicBezTo>
                    <a:cubicBezTo>
                      <a:pt x="8506" y="60198"/>
                      <a:pt x="11459" y="49720"/>
                      <a:pt x="14793" y="40672"/>
                    </a:cubicBezTo>
                    <a:cubicBezTo>
                      <a:pt x="18126" y="31623"/>
                      <a:pt x="22698" y="24098"/>
                      <a:pt x="28413" y="18098"/>
                    </a:cubicBezTo>
                    <a:cubicBezTo>
                      <a:pt x="34128" y="12097"/>
                      <a:pt x="41272" y="7620"/>
                      <a:pt x="50035" y="4572"/>
                    </a:cubicBezTo>
                    <a:cubicBezTo>
                      <a:pt x="58798" y="1429"/>
                      <a:pt x="69847" y="0"/>
                      <a:pt x="83087" y="0"/>
                    </a:cubicBezTo>
                    <a:cubicBezTo>
                      <a:pt x="92040" y="0"/>
                      <a:pt x="100327" y="381"/>
                      <a:pt x="107852" y="1238"/>
                    </a:cubicBezTo>
                    <a:cubicBezTo>
                      <a:pt x="115377" y="2096"/>
                      <a:pt x="121663" y="4001"/>
                      <a:pt x="126711" y="7144"/>
                    </a:cubicBezTo>
                    <a:cubicBezTo>
                      <a:pt x="131760" y="10192"/>
                      <a:pt x="135284" y="14764"/>
                      <a:pt x="137189" y="20860"/>
                    </a:cubicBezTo>
                    <a:cubicBezTo>
                      <a:pt x="139094" y="26956"/>
                      <a:pt x="138999" y="35147"/>
                      <a:pt x="136808" y="45625"/>
                    </a:cubicBezTo>
                    <a:lnTo>
                      <a:pt x="135951" y="49530"/>
                    </a:lnTo>
                    <a:lnTo>
                      <a:pt x="113853" y="49530"/>
                    </a:lnTo>
                    <a:lnTo>
                      <a:pt x="114996" y="45053"/>
                    </a:lnTo>
                    <a:cubicBezTo>
                      <a:pt x="116329" y="38386"/>
                      <a:pt x="116520" y="33147"/>
                      <a:pt x="115567" y="29528"/>
                    </a:cubicBezTo>
                    <a:cubicBezTo>
                      <a:pt x="114615" y="25908"/>
                      <a:pt x="112614" y="23241"/>
                      <a:pt x="109566" y="21622"/>
                    </a:cubicBezTo>
                    <a:cubicBezTo>
                      <a:pt x="106423" y="19907"/>
                      <a:pt x="102518" y="18860"/>
                      <a:pt x="97470" y="18574"/>
                    </a:cubicBezTo>
                    <a:cubicBezTo>
                      <a:pt x="92517" y="18193"/>
                      <a:pt x="86897" y="18002"/>
                      <a:pt x="80515" y="18002"/>
                    </a:cubicBezTo>
                    <a:cubicBezTo>
                      <a:pt x="70609" y="18002"/>
                      <a:pt x="62799" y="18955"/>
                      <a:pt x="56988" y="20765"/>
                    </a:cubicBezTo>
                    <a:cubicBezTo>
                      <a:pt x="51178" y="22670"/>
                      <a:pt x="46606" y="25908"/>
                      <a:pt x="43082" y="30575"/>
                    </a:cubicBezTo>
                    <a:cubicBezTo>
                      <a:pt x="39653" y="35243"/>
                      <a:pt x="36795" y="41434"/>
                      <a:pt x="34509" y="49149"/>
                    </a:cubicBezTo>
                    <a:cubicBezTo>
                      <a:pt x="32319" y="56959"/>
                      <a:pt x="29937" y="66675"/>
                      <a:pt x="27556" y="78391"/>
                    </a:cubicBezTo>
                    <a:cubicBezTo>
                      <a:pt x="25270" y="88773"/>
                      <a:pt x="23746" y="97536"/>
                      <a:pt x="22889" y="104394"/>
                    </a:cubicBezTo>
                    <a:cubicBezTo>
                      <a:pt x="22032" y="111252"/>
                      <a:pt x="22603" y="116777"/>
                      <a:pt x="24699" y="120872"/>
                    </a:cubicBezTo>
                    <a:cubicBezTo>
                      <a:pt x="26699" y="124968"/>
                      <a:pt x="30509" y="127921"/>
                      <a:pt x="36129" y="129731"/>
                    </a:cubicBezTo>
                    <a:cubicBezTo>
                      <a:pt x="41748" y="131540"/>
                      <a:pt x="49940" y="132398"/>
                      <a:pt x="60798" y="132398"/>
                    </a:cubicBezTo>
                    <a:cubicBezTo>
                      <a:pt x="67752" y="132398"/>
                      <a:pt x="73657" y="132112"/>
                      <a:pt x="78610" y="131540"/>
                    </a:cubicBezTo>
                    <a:cubicBezTo>
                      <a:pt x="83563" y="130969"/>
                      <a:pt x="87754" y="129731"/>
                      <a:pt x="91183" y="127635"/>
                    </a:cubicBezTo>
                    <a:cubicBezTo>
                      <a:pt x="94612" y="125635"/>
                      <a:pt x="97470" y="122587"/>
                      <a:pt x="99565" y="118682"/>
                    </a:cubicBezTo>
                    <a:cubicBezTo>
                      <a:pt x="101756" y="114776"/>
                      <a:pt x="103566" y="109442"/>
                      <a:pt x="104994" y="102775"/>
                    </a:cubicBezTo>
                    <a:lnTo>
                      <a:pt x="106423" y="95536"/>
                    </a:lnTo>
                    <a:lnTo>
                      <a:pt x="128616" y="9553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39" name="Freeform: Shape 338">
                <a:extLst>
                  <a:ext uri="{FF2B5EF4-FFF2-40B4-BE49-F238E27FC236}">
                    <a16:creationId xmlns:a16="http://schemas.microsoft.com/office/drawing/2014/main" id="{E0315F99-B7F4-425D-B405-23969E1F4DEC}"/>
                  </a:ext>
                </a:extLst>
              </p:cNvPr>
              <p:cNvSpPr/>
              <p:nvPr/>
            </p:nvSpPr>
            <p:spPr>
              <a:xfrm>
                <a:off x="6351215" y="3342417"/>
                <a:ext cx="141841" cy="150209"/>
              </a:xfrm>
              <a:custGeom>
                <a:avLst/>
                <a:gdLst>
                  <a:gd name="connsiteX0" fmla="*/ 16342 w 141841"/>
                  <a:gd name="connsiteY0" fmla="*/ 37338 h 150209"/>
                  <a:gd name="connsiteX1" fmla="*/ 30725 w 141841"/>
                  <a:gd name="connsiteY1" fmla="*/ 14383 h 150209"/>
                  <a:gd name="connsiteX2" fmla="*/ 53013 w 141841"/>
                  <a:gd name="connsiteY2" fmla="*/ 3048 h 150209"/>
                  <a:gd name="connsiteX3" fmla="*/ 86922 w 141841"/>
                  <a:gd name="connsiteY3" fmla="*/ 0 h 150209"/>
                  <a:gd name="connsiteX4" fmla="*/ 119593 w 141841"/>
                  <a:gd name="connsiteY4" fmla="*/ 3048 h 150209"/>
                  <a:gd name="connsiteX5" fmla="*/ 137024 w 141841"/>
                  <a:gd name="connsiteY5" fmla="*/ 14383 h 150209"/>
                  <a:gd name="connsiteX6" fmla="*/ 141786 w 141841"/>
                  <a:gd name="connsiteY6" fmla="*/ 37338 h 150209"/>
                  <a:gd name="connsiteX7" fmla="*/ 136167 w 141841"/>
                  <a:gd name="connsiteY7" fmla="*/ 75248 h 150209"/>
                  <a:gd name="connsiteX8" fmla="*/ 125499 w 141841"/>
                  <a:gd name="connsiteY8" fmla="*/ 113062 h 150209"/>
                  <a:gd name="connsiteX9" fmla="*/ 111116 w 141841"/>
                  <a:gd name="connsiteY9" fmla="*/ 135827 h 150209"/>
                  <a:gd name="connsiteX10" fmla="*/ 88923 w 141841"/>
                  <a:gd name="connsiteY10" fmla="*/ 147161 h 150209"/>
                  <a:gd name="connsiteX11" fmla="*/ 55014 w 141841"/>
                  <a:gd name="connsiteY11" fmla="*/ 150209 h 150209"/>
                  <a:gd name="connsiteX12" fmla="*/ 22343 w 141841"/>
                  <a:gd name="connsiteY12" fmla="*/ 147161 h 150209"/>
                  <a:gd name="connsiteX13" fmla="*/ 4817 w 141841"/>
                  <a:gd name="connsiteY13" fmla="*/ 135827 h 150209"/>
                  <a:gd name="connsiteX14" fmla="*/ 55 w 141841"/>
                  <a:gd name="connsiteY14" fmla="*/ 113062 h 150209"/>
                  <a:gd name="connsiteX15" fmla="*/ 5674 w 141841"/>
                  <a:gd name="connsiteY15" fmla="*/ 75248 h 150209"/>
                  <a:gd name="connsiteX16" fmla="*/ 16342 w 141841"/>
                  <a:gd name="connsiteY16" fmla="*/ 37338 h 150209"/>
                  <a:gd name="connsiteX17" fmla="*/ 23105 w 141841"/>
                  <a:gd name="connsiteY17" fmla="*/ 105632 h 150209"/>
                  <a:gd name="connsiteX18" fmla="*/ 24629 w 141841"/>
                  <a:gd name="connsiteY18" fmla="*/ 122777 h 150209"/>
                  <a:gd name="connsiteX19" fmla="*/ 35678 w 141841"/>
                  <a:gd name="connsiteY19" fmla="*/ 130493 h 150209"/>
                  <a:gd name="connsiteX20" fmla="*/ 58633 w 141841"/>
                  <a:gd name="connsiteY20" fmla="*/ 132302 h 150209"/>
                  <a:gd name="connsiteX21" fmla="*/ 82255 w 141841"/>
                  <a:gd name="connsiteY21" fmla="*/ 130493 h 150209"/>
                  <a:gd name="connsiteX22" fmla="*/ 96543 w 141841"/>
                  <a:gd name="connsiteY22" fmla="*/ 122777 h 150209"/>
                  <a:gd name="connsiteX23" fmla="*/ 105496 w 141841"/>
                  <a:gd name="connsiteY23" fmla="*/ 105632 h 150209"/>
                  <a:gd name="connsiteX24" fmla="*/ 113211 w 141841"/>
                  <a:gd name="connsiteY24" fmla="*/ 75248 h 150209"/>
                  <a:gd name="connsiteX25" fmla="*/ 118736 w 141841"/>
                  <a:gd name="connsiteY25" fmla="*/ 44577 h 150209"/>
                  <a:gd name="connsiteX26" fmla="*/ 117022 w 141841"/>
                  <a:gd name="connsiteY26" fmla="*/ 27337 h 150209"/>
                  <a:gd name="connsiteX27" fmla="*/ 105972 w 141841"/>
                  <a:gd name="connsiteY27" fmla="*/ 19622 h 150209"/>
                  <a:gd name="connsiteX28" fmla="*/ 83017 w 141841"/>
                  <a:gd name="connsiteY28" fmla="*/ 17812 h 150209"/>
                  <a:gd name="connsiteX29" fmla="*/ 59395 w 141841"/>
                  <a:gd name="connsiteY29" fmla="*/ 19622 h 150209"/>
                  <a:gd name="connsiteX30" fmla="*/ 45108 w 141841"/>
                  <a:gd name="connsiteY30" fmla="*/ 27337 h 150209"/>
                  <a:gd name="connsiteX31" fmla="*/ 36345 w 141841"/>
                  <a:gd name="connsiteY31" fmla="*/ 44577 h 150209"/>
                  <a:gd name="connsiteX32" fmla="*/ 28820 w 141841"/>
                  <a:gd name="connsiteY32" fmla="*/ 75248 h 150209"/>
                  <a:gd name="connsiteX33" fmla="*/ 23200 w 141841"/>
                  <a:gd name="connsiteY33" fmla="*/ 105632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1841" h="150209">
                    <a:moveTo>
                      <a:pt x="16342" y="37338"/>
                    </a:moveTo>
                    <a:cubicBezTo>
                      <a:pt x="20057" y="27527"/>
                      <a:pt x="24820" y="19907"/>
                      <a:pt x="30725" y="14383"/>
                    </a:cubicBezTo>
                    <a:cubicBezTo>
                      <a:pt x="36630" y="8858"/>
                      <a:pt x="44060" y="5048"/>
                      <a:pt x="53013" y="3048"/>
                    </a:cubicBezTo>
                    <a:cubicBezTo>
                      <a:pt x="61967" y="953"/>
                      <a:pt x="73207" y="0"/>
                      <a:pt x="86922" y="0"/>
                    </a:cubicBezTo>
                    <a:cubicBezTo>
                      <a:pt x="100638" y="0"/>
                      <a:pt x="111402" y="1048"/>
                      <a:pt x="119593" y="3048"/>
                    </a:cubicBezTo>
                    <a:cubicBezTo>
                      <a:pt x="127689" y="5048"/>
                      <a:pt x="133500" y="8858"/>
                      <a:pt x="137024" y="14383"/>
                    </a:cubicBezTo>
                    <a:cubicBezTo>
                      <a:pt x="140548" y="19907"/>
                      <a:pt x="142168" y="27527"/>
                      <a:pt x="141786" y="37338"/>
                    </a:cubicBezTo>
                    <a:cubicBezTo>
                      <a:pt x="141405" y="47149"/>
                      <a:pt x="139501" y="59817"/>
                      <a:pt x="136167" y="75248"/>
                    </a:cubicBezTo>
                    <a:cubicBezTo>
                      <a:pt x="132833" y="90678"/>
                      <a:pt x="129309" y="103346"/>
                      <a:pt x="125499" y="113062"/>
                    </a:cubicBezTo>
                    <a:cubicBezTo>
                      <a:pt x="121784" y="122777"/>
                      <a:pt x="116926" y="130397"/>
                      <a:pt x="111116" y="135827"/>
                    </a:cubicBezTo>
                    <a:cubicBezTo>
                      <a:pt x="105306" y="141351"/>
                      <a:pt x="97781" y="145161"/>
                      <a:pt x="88923" y="147161"/>
                    </a:cubicBezTo>
                    <a:cubicBezTo>
                      <a:pt x="79969" y="149162"/>
                      <a:pt x="68634" y="150209"/>
                      <a:pt x="55014" y="150209"/>
                    </a:cubicBezTo>
                    <a:cubicBezTo>
                      <a:pt x="41393" y="150209"/>
                      <a:pt x="30534" y="149162"/>
                      <a:pt x="22343" y="147161"/>
                    </a:cubicBezTo>
                    <a:cubicBezTo>
                      <a:pt x="14247" y="145161"/>
                      <a:pt x="8436" y="141351"/>
                      <a:pt x="4817" y="135827"/>
                    </a:cubicBezTo>
                    <a:cubicBezTo>
                      <a:pt x="1293" y="130302"/>
                      <a:pt x="-326" y="122777"/>
                      <a:pt x="55" y="113062"/>
                    </a:cubicBezTo>
                    <a:cubicBezTo>
                      <a:pt x="435" y="103346"/>
                      <a:pt x="2340" y="90773"/>
                      <a:pt x="5674" y="75248"/>
                    </a:cubicBezTo>
                    <a:cubicBezTo>
                      <a:pt x="9008" y="59722"/>
                      <a:pt x="12628" y="47149"/>
                      <a:pt x="16342" y="37338"/>
                    </a:cubicBezTo>
                    <a:moveTo>
                      <a:pt x="23105" y="105632"/>
                    </a:moveTo>
                    <a:cubicBezTo>
                      <a:pt x="22153" y="113157"/>
                      <a:pt x="22724" y="118872"/>
                      <a:pt x="24629" y="122777"/>
                    </a:cubicBezTo>
                    <a:cubicBezTo>
                      <a:pt x="26534" y="126682"/>
                      <a:pt x="30249" y="129254"/>
                      <a:pt x="35678" y="130493"/>
                    </a:cubicBezTo>
                    <a:cubicBezTo>
                      <a:pt x="41107" y="131731"/>
                      <a:pt x="48727" y="132302"/>
                      <a:pt x="58633" y="132302"/>
                    </a:cubicBezTo>
                    <a:cubicBezTo>
                      <a:pt x="68539" y="132302"/>
                      <a:pt x="76445" y="131731"/>
                      <a:pt x="82255" y="130493"/>
                    </a:cubicBezTo>
                    <a:cubicBezTo>
                      <a:pt x="88161" y="129254"/>
                      <a:pt x="92923" y="126682"/>
                      <a:pt x="96543" y="122777"/>
                    </a:cubicBezTo>
                    <a:cubicBezTo>
                      <a:pt x="100162" y="118872"/>
                      <a:pt x="103210" y="113157"/>
                      <a:pt x="105496" y="105632"/>
                    </a:cubicBezTo>
                    <a:cubicBezTo>
                      <a:pt x="107878" y="98107"/>
                      <a:pt x="110449" y="87916"/>
                      <a:pt x="113211" y="75248"/>
                    </a:cubicBezTo>
                    <a:cubicBezTo>
                      <a:pt x="116069" y="62389"/>
                      <a:pt x="117879" y="52197"/>
                      <a:pt x="118736" y="44577"/>
                    </a:cubicBezTo>
                    <a:cubicBezTo>
                      <a:pt x="119593" y="37052"/>
                      <a:pt x="119022" y="31337"/>
                      <a:pt x="117022" y="27337"/>
                    </a:cubicBezTo>
                    <a:cubicBezTo>
                      <a:pt x="115116" y="23432"/>
                      <a:pt x="111402" y="20860"/>
                      <a:pt x="105972" y="19622"/>
                    </a:cubicBezTo>
                    <a:cubicBezTo>
                      <a:pt x="100543" y="18383"/>
                      <a:pt x="92923" y="17812"/>
                      <a:pt x="83017" y="17812"/>
                    </a:cubicBezTo>
                    <a:cubicBezTo>
                      <a:pt x="73111" y="17812"/>
                      <a:pt x="65205" y="18479"/>
                      <a:pt x="59395" y="19622"/>
                    </a:cubicBezTo>
                    <a:cubicBezTo>
                      <a:pt x="53490" y="20860"/>
                      <a:pt x="48727" y="23336"/>
                      <a:pt x="45108" y="27337"/>
                    </a:cubicBezTo>
                    <a:cubicBezTo>
                      <a:pt x="41488" y="31242"/>
                      <a:pt x="38535" y="36957"/>
                      <a:pt x="36345" y="44577"/>
                    </a:cubicBezTo>
                    <a:cubicBezTo>
                      <a:pt x="34059" y="52102"/>
                      <a:pt x="31582" y="62389"/>
                      <a:pt x="28820" y="75248"/>
                    </a:cubicBezTo>
                    <a:cubicBezTo>
                      <a:pt x="26058" y="87916"/>
                      <a:pt x="24153" y="98012"/>
                      <a:pt x="23200" y="105632"/>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40" name="Graphic 424">
                <a:extLst>
                  <a:ext uri="{FF2B5EF4-FFF2-40B4-BE49-F238E27FC236}">
                    <a16:creationId xmlns:a16="http://schemas.microsoft.com/office/drawing/2014/main" id="{F6D105B8-D9E7-4F2B-8680-B051AEBD5981}"/>
                  </a:ext>
                </a:extLst>
              </p:cNvPr>
              <p:cNvGrpSpPr/>
              <p:nvPr/>
            </p:nvGrpSpPr>
            <p:grpSpPr>
              <a:xfrm>
                <a:off x="5381625" y="3233737"/>
                <a:ext cx="1432312" cy="391667"/>
                <a:chOff x="5381625" y="3233737"/>
                <a:chExt cx="1432312" cy="391667"/>
              </a:xfrm>
              <a:solidFill>
                <a:srgbClr val="A1ABB3"/>
              </a:solidFill>
            </p:grpSpPr>
            <p:sp>
              <p:nvSpPr>
                <p:cNvPr id="341" name="Freeform: Shape 340">
                  <a:extLst>
                    <a:ext uri="{FF2B5EF4-FFF2-40B4-BE49-F238E27FC236}">
                      <a16:creationId xmlns:a16="http://schemas.microsoft.com/office/drawing/2014/main" id="{DD1BC4F6-1D89-4CB1-8C94-F23BF77B157C}"/>
                    </a:ext>
                  </a:extLst>
                </p:cNvPr>
                <p:cNvSpPr/>
                <p:nvPr/>
              </p:nvSpPr>
              <p:spPr>
                <a:xfrm>
                  <a:off x="6505670" y="3342321"/>
                  <a:ext cx="146685" cy="148685"/>
                </a:xfrm>
                <a:custGeom>
                  <a:avLst/>
                  <a:gdLst>
                    <a:gd name="connsiteX0" fmla="*/ 49530 w 146685"/>
                    <a:gd name="connsiteY0" fmla="*/ 19622 h 148685"/>
                    <a:gd name="connsiteX1" fmla="*/ 50101 w 146685"/>
                    <a:gd name="connsiteY1" fmla="*/ 19622 h 148685"/>
                    <a:gd name="connsiteX2" fmla="*/ 59912 w 146685"/>
                    <a:gd name="connsiteY2" fmla="*/ 9144 h 148685"/>
                    <a:gd name="connsiteX3" fmla="*/ 72485 w 146685"/>
                    <a:gd name="connsiteY3" fmla="*/ 3239 h 148685"/>
                    <a:gd name="connsiteX4" fmla="*/ 86201 w 146685"/>
                    <a:gd name="connsiteY4" fmla="*/ 572 h 148685"/>
                    <a:gd name="connsiteX5" fmla="*/ 99631 w 146685"/>
                    <a:gd name="connsiteY5" fmla="*/ 0 h 148685"/>
                    <a:gd name="connsiteX6" fmla="*/ 123825 w 146685"/>
                    <a:gd name="connsiteY6" fmla="*/ 2286 h 148685"/>
                    <a:gd name="connsiteX7" fmla="*/ 139541 w 146685"/>
                    <a:gd name="connsiteY7" fmla="*/ 10287 h 148685"/>
                    <a:gd name="connsiteX8" fmla="*/ 146399 w 146685"/>
                    <a:gd name="connsiteY8" fmla="*/ 25813 h 148685"/>
                    <a:gd name="connsiteX9" fmla="*/ 144113 w 146685"/>
                    <a:gd name="connsiteY9" fmla="*/ 50959 h 148685"/>
                    <a:gd name="connsiteX10" fmla="*/ 123444 w 146685"/>
                    <a:gd name="connsiteY10" fmla="*/ 148685 h 148685"/>
                    <a:gd name="connsiteX11" fmla="*/ 101251 w 146685"/>
                    <a:gd name="connsiteY11" fmla="*/ 148685 h 148685"/>
                    <a:gd name="connsiteX12" fmla="*/ 122206 w 146685"/>
                    <a:gd name="connsiteY12" fmla="*/ 49244 h 148685"/>
                    <a:gd name="connsiteX13" fmla="*/ 123730 w 146685"/>
                    <a:gd name="connsiteY13" fmla="*/ 33052 h 148685"/>
                    <a:gd name="connsiteX14" fmla="*/ 119444 w 146685"/>
                    <a:gd name="connsiteY14" fmla="*/ 23527 h 148685"/>
                    <a:gd name="connsiteX15" fmla="*/ 109347 w 146685"/>
                    <a:gd name="connsiteY15" fmla="*/ 19050 h 148685"/>
                    <a:gd name="connsiteX16" fmla="*/ 93726 w 146685"/>
                    <a:gd name="connsiteY16" fmla="*/ 17907 h 148685"/>
                    <a:gd name="connsiteX17" fmla="*/ 71247 w 146685"/>
                    <a:gd name="connsiteY17" fmla="*/ 20098 h 148685"/>
                    <a:gd name="connsiteX18" fmla="*/ 56293 w 146685"/>
                    <a:gd name="connsiteY18" fmla="*/ 27623 h 148685"/>
                    <a:gd name="connsiteX19" fmla="*/ 46768 w 146685"/>
                    <a:gd name="connsiteY19" fmla="*/ 41624 h 148685"/>
                    <a:gd name="connsiteX20" fmla="*/ 40386 w 146685"/>
                    <a:gd name="connsiteY20" fmla="*/ 62865 h 148685"/>
                    <a:gd name="connsiteX21" fmla="*/ 22193 w 146685"/>
                    <a:gd name="connsiteY21" fmla="*/ 148590 h 148685"/>
                    <a:gd name="connsiteX22" fmla="*/ 0 w 146685"/>
                    <a:gd name="connsiteY22" fmla="*/ 148590 h 148685"/>
                    <a:gd name="connsiteX23" fmla="*/ 31337 w 146685"/>
                    <a:gd name="connsiteY23" fmla="*/ 1524 h 148685"/>
                    <a:gd name="connsiteX24" fmla="*/ 53435 w 146685"/>
                    <a:gd name="connsiteY24" fmla="*/ 1524 h 148685"/>
                    <a:gd name="connsiteX25" fmla="*/ 49530 w 146685"/>
                    <a:gd name="connsiteY25" fmla="*/ 19526 h 148685"/>
                    <a:gd name="connsiteX26" fmla="*/ 49530 w 146685"/>
                    <a:gd name="connsiteY26" fmla="*/ 19526 h 14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6685" h="148685">
                      <a:moveTo>
                        <a:pt x="49530" y="19622"/>
                      </a:moveTo>
                      <a:lnTo>
                        <a:pt x="50101" y="19622"/>
                      </a:lnTo>
                      <a:cubicBezTo>
                        <a:pt x="52769" y="15145"/>
                        <a:pt x="56007" y="11621"/>
                        <a:pt x="59912" y="9144"/>
                      </a:cubicBezTo>
                      <a:cubicBezTo>
                        <a:pt x="63817" y="6668"/>
                        <a:pt x="68008" y="4667"/>
                        <a:pt x="72485" y="3239"/>
                      </a:cubicBezTo>
                      <a:cubicBezTo>
                        <a:pt x="76962" y="1810"/>
                        <a:pt x="81534" y="953"/>
                        <a:pt x="86201" y="572"/>
                      </a:cubicBezTo>
                      <a:cubicBezTo>
                        <a:pt x="90869" y="191"/>
                        <a:pt x="95345" y="0"/>
                        <a:pt x="99631" y="0"/>
                      </a:cubicBezTo>
                      <a:cubicBezTo>
                        <a:pt x="109156" y="0"/>
                        <a:pt x="117157" y="762"/>
                        <a:pt x="123825" y="2286"/>
                      </a:cubicBezTo>
                      <a:cubicBezTo>
                        <a:pt x="130493" y="3810"/>
                        <a:pt x="135731" y="6477"/>
                        <a:pt x="139541" y="10287"/>
                      </a:cubicBezTo>
                      <a:cubicBezTo>
                        <a:pt x="143351" y="14097"/>
                        <a:pt x="145637" y="19241"/>
                        <a:pt x="146399" y="25813"/>
                      </a:cubicBezTo>
                      <a:cubicBezTo>
                        <a:pt x="147161" y="32385"/>
                        <a:pt x="146399" y="40767"/>
                        <a:pt x="144113" y="50959"/>
                      </a:cubicBezTo>
                      <a:lnTo>
                        <a:pt x="123444" y="148685"/>
                      </a:lnTo>
                      <a:lnTo>
                        <a:pt x="101251" y="148685"/>
                      </a:lnTo>
                      <a:lnTo>
                        <a:pt x="122206" y="49244"/>
                      </a:lnTo>
                      <a:cubicBezTo>
                        <a:pt x="123730" y="42482"/>
                        <a:pt x="124206" y="37148"/>
                        <a:pt x="123730" y="33052"/>
                      </a:cubicBezTo>
                      <a:cubicBezTo>
                        <a:pt x="123253" y="28956"/>
                        <a:pt x="121825" y="25718"/>
                        <a:pt x="119444" y="23527"/>
                      </a:cubicBezTo>
                      <a:cubicBezTo>
                        <a:pt x="116967" y="21241"/>
                        <a:pt x="113633" y="19812"/>
                        <a:pt x="109347" y="19050"/>
                      </a:cubicBezTo>
                      <a:cubicBezTo>
                        <a:pt x="105061" y="18288"/>
                        <a:pt x="99822" y="17907"/>
                        <a:pt x="93726" y="17907"/>
                      </a:cubicBezTo>
                      <a:cubicBezTo>
                        <a:pt x="84773" y="17907"/>
                        <a:pt x="77248" y="18669"/>
                        <a:pt x="71247" y="20098"/>
                      </a:cubicBezTo>
                      <a:cubicBezTo>
                        <a:pt x="65151" y="21622"/>
                        <a:pt x="60198" y="24098"/>
                        <a:pt x="56293" y="27623"/>
                      </a:cubicBezTo>
                      <a:cubicBezTo>
                        <a:pt x="52388" y="31147"/>
                        <a:pt x="49149" y="35814"/>
                        <a:pt x="46768" y="41624"/>
                      </a:cubicBezTo>
                      <a:cubicBezTo>
                        <a:pt x="44386" y="47434"/>
                        <a:pt x="42196" y="54483"/>
                        <a:pt x="40386" y="62865"/>
                      </a:cubicBezTo>
                      <a:lnTo>
                        <a:pt x="22193" y="148590"/>
                      </a:lnTo>
                      <a:lnTo>
                        <a:pt x="0" y="148590"/>
                      </a:lnTo>
                      <a:lnTo>
                        <a:pt x="31337" y="1524"/>
                      </a:lnTo>
                      <a:lnTo>
                        <a:pt x="53435" y="1524"/>
                      </a:lnTo>
                      <a:lnTo>
                        <a:pt x="49530" y="19526"/>
                      </a:lnTo>
                      <a:lnTo>
                        <a:pt x="49530" y="1952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2" name="Freeform: Shape 341">
                  <a:extLst>
                    <a:ext uri="{FF2B5EF4-FFF2-40B4-BE49-F238E27FC236}">
                      <a16:creationId xmlns:a16="http://schemas.microsoft.com/office/drawing/2014/main" id="{407F4B06-C4B9-49D5-AB92-37467F1A1378}"/>
                    </a:ext>
                  </a:extLst>
                </p:cNvPr>
                <p:cNvSpPr/>
                <p:nvPr/>
              </p:nvSpPr>
              <p:spPr>
                <a:xfrm>
                  <a:off x="6673664" y="3342226"/>
                  <a:ext cx="140272" cy="150399"/>
                </a:xfrm>
                <a:custGeom>
                  <a:avLst/>
                  <a:gdLst>
                    <a:gd name="connsiteX0" fmla="*/ 127948 w 140272"/>
                    <a:gd name="connsiteY0" fmla="*/ 104203 h 150399"/>
                    <a:gd name="connsiteX1" fmla="*/ 126805 w 140272"/>
                    <a:gd name="connsiteY1" fmla="*/ 109537 h 150399"/>
                    <a:gd name="connsiteX2" fmla="*/ 116708 w 140272"/>
                    <a:gd name="connsiteY2" fmla="*/ 132302 h 150399"/>
                    <a:gd name="connsiteX3" fmla="*/ 100230 w 140272"/>
                    <a:gd name="connsiteY3" fmla="*/ 144494 h 150399"/>
                    <a:gd name="connsiteX4" fmla="*/ 79275 w 140272"/>
                    <a:gd name="connsiteY4" fmla="*/ 149352 h 150399"/>
                    <a:gd name="connsiteX5" fmla="*/ 55463 w 140272"/>
                    <a:gd name="connsiteY5" fmla="*/ 150400 h 150399"/>
                    <a:gd name="connsiteX6" fmla="*/ 21744 w 140272"/>
                    <a:gd name="connsiteY6" fmla="*/ 146590 h 150399"/>
                    <a:gd name="connsiteX7" fmla="*/ 4409 w 140272"/>
                    <a:gd name="connsiteY7" fmla="*/ 134017 h 150399"/>
                    <a:gd name="connsiteX8" fmla="*/ 122 w 140272"/>
                    <a:gd name="connsiteY8" fmla="*/ 110776 h 150399"/>
                    <a:gd name="connsiteX9" fmla="*/ 5456 w 140272"/>
                    <a:gd name="connsiteY9" fmla="*/ 75343 h 150399"/>
                    <a:gd name="connsiteX10" fmla="*/ 16220 w 140272"/>
                    <a:gd name="connsiteY10" fmla="*/ 37814 h 150399"/>
                    <a:gd name="connsiteX11" fmla="*/ 31460 w 140272"/>
                    <a:gd name="connsiteY11" fmla="*/ 14859 h 150399"/>
                    <a:gd name="connsiteX12" fmla="*/ 54129 w 140272"/>
                    <a:gd name="connsiteY12" fmla="*/ 3238 h 150399"/>
                    <a:gd name="connsiteX13" fmla="*/ 87467 w 140272"/>
                    <a:gd name="connsiteY13" fmla="*/ 0 h 150399"/>
                    <a:gd name="connsiteX14" fmla="*/ 116899 w 140272"/>
                    <a:gd name="connsiteY14" fmla="*/ 2476 h 150399"/>
                    <a:gd name="connsiteX15" fmla="*/ 134139 w 140272"/>
                    <a:gd name="connsiteY15" fmla="*/ 12097 h 150399"/>
                    <a:gd name="connsiteX16" fmla="*/ 140235 w 140272"/>
                    <a:gd name="connsiteY16" fmla="*/ 32004 h 150399"/>
                    <a:gd name="connsiteX17" fmla="*/ 136235 w 140272"/>
                    <a:gd name="connsiteY17" fmla="*/ 65151 h 150399"/>
                    <a:gd name="connsiteX18" fmla="*/ 133187 w 140272"/>
                    <a:gd name="connsiteY18" fmla="*/ 80010 h 150399"/>
                    <a:gd name="connsiteX19" fmla="*/ 27269 w 140272"/>
                    <a:gd name="connsiteY19" fmla="*/ 80010 h 150399"/>
                    <a:gd name="connsiteX20" fmla="*/ 22506 w 140272"/>
                    <a:gd name="connsiteY20" fmla="*/ 107633 h 150399"/>
                    <a:gd name="connsiteX21" fmla="*/ 24602 w 140272"/>
                    <a:gd name="connsiteY21" fmla="*/ 123444 h 150399"/>
                    <a:gd name="connsiteX22" fmla="*/ 36127 w 140272"/>
                    <a:gd name="connsiteY22" fmla="*/ 130588 h 150399"/>
                    <a:gd name="connsiteX23" fmla="*/ 59177 w 140272"/>
                    <a:gd name="connsiteY23" fmla="*/ 132302 h 150399"/>
                    <a:gd name="connsiteX24" fmla="*/ 78227 w 140272"/>
                    <a:gd name="connsiteY24" fmla="*/ 131731 h 150399"/>
                    <a:gd name="connsiteX25" fmla="*/ 91372 w 140272"/>
                    <a:gd name="connsiteY25" fmla="*/ 128778 h 150399"/>
                    <a:gd name="connsiteX26" fmla="*/ 99659 w 140272"/>
                    <a:gd name="connsiteY26" fmla="*/ 121920 h 150399"/>
                    <a:gd name="connsiteX27" fmla="*/ 104326 w 140272"/>
                    <a:gd name="connsiteY27" fmla="*/ 109633 h 150399"/>
                    <a:gd name="connsiteX28" fmla="*/ 105469 w 140272"/>
                    <a:gd name="connsiteY28" fmla="*/ 104013 h 150399"/>
                    <a:gd name="connsiteX29" fmla="*/ 128138 w 140272"/>
                    <a:gd name="connsiteY29" fmla="*/ 104013 h 150399"/>
                    <a:gd name="connsiteX30" fmla="*/ 113946 w 140272"/>
                    <a:gd name="connsiteY30" fmla="*/ 62294 h 150399"/>
                    <a:gd name="connsiteX31" fmla="*/ 116994 w 140272"/>
                    <a:gd name="connsiteY31" fmla="*/ 37814 h 150399"/>
                    <a:gd name="connsiteX32" fmla="*/ 114041 w 140272"/>
                    <a:gd name="connsiteY32" fmla="*/ 24479 h 150399"/>
                    <a:gd name="connsiteX33" fmla="*/ 103373 w 140272"/>
                    <a:gd name="connsiteY33" fmla="*/ 19050 h 150399"/>
                    <a:gd name="connsiteX34" fmla="*/ 83371 w 140272"/>
                    <a:gd name="connsiteY34" fmla="*/ 18097 h 150399"/>
                    <a:gd name="connsiteX35" fmla="*/ 59463 w 140272"/>
                    <a:gd name="connsiteY35" fmla="*/ 20193 h 150399"/>
                    <a:gd name="connsiteX36" fmla="*/ 45461 w 140272"/>
                    <a:gd name="connsiteY36" fmla="*/ 27432 h 150399"/>
                    <a:gd name="connsiteX37" fmla="*/ 37270 w 140272"/>
                    <a:gd name="connsiteY37" fmla="*/ 41148 h 150399"/>
                    <a:gd name="connsiteX38" fmla="*/ 30983 w 140272"/>
                    <a:gd name="connsiteY38" fmla="*/ 62294 h 150399"/>
                    <a:gd name="connsiteX39" fmla="*/ 113851 w 140272"/>
                    <a:gd name="connsiteY39" fmla="*/ 62294 h 15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0272" h="150399">
                      <a:moveTo>
                        <a:pt x="127948" y="104203"/>
                      </a:moveTo>
                      <a:lnTo>
                        <a:pt x="126805" y="109537"/>
                      </a:lnTo>
                      <a:cubicBezTo>
                        <a:pt x="124709" y="119253"/>
                        <a:pt x="121376" y="126873"/>
                        <a:pt x="116708" y="132302"/>
                      </a:cubicBezTo>
                      <a:cubicBezTo>
                        <a:pt x="112041" y="137827"/>
                        <a:pt x="106517" y="141923"/>
                        <a:pt x="100230" y="144494"/>
                      </a:cubicBezTo>
                      <a:cubicBezTo>
                        <a:pt x="93848" y="147161"/>
                        <a:pt x="86895" y="148781"/>
                        <a:pt x="79275" y="149352"/>
                      </a:cubicBezTo>
                      <a:cubicBezTo>
                        <a:pt x="71560" y="150019"/>
                        <a:pt x="63654" y="150400"/>
                        <a:pt x="55463" y="150400"/>
                      </a:cubicBezTo>
                      <a:cubicBezTo>
                        <a:pt x="41175" y="150400"/>
                        <a:pt x="29840" y="149161"/>
                        <a:pt x="21744" y="146590"/>
                      </a:cubicBezTo>
                      <a:cubicBezTo>
                        <a:pt x="13648" y="144113"/>
                        <a:pt x="7838" y="139827"/>
                        <a:pt x="4409" y="134017"/>
                      </a:cubicBezTo>
                      <a:cubicBezTo>
                        <a:pt x="980" y="128111"/>
                        <a:pt x="-449" y="120396"/>
                        <a:pt x="122" y="110776"/>
                      </a:cubicBezTo>
                      <a:cubicBezTo>
                        <a:pt x="694" y="101156"/>
                        <a:pt x="2504" y="89345"/>
                        <a:pt x="5456" y="75343"/>
                      </a:cubicBezTo>
                      <a:cubicBezTo>
                        <a:pt x="8600" y="60008"/>
                        <a:pt x="12219" y="47530"/>
                        <a:pt x="16220" y="37814"/>
                      </a:cubicBezTo>
                      <a:cubicBezTo>
                        <a:pt x="20220" y="28099"/>
                        <a:pt x="25364" y="20479"/>
                        <a:pt x="31460" y="14859"/>
                      </a:cubicBezTo>
                      <a:cubicBezTo>
                        <a:pt x="37556" y="9239"/>
                        <a:pt x="45176" y="5429"/>
                        <a:pt x="54129" y="3238"/>
                      </a:cubicBezTo>
                      <a:cubicBezTo>
                        <a:pt x="63083" y="1143"/>
                        <a:pt x="74227" y="0"/>
                        <a:pt x="87467" y="0"/>
                      </a:cubicBezTo>
                      <a:cubicBezTo>
                        <a:pt x="99468" y="0"/>
                        <a:pt x="109184" y="857"/>
                        <a:pt x="116899" y="2476"/>
                      </a:cubicBezTo>
                      <a:cubicBezTo>
                        <a:pt x="124519" y="4191"/>
                        <a:pt x="130329" y="7334"/>
                        <a:pt x="134139" y="12097"/>
                      </a:cubicBezTo>
                      <a:cubicBezTo>
                        <a:pt x="137949" y="16859"/>
                        <a:pt x="140045" y="23527"/>
                        <a:pt x="140235" y="32004"/>
                      </a:cubicBezTo>
                      <a:cubicBezTo>
                        <a:pt x="140521" y="40481"/>
                        <a:pt x="139187" y="51530"/>
                        <a:pt x="136235" y="65151"/>
                      </a:cubicBezTo>
                      <a:lnTo>
                        <a:pt x="133187" y="80010"/>
                      </a:lnTo>
                      <a:lnTo>
                        <a:pt x="27269" y="80010"/>
                      </a:lnTo>
                      <a:cubicBezTo>
                        <a:pt x="24887" y="91535"/>
                        <a:pt x="23268" y="100774"/>
                        <a:pt x="22506" y="107633"/>
                      </a:cubicBezTo>
                      <a:cubicBezTo>
                        <a:pt x="21744" y="114490"/>
                        <a:pt x="22506" y="119824"/>
                        <a:pt x="24602" y="123444"/>
                      </a:cubicBezTo>
                      <a:cubicBezTo>
                        <a:pt x="26697" y="127063"/>
                        <a:pt x="30602" y="129445"/>
                        <a:pt x="36127" y="130588"/>
                      </a:cubicBezTo>
                      <a:cubicBezTo>
                        <a:pt x="41651" y="131731"/>
                        <a:pt x="49271" y="132302"/>
                        <a:pt x="59177" y="132302"/>
                      </a:cubicBezTo>
                      <a:cubicBezTo>
                        <a:pt x="66702" y="132302"/>
                        <a:pt x="72989" y="132112"/>
                        <a:pt x="78227" y="131731"/>
                      </a:cubicBezTo>
                      <a:cubicBezTo>
                        <a:pt x="83466" y="131350"/>
                        <a:pt x="87848" y="130397"/>
                        <a:pt x="91372" y="128778"/>
                      </a:cubicBezTo>
                      <a:cubicBezTo>
                        <a:pt x="94896" y="127254"/>
                        <a:pt x="97658" y="124873"/>
                        <a:pt x="99659" y="121920"/>
                      </a:cubicBezTo>
                      <a:cubicBezTo>
                        <a:pt x="101659" y="118967"/>
                        <a:pt x="103183" y="114776"/>
                        <a:pt x="104326" y="109633"/>
                      </a:cubicBezTo>
                      <a:lnTo>
                        <a:pt x="105469" y="104013"/>
                      </a:lnTo>
                      <a:lnTo>
                        <a:pt x="128138" y="104013"/>
                      </a:lnTo>
                      <a:close/>
                      <a:moveTo>
                        <a:pt x="113946" y="62294"/>
                      </a:moveTo>
                      <a:cubicBezTo>
                        <a:pt x="115851" y="51816"/>
                        <a:pt x="116804" y="43625"/>
                        <a:pt x="116994" y="37814"/>
                      </a:cubicBezTo>
                      <a:cubicBezTo>
                        <a:pt x="117185" y="31909"/>
                        <a:pt x="116232" y="27432"/>
                        <a:pt x="114041" y="24479"/>
                      </a:cubicBezTo>
                      <a:cubicBezTo>
                        <a:pt x="111851" y="21526"/>
                        <a:pt x="108326" y="19717"/>
                        <a:pt x="103373" y="19050"/>
                      </a:cubicBezTo>
                      <a:cubicBezTo>
                        <a:pt x="98420" y="18383"/>
                        <a:pt x="91753" y="18097"/>
                        <a:pt x="83371" y="18097"/>
                      </a:cubicBezTo>
                      <a:cubicBezTo>
                        <a:pt x="73274" y="18097"/>
                        <a:pt x="65273" y="18764"/>
                        <a:pt x="59463" y="20193"/>
                      </a:cubicBezTo>
                      <a:cubicBezTo>
                        <a:pt x="53558" y="21622"/>
                        <a:pt x="48986" y="24003"/>
                        <a:pt x="45461" y="27432"/>
                      </a:cubicBezTo>
                      <a:cubicBezTo>
                        <a:pt x="41937" y="30861"/>
                        <a:pt x="39270" y="35433"/>
                        <a:pt x="37270" y="41148"/>
                      </a:cubicBezTo>
                      <a:cubicBezTo>
                        <a:pt x="35365" y="46863"/>
                        <a:pt x="33269" y="53911"/>
                        <a:pt x="30983" y="62294"/>
                      </a:cubicBezTo>
                      <a:lnTo>
                        <a:pt x="113851" y="6229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3" name="Freeform: Shape 342">
                  <a:extLst>
                    <a:ext uri="{FF2B5EF4-FFF2-40B4-BE49-F238E27FC236}">
                      <a16:creationId xmlns:a16="http://schemas.microsoft.com/office/drawing/2014/main" id="{5E024E21-7F14-4307-8E59-E3742044F53D}"/>
                    </a:ext>
                  </a:extLst>
                </p:cNvPr>
                <p:cNvSpPr/>
                <p:nvPr/>
              </p:nvSpPr>
              <p:spPr>
                <a:xfrm>
                  <a:off x="6262306" y="3344893"/>
                  <a:ext cx="56578" cy="146113"/>
                </a:xfrm>
                <a:custGeom>
                  <a:avLst/>
                  <a:gdLst>
                    <a:gd name="connsiteX0" fmla="*/ 56579 w 56578"/>
                    <a:gd name="connsiteY0" fmla="*/ 124206 h 146113"/>
                    <a:gd name="connsiteX1" fmla="*/ 26670 w 56578"/>
                    <a:gd name="connsiteY1" fmla="*/ 124206 h 146113"/>
                    <a:gd name="connsiteX2" fmla="*/ 52006 w 56578"/>
                    <a:gd name="connsiteY2" fmla="*/ 0 h 146113"/>
                    <a:gd name="connsiteX3" fmla="*/ 29908 w 56578"/>
                    <a:gd name="connsiteY3" fmla="*/ 0 h 146113"/>
                    <a:gd name="connsiteX4" fmla="*/ 0 w 56578"/>
                    <a:gd name="connsiteY4" fmla="*/ 146114 h 146113"/>
                    <a:gd name="connsiteX5" fmla="*/ 22193 w 56578"/>
                    <a:gd name="connsiteY5" fmla="*/ 146114 h 146113"/>
                    <a:gd name="connsiteX6" fmla="*/ 22193 w 56578"/>
                    <a:gd name="connsiteY6" fmla="*/ 146114 h 146113"/>
                    <a:gd name="connsiteX7" fmla="*/ 56579 w 56578"/>
                    <a:gd name="connsiteY7" fmla="*/ 146114 h 146113"/>
                    <a:gd name="connsiteX8" fmla="*/ 56579 w 56578"/>
                    <a:gd name="connsiteY8" fmla="*/ 124206 h 146113"/>
                    <a:gd name="connsiteX9" fmla="*/ 56579 w 56578"/>
                    <a:gd name="connsiteY9" fmla="*/ 124206 h 1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578" h="146113">
                      <a:moveTo>
                        <a:pt x="56579" y="124206"/>
                      </a:moveTo>
                      <a:lnTo>
                        <a:pt x="26670" y="124206"/>
                      </a:lnTo>
                      <a:lnTo>
                        <a:pt x="52006" y="0"/>
                      </a:lnTo>
                      <a:lnTo>
                        <a:pt x="29908" y="0"/>
                      </a:lnTo>
                      <a:lnTo>
                        <a:pt x="0" y="146114"/>
                      </a:lnTo>
                      <a:lnTo>
                        <a:pt x="22193" y="146114"/>
                      </a:lnTo>
                      <a:lnTo>
                        <a:pt x="22193" y="146114"/>
                      </a:lnTo>
                      <a:lnTo>
                        <a:pt x="56579" y="146114"/>
                      </a:lnTo>
                      <a:lnTo>
                        <a:pt x="56579" y="124206"/>
                      </a:lnTo>
                      <a:lnTo>
                        <a:pt x="56579" y="12420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4" name="Freeform: Shape 343">
                  <a:extLst>
                    <a:ext uri="{FF2B5EF4-FFF2-40B4-BE49-F238E27FC236}">
                      <a16:creationId xmlns:a16="http://schemas.microsoft.com/office/drawing/2014/main" id="{0C909194-702C-4181-8471-D9024E6AC0DD}"/>
                    </a:ext>
                  </a:extLst>
                </p:cNvPr>
                <p:cNvSpPr/>
                <p:nvPr/>
              </p:nvSpPr>
              <p:spPr>
                <a:xfrm>
                  <a:off x="5381625" y="3233737"/>
                  <a:ext cx="391667" cy="391667"/>
                </a:xfrm>
                <a:custGeom>
                  <a:avLst/>
                  <a:gdLst>
                    <a:gd name="connsiteX0" fmla="*/ 276797 w 391667"/>
                    <a:gd name="connsiteY0" fmla="*/ 187643 h 391667"/>
                    <a:gd name="connsiteX1" fmla="*/ 200120 w 391667"/>
                    <a:gd name="connsiteY1" fmla="*/ 267462 h 391667"/>
                    <a:gd name="connsiteX2" fmla="*/ 200501 w 391667"/>
                    <a:gd name="connsiteY2" fmla="*/ 284512 h 391667"/>
                    <a:gd name="connsiteX3" fmla="*/ 205645 w 391667"/>
                    <a:gd name="connsiteY3" fmla="*/ 306324 h 391667"/>
                    <a:gd name="connsiteX4" fmla="*/ 156305 w 391667"/>
                    <a:gd name="connsiteY4" fmla="*/ 333470 h 391667"/>
                    <a:gd name="connsiteX5" fmla="*/ 168021 w 391667"/>
                    <a:gd name="connsiteY5" fmla="*/ 294037 h 391667"/>
                    <a:gd name="connsiteX6" fmla="*/ 159353 w 391667"/>
                    <a:gd name="connsiteY6" fmla="*/ 261271 h 391667"/>
                    <a:gd name="connsiteX7" fmla="*/ 194215 w 391667"/>
                    <a:gd name="connsiteY7" fmla="*/ 221456 h 391667"/>
                    <a:gd name="connsiteX8" fmla="*/ 218980 w 391667"/>
                    <a:gd name="connsiteY8" fmla="*/ 223742 h 391667"/>
                    <a:gd name="connsiteX9" fmla="*/ 229267 w 391667"/>
                    <a:gd name="connsiteY9" fmla="*/ 207931 h 391667"/>
                    <a:gd name="connsiteX10" fmla="*/ 196310 w 391667"/>
                    <a:gd name="connsiteY10" fmla="*/ 204692 h 391667"/>
                    <a:gd name="connsiteX11" fmla="*/ 195548 w 391667"/>
                    <a:gd name="connsiteY11" fmla="*/ 202216 h 391667"/>
                    <a:gd name="connsiteX12" fmla="*/ 186881 w 391667"/>
                    <a:gd name="connsiteY12" fmla="*/ 189929 h 391667"/>
                    <a:gd name="connsiteX13" fmla="*/ 233934 w 391667"/>
                    <a:gd name="connsiteY13" fmla="*/ 191643 h 391667"/>
                    <a:gd name="connsiteX14" fmla="*/ 234506 w 391667"/>
                    <a:gd name="connsiteY14" fmla="*/ 183737 h 391667"/>
                    <a:gd name="connsiteX15" fmla="*/ 231743 w 391667"/>
                    <a:gd name="connsiteY15" fmla="*/ 171545 h 391667"/>
                    <a:gd name="connsiteX16" fmla="*/ 165830 w 391667"/>
                    <a:gd name="connsiteY16" fmla="*/ 176975 h 391667"/>
                    <a:gd name="connsiteX17" fmla="*/ 162687 w 391667"/>
                    <a:gd name="connsiteY17" fmla="*/ 175641 h 391667"/>
                    <a:gd name="connsiteX18" fmla="*/ 143542 w 391667"/>
                    <a:gd name="connsiteY18" fmla="*/ 165735 h 391667"/>
                    <a:gd name="connsiteX19" fmla="*/ 223742 w 391667"/>
                    <a:gd name="connsiteY19" fmla="*/ 153448 h 391667"/>
                    <a:gd name="connsiteX20" fmla="*/ 218599 w 391667"/>
                    <a:gd name="connsiteY20" fmla="*/ 144018 h 391667"/>
                    <a:gd name="connsiteX21" fmla="*/ 216122 w 391667"/>
                    <a:gd name="connsiteY21" fmla="*/ 135255 h 391667"/>
                    <a:gd name="connsiteX22" fmla="*/ 126778 w 391667"/>
                    <a:gd name="connsiteY22" fmla="*/ 152210 h 391667"/>
                    <a:gd name="connsiteX23" fmla="*/ 116205 w 391667"/>
                    <a:gd name="connsiteY23" fmla="*/ 138684 h 391667"/>
                    <a:gd name="connsiteX24" fmla="*/ 218885 w 391667"/>
                    <a:gd name="connsiteY24" fmla="*/ 118967 h 391667"/>
                    <a:gd name="connsiteX25" fmla="*/ 230696 w 391667"/>
                    <a:gd name="connsiteY25" fmla="*/ 102775 h 391667"/>
                    <a:gd name="connsiteX26" fmla="*/ 109347 w 391667"/>
                    <a:gd name="connsiteY26" fmla="*/ 123539 h 391667"/>
                    <a:gd name="connsiteX27" fmla="*/ 105918 w 391667"/>
                    <a:gd name="connsiteY27" fmla="*/ 100870 h 391667"/>
                    <a:gd name="connsiteX28" fmla="*/ 260318 w 391667"/>
                    <a:gd name="connsiteY28" fmla="*/ 82391 h 391667"/>
                    <a:gd name="connsiteX29" fmla="*/ 291941 w 391667"/>
                    <a:gd name="connsiteY29" fmla="*/ 92107 h 391667"/>
                    <a:gd name="connsiteX30" fmla="*/ 264986 w 391667"/>
                    <a:gd name="connsiteY30" fmla="*/ 118015 h 391667"/>
                    <a:gd name="connsiteX31" fmla="*/ 276797 w 391667"/>
                    <a:gd name="connsiteY31" fmla="*/ 187738 h 391667"/>
                    <a:gd name="connsiteX32" fmla="*/ 276797 w 391667"/>
                    <a:gd name="connsiteY32" fmla="*/ 187738 h 391667"/>
                    <a:gd name="connsiteX33" fmla="*/ 195834 w 391667"/>
                    <a:gd name="connsiteY33" fmla="*/ 0 h 391667"/>
                    <a:gd name="connsiteX34" fmla="*/ 0 w 391667"/>
                    <a:gd name="connsiteY34" fmla="*/ 195834 h 391667"/>
                    <a:gd name="connsiteX35" fmla="*/ 195834 w 391667"/>
                    <a:gd name="connsiteY35" fmla="*/ 391668 h 391667"/>
                    <a:gd name="connsiteX36" fmla="*/ 391668 w 391667"/>
                    <a:gd name="connsiteY36" fmla="*/ 195834 h 391667"/>
                    <a:gd name="connsiteX37" fmla="*/ 195834 w 391667"/>
                    <a:gd name="connsiteY37" fmla="*/ 0 h 391667"/>
                    <a:gd name="connsiteX38" fmla="*/ 195834 w 391667"/>
                    <a:gd name="connsiteY38" fmla="*/ 0 h 39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1667" h="391667">
                      <a:moveTo>
                        <a:pt x="276797" y="187643"/>
                      </a:moveTo>
                      <a:cubicBezTo>
                        <a:pt x="277273" y="243935"/>
                        <a:pt x="213169" y="253079"/>
                        <a:pt x="200120" y="267462"/>
                      </a:cubicBezTo>
                      <a:cubicBezTo>
                        <a:pt x="188976" y="279749"/>
                        <a:pt x="200501" y="284512"/>
                        <a:pt x="200501" y="284512"/>
                      </a:cubicBezTo>
                      <a:cubicBezTo>
                        <a:pt x="200501" y="284512"/>
                        <a:pt x="213646" y="293084"/>
                        <a:pt x="205645" y="306324"/>
                      </a:cubicBezTo>
                      <a:cubicBezTo>
                        <a:pt x="198406" y="318325"/>
                        <a:pt x="163163" y="331089"/>
                        <a:pt x="156305" y="333470"/>
                      </a:cubicBezTo>
                      <a:cubicBezTo>
                        <a:pt x="164211" y="329946"/>
                        <a:pt x="194691" y="304991"/>
                        <a:pt x="168021" y="294037"/>
                      </a:cubicBezTo>
                      <a:cubicBezTo>
                        <a:pt x="139637" y="282416"/>
                        <a:pt x="159353" y="261271"/>
                        <a:pt x="159353" y="261271"/>
                      </a:cubicBezTo>
                      <a:cubicBezTo>
                        <a:pt x="164211" y="254127"/>
                        <a:pt x="186500" y="238887"/>
                        <a:pt x="194215" y="221456"/>
                      </a:cubicBezTo>
                      <a:cubicBezTo>
                        <a:pt x="202502" y="220885"/>
                        <a:pt x="210979" y="221742"/>
                        <a:pt x="218980" y="223742"/>
                      </a:cubicBezTo>
                      <a:cubicBezTo>
                        <a:pt x="223171" y="218980"/>
                        <a:pt x="226695" y="213646"/>
                        <a:pt x="229267" y="207931"/>
                      </a:cubicBezTo>
                      <a:cubicBezTo>
                        <a:pt x="218885" y="204692"/>
                        <a:pt x="207359" y="203454"/>
                        <a:pt x="196310" y="204692"/>
                      </a:cubicBezTo>
                      <a:cubicBezTo>
                        <a:pt x="196120" y="203835"/>
                        <a:pt x="195834" y="203073"/>
                        <a:pt x="195548" y="202216"/>
                      </a:cubicBezTo>
                      <a:cubicBezTo>
                        <a:pt x="194119" y="198120"/>
                        <a:pt x="191357" y="194024"/>
                        <a:pt x="186881" y="189929"/>
                      </a:cubicBezTo>
                      <a:cubicBezTo>
                        <a:pt x="202025" y="185452"/>
                        <a:pt x="219170" y="186404"/>
                        <a:pt x="233934" y="191643"/>
                      </a:cubicBezTo>
                      <a:cubicBezTo>
                        <a:pt x="234315" y="189071"/>
                        <a:pt x="234506" y="186404"/>
                        <a:pt x="234506" y="183737"/>
                      </a:cubicBezTo>
                      <a:cubicBezTo>
                        <a:pt x="234029" y="179546"/>
                        <a:pt x="232981" y="175451"/>
                        <a:pt x="231743" y="171545"/>
                      </a:cubicBezTo>
                      <a:cubicBezTo>
                        <a:pt x="210312" y="167259"/>
                        <a:pt x="186214" y="168402"/>
                        <a:pt x="165830" y="176975"/>
                      </a:cubicBezTo>
                      <a:cubicBezTo>
                        <a:pt x="164783" y="176498"/>
                        <a:pt x="163735" y="176117"/>
                        <a:pt x="162687" y="175641"/>
                      </a:cubicBezTo>
                      <a:cubicBezTo>
                        <a:pt x="155448" y="172593"/>
                        <a:pt x="149066" y="169259"/>
                        <a:pt x="143542" y="165735"/>
                      </a:cubicBezTo>
                      <a:cubicBezTo>
                        <a:pt x="167450" y="152781"/>
                        <a:pt x="197358" y="149257"/>
                        <a:pt x="223742" y="153448"/>
                      </a:cubicBezTo>
                      <a:cubicBezTo>
                        <a:pt x="222028" y="150305"/>
                        <a:pt x="220313" y="147161"/>
                        <a:pt x="218599" y="144018"/>
                      </a:cubicBezTo>
                      <a:cubicBezTo>
                        <a:pt x="217265" y="141065"/>
                        <a:pt x="216503" y="138113"/>
                        <a:pt x="216122" y="135255"/>
                      </a:cubicBezTo>
                      <a:cubicBezTo>
                        <a:pt x="186404" y="131445"/>
                        <a:pt x="152972" y="136493"/>
                        <a:pt x="126778" y="152210"/>
                      </a:cubicBezTo>
                      <a:cubicBezTo>
                        <a:pt x="122492" y="147733"/>
                        <a:pt x="119063" y="143256"/>
                        <a:pt x="116205" y="138684"/>
                      </a:cubicBezTo>
                      <a:cubicBezTo>
                        <a:pt x="145828" y="119920"/>
                        <a:pt x="184594" y="114109"/>
                        <a:pt x="218885" y="118967"/>
                      </a:cubicBezTo>
                      <a:cubicBezTo>
                        <a:pt x="221552" y="113157"/>
                        <a:pt x="225743" y="107728"/>
                        <a:pt x="230696" y="102775"/>
                      </a:cubicBezTo>
                      <a:cubicBezTo>
                        <a:pt x="166021" y="90869"/>
                        <a:pt x="117539" y="118396"/>
                        <a:pt x="109347" y="123539"/>
                      </a:cubicBezTo>
                      <a:cubicBezTo>
                        <a:pt x="106680" y="115253"/>
                        <a:pt x="105918" y="107442"/>
                        <a:pt x="105918" y="100870"/>
                      </a:cubicBezTo>
                      <a:cubicBezTo>
                        <a:pt x="163068" y="68199"/>
                        <a:pt x="223171" y="73724"/>
                        <a:pt x="260318" y="82391"/>
                      </a:cubicBezTo>
                      <a:cubicBezTo>
                        <a:pt x="274987" y="85820"/>
                        <a:pt x="286036" y="89821"/>
                        <a:pt x="291941" y="92107"/>
                      </a:cubicBezTo>
                      <a:cubicBezTo>
                        <a:pt x="291941" y="92107"/>
                        <a:pt x="276225" y="103442"/>
                        <a:pt x="264986" y="118015"/>
                      </a:cubicBezTo>
                      <a:cubicBezTo>
                        <a:pt x="243935" y="145352"/>
                        <a:pt x="276511" y="157544"/>
                        <a:pt x="276797" y="187738"/>
                      </a:cubicBezTo>
                      <a:lnTo>
                        <a:pt x="276797" y="187738"/>
                      </a:lnTo>
                      <a:close/>
                      <a:moveTo>
                        <a:pt x="195834" y="0"/>
                      </a:moveTo>
                      <a:cubicBezTo>
                        <a:pt x="87630" y="0"/>
                        <a:pt x="0" y="87630"/>
                        <a:pt x="0" y="195834"/>
                      </a:cubicBezTo>
                      <a:cubicBezTo>
                        <a:pt x="0" y="304038"/>
                        <a:pt x="87630" y="391668"/>
                        <a:pt x="195834" y="391668"/>
                      </a:cubicBezTo>
                      <a:cubicBezTo>
                        <a:pt x="304038" y="391668"/>
                        <a:pt x="391668" y="304038"/>
                        <a:pt x="391668" y="195834"/>
                      </a:cubicBezTo>
                      <a:cubicBezTo>
                        <a:pt x="391668" y="87630"/>
                        <a:pt x="303943" y="0"/>
                        <a:pt x="195834" y="0"/>
                      </a:cubicBezTo>
                      <a:lnTo>
                        <a:pt x="195834"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345" name="Group 344">
              <a:extLst>
                <a:ext uri="{FF2B5EF4-FFF2-40B4-BE49-F238E27FC236}">
                  <a16:creationId xmlns:a16="http://schemas.microsoft.com/office/drawing/2014/main" id="{AA7FD282-1BA8-446B-B4F2-566815ADB88B}"/>
                </a:ext>
              </a:extLst>
            </p:cNvPr>
            <p:cNvGrpSpPr/>
            <p:nvPr userDrawn="1"/>
          </p:nvGrpSpPr>
          <p:grpSpPr>
            <a:xfrm>
              <a:off x="8215186" y="1729940"/>
              <a:ext cx="785459" cy="218095"/>
              <a:chOff x="3752157" y="4227000"/>
              <a:chExt cx="1432179" cy="397667"/>
            </a:xfrm>
          </p:grpSpPr>
          <p:sp>
            <p:nvSpPr>
              <p:cNvPr id="346" name="Freeform: Shape 345">
                <a:extLst>
                  <a:ext uri="{FF2B5EF4-FFF2-40B4-BE49-F238E27FC236}">
                    <a16:creationId xmlns:a16="http://schemas.microsoft.com/office/drawing/2014/main" id="{3A3FE841-352E-4594-82C3-3A218171F90A}"/>
                  </a:ext>
                </a:extLst>
              </p:cNvPr>
              <p:cNvSpPr/>
              <p:nvPr/>
            </p:nvSpPr>
            <p:spPr>
              <a:xfrm>
                <a:off x="4904300" y="4320630"/>
                <a:ext cx="119919" cy="214788"/>
              </a:xfrm>
              <a:custGeom>
                <a:avLst/>
                <a:gdLst>
                  <a:gd name="connsiteX0" fmla="*/ 116967 w 119919"/>
                  <a:gd name="connsiteY0" fmla="*/ 0 h 214788"/>
                  <a:gd name="connsiteX1" fmla="*/ 86963 w 119919"/>
                  <a:gd name="connsiteY1" fmla="*/ 0 h 214788"/>
                  <a:gd name="connsiteX2" fmla="*/ 29527 w 119919"/>
                  <a:gd name="connsiteY2" fmla="*/ 105632 h 214788"/>
                  <a:gd name="connsiteX3" fmla="*/ 29527 w 119919"/>
                  <a:gd name="connsiteY3" fmla="*/ 0 h 214788"/>
                  <a:gd name="connsiteX4" fmla="*/ 0 w 119919"/>
                  <a:gd name="connsiteY4" fmla="*/ 0 h 214788"/>
                  <a:gd name="connsiteX5" fmla="*/ 0 w 119919"/>
                  <a:gd name="connsiteY5" fmla="*/ 214789 h 214788"/>
                  <a:gd name="connsiteX6" fmla="*/ 29527 w 119919"/>
                  <a:gd name="connsiteY6" fmla="*/ 214789 h 214788"/>
                  <a:gd name="connsiteX7" fmla="*/ 29527 w 119919"/>
                  <a:gd name="connsiteY7" fmla="*/ 107823 h 214788"/>
                  <a:gd name="connsiteX8" fmla="*/ 89249 w 119919"/>
                  <a:gd name="connsiteY8" fmla="*/ 214789 h 214788"/>
                  <a:gd name="connsiteX9" fmla="*/ 119920 w 119919"/>
                  <a:gd name="connsiteY9" fmla="*/ 214789 h 214788"/>
                  <a:gd name="connsiteX10" fmla="*/ 57721 w 119919"/>
                  <a:gd name="connsiteY10" fmla="*/ 106013 h 214788"/>
                  <a:gd name="connsiteX11" fmla="*/ 116967 w 119919"/>
                  <a:gd name="connsiteY11" fmla="*/ 0 h 21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19" h="214788">
                    <a:moveTo>
                      <a:pt x="116967" y="0"/>
                    </a:moveTo>
                    <a:lnTo>
                      <a:pt x="86963" y="0"/>
                    </a:lnTo>
                    <a:cubicBezTo>
                      <a:pt x="72676" y="29147"/>
                      <a:pt x="29813" y="104775"/>
                      <a:pt x="29527" y="105632"/>
                    </a:cubicBezTo>
                    <a:lnTo>
                      <a:pt x="29527" y="0"/>
                    </a:lnTo>
                    <a:lnTo>
                      <a:pt x="0" y="0"/>
                    </a:lnTo>
                    <a:lnTo>
                      <a:pt x="0" y="214789"/>
                    </a:lnTo>
                    <a:lnTo>
                      <a:pt x="29527" y="214789"/>
                    </a:lnTo>
                    <a:lnTo>
                      <a:pt x="29527" y="107823"/>
                    </a:lnTo>
                    <a:cubicBezTo>
                      <a:pt x="29527" y="107823"/>
                      <a:pt x="72009" y="187262"/>
                      <a:pt x="89249" y="214789"/>
                    </a:cubicBezTo>
                    <a:lnTo>
                      <a:pt x="119920" y="214789"/>
                    </a:lnTo>
                    <a:cubicBezTo>
                      <a:pt x="115634" y="208026"/>
                      <a:pt x="57817" y="106013"/>
                      <a:pt x="57721" y="106013"/>
                    </a:cubicBezTo>
                    <a:cubicBezTo>
                      <a:pt x="58579" y="106013"/>
                      <a:pt x="116967" y="0"/>
                      <a:pt x="116967" y="0"/>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7" name="Freeform: Shape 346">
                <a:extLst>
                  <a:ext uri="{FF2B5EF4-FFF2-40B4-BE49-F238E27FC236}">
                    <a16:creationId xmlns:a16="http://schemas.microsoft.com/office/drawing/2014/main" id="{39A2DF9D-1312-4DD4-BDFA-2A4C195D1D13}"/>
                  </a:ext>
                </a:extLst>
              </p:cNvPr>
              <p:cNvSpPr/>
              <p:nvPr/>
            </p:nvSpPr>
            <p:spPr>
              <a:xfrm>
                <a:off x="4205546" y="4320440"/>
                <a:ext cx="83820" cy="214979"/>
              </a:xfrm>
              <a:custGeom>
                <a:avLst/>
                <a:gdLst>
                  <a:gd name="connsiteX0" fmla="*/ 83820 w 83820"/>
                  <a:gd name="connsiteY0" fmla="*/ 190310 h 214979"/>
                  <a:gd name="connsiteX1" fmla="*/ 30194 w 83820"/>
                  <a:gd name="connsiteY1" fmla="*/ 190310 h 214979"/>
                  <a:gd name="connsiteX2" fmla="*/ 30194 w 83820"/>
                  <a:gd name="connsiteY2" fmla="*/ 119729 h 214979"/>
                  <a:gd name="connsiteX3" fmla="*/ 83820 w 83820"/>
                  <a:gd name="connsiteY3" fmla="*/ 119729 h 214979"/>
                  <a:gd name="connsiteX4" fmla="*/ 83820 w 83820"/>
                  <a:gd name="connsiteY4" fmla="*/ 95440 h 214979"/>
                  <a:gd name="connsiteX5" fmla="*/ 29528 w 83820"/>
                  <a:gd name="connsiteY5" fmla="*/ 95440 h 214979"/>
                  <a:gd name="connsiteX6" fmla="*/ 29528 w 83820"/>
                  <a:gd name="connsiteY6" fmla="*/ 24289 h 214979"/>
                  <a:gd name="connsiteX7" fmla="*/ 83820 w 83820"/>
                  <a:gd name="connsiteY7" fmla="*/ 24289 h 214979"/>
                  <a:gd name="connsiteX8" fmla="*/ 83820 w 83820"/>
                  <a:gd name="connsiteY8" fmla="*/ 0 h 214979"/>
                  <a:gd name="connsiteX9" fmla="*/ 0 w 83820"/>
                  <a:gd name="connsiteY9" fmla="*/ 0 h 214979"/>
                  <a:gd name="connsiteX10" fmla="*/ 0 w 83820"/>
                  <a:gd name="connsiteY10" fmla="*/ 214979 h 214979"/>
                  <a:gd name="connsiteX11" fmla="*/ 83820 w 83820"/>
                  <a:gd name="connsiteY11" fmla="*/ 214979 h 214979"/>
                  <a:gd name="connsiteX12" fmla="*/ 83820 w 83820"/>
                  <a:gd name="connsiteY12" fmla="*/ 190310 h 214979"/>
                  <a:gd name="connsiteX13" fmla="*/ 83820 w 83820"/>
                  <a:gd name="connsiteY13" fmla="*/ 190310 h 2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20" h="214979">
                    <a:moveTo>
                      <a:pt x="83820" y="190310"/>
                    </a:moveTo>
                    <a:lnTo>
                      <a:pt x="30194" y="190310"/>
                    </a:lnTo>
                    <a:lnTo>
                      <a:pt x="30194" y="119729"/>
                    </a:lnTo>
                    <a:lnTo>
                      <a:pt x="83820" y="119729"/>
                    </a:lnTo>
                    <a:lnTo>
                      <a:pt x="83820" y="95440"/>
                    </a:lnTo>
                    <a:lnTo>
                      <a:pt x="29528" y="95440"/>
                    </a:lnTo>
                    <a:lnTo>
                      <a:pt x="29528" y="24289"/>
                    </a:lnTo>
                    <a:lnTo>
                      <a:pt x="83820" y="24289"/>
                    </a:lnTo>
                    <a:lnTo>
                      <a:pt x="83820" y="0"/>
                    </a:lnTo>
                    <a:lnTo>
                      <a:pt x="0" y="0"/>
                    </a:lnTo>
                    <a:lnTo>
                      <a:pt x="0" y="214979"/>
                    </a:lnTo>
                    <a:lnTo>
                      <a:pt x="83820" y="214979"/>
                    </a:lnTo>
                    <a:lnTo>
                      <a:pt x="83820" y="190310"/>
                    </a:lnTo>
                    <a:lnTo>
                      <a:pt x="83820" y="1903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8" name="Freeform: Shape 347">
                <a:extLst>
                  <a:ext uri="{FF2B5EF4-FFF2-40B4-BE49-F238E27FC236}">
                    <a16:creationId xmlns:a16="http://schemas.microsoft.com/office/drawing/2014/main" id="{8D20265F-982F-4610-AD52-2010A0AEBEA6}"/>
                  </a:ext>
                </a:extLst>
              </p:cNvPr>
              <p:cNvSpPr/>
              <p:nvPr/>
            </p:nvSpPr>
            <p:spPr>
              <a:xfrm>
                <a:off x="4743138" y="4320440"/>
                <a:ext cx="83819" cy="214979"/>
              </a:xfrm>
              <a:custGeom>
                <a:avLst/>
                <a:gdLst>
                  <a:gd name="connsiteX0" fmla="*/ 83820 w 83819"/>
                  <a:gd name="connsiteY0" fmla="*/ 190310 h 214979"/>
                  <a:gd name="connsiteX1" fmla="*/ 30194 w 83819"/>
                  <a:gd name="connsiteY1" fmla="*/ 190310 h 214979"/>
                  <a:gd name="connsiteX2" fmla="*/ 30194 w 83819"/>
                  <a:gd name="connsiteY2" fmla="*/ 119729 h 214979"/>
                  <a:gd name="connsiteX3" fmla="*/ 83820 w 83819"/>
                  <a:gd name="connsiteY3" fmla="*/ 119729 h 214979"/>
                  <a:gd name="connsiteX4" fmla="*/ 83820 w 83819"/>
                  <a:gd name="connsiteY4" fmla="*/ 95440 h 214979"/>
                  <a:gd name="connsiteX5" fmla="*/ 29432 w 83819"/>
                  <a:gd name="connsiteY5" fmla="*/ 95440 h 214979"/>
                  <a:gd name="connsiteX6" fmla="*/ 29432 w 83819"/>
                  <a:gd name="connsiteY6" fmla="*/ 24289 h 214979"/>
                  <a:gd name="connsiteX7" fmla="*/ 83820 w 83819"/>
                  <a:gd name="connsiteY7" fmla="*/ 24289 h 214979"/>
                  <a:gd name="connsiteX8" fmla="*/ 83820 w 83819"/>
                  <a:gd name="connsiteY8" fmla="*/ 0 h 214979"/>
                  <a:gd name="connsiteX9" fmla="*/ 0 w 83819"/>
                  <a:gd name="connsiteY9" fmla="*/ 0 h 214979"/>
                  <a:gd name="connsiteX10" fmla="*/ 0 w 83819"/>
                  <a:gd name="connsiteY10" fmla="*/ 214979 h 214979"/>
                  <a:gd name="connsiteX11" fmla="*/ 83820 w 83819"/>
                  <a:gd name="connsiteY11" fmla="*/ 214979 h 214979"/>
                  <a:gd name="connsiteX12" fmla="*/ 83820 w 83819"/>
                  <a:gd name="connsiteY12" fmla="*/ 190310 h 214979"/>
                  <a:gd name="connsiteX13" fmla="*/ 83820 w 83819"/>
                  <a:gd name="connsiteY13" fmla="*/ 190310 h 2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19" h="214979">
                    <a:moveTo>
                      <a:pt x="83820" y="190310"/>
                    </a:moveTo>
                    <a:lnTo>
                      <a:pt x="30194" y="190310"/>
                    </a:lnTo>
                    <a:lnTo>
                      <a:pt x="30194" y="119729"/>
                    </a:lnTo>
                    <a:lnTo>
                      <a:pt x="83820" y="119729"/>
                    </a:lnTo>
                    <a:lnTo>
                      <a:pt x="83820" y="95440"/>
                    </a:lnTo>
                    <a:lnTo>
                      <a:pt x="29432" y="95440"/>
                    </a:lnTo>
                    <a:lnTo>
                      <a:pt x="29432" y="24289"/>
                    </a:lnTo>
                    <a:lnTo>
                      <a:pt x="83820" y="24289"/>
                    </a:lnTo>
                    <a:lnTo>
                      <a:pt x="83820" y="0"/>
                    </a:lnTo>
                    <a:lnTo>
                      <a:pt x="0" y="0"/>
                    </a:lnTo>
                    <a:lnTo>
                      <a:pt x="0" y="214979"/>
                    </a:lnTo>
                    <a:lnTo>
                      <a:pt x="83820" y="214979"/>
                    </a:lnTo>
                    <a:lnTo>
                      <a:pt x="83820" y="190310"/>
                    </a:lnTo>
                    <a:lnTo>
                      <a:pt x="83820" y="1903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49" name="Freeform: Shape 348">
                <a:extLst>
                  <a:ext uri="{FF2B5EF4-FFF2-40B4-BE49-F238E27FC236}">
                    <a16:creationId xmlns:a16="http://schemas.microsoft.com/office/drawing/2014/main" id="{94F3A403-015D-4CA4-B74A-9D07BC3C89E1}"/>
                  </a:ext>
                </a:extLst>
              </p:cNvPr>
              <p:cNvSpPr/>
              <p:nvPr/>
            </p:nvSpPr>
            <p:spPr>
              <a:xfrm>
                <a:off x="4568735" y="4320345"/>
                <a:ext cx="101536" cy="215074"/>
              </a:xfrm>
              <a:custGeom>
                <a:avLst/>
                <a:gdLst>
                  <a:gd name="connsiteX0" fmla="*/ 40005 w 101536"/>
                  <a:gd name="connsiteY0" fmla="*/ 98012 h 215074"/>
                  <a:gd name="connsiteX1" fmla="*/ 29146 w 101536"/>
                  <a:gd name="connsiteY1" fmla="*/ 98012 h 215074"/>
                  <a:gd name="connsiteX2" fmla="*/ 29146 w 101536"/>
                  <a:gd name="connsiteY2" fmla="*/ 24670 h 215074"/>
                  <a:gd name="connsiteX3" fmla="*/ 37814 w 101536"/>
                  <a:gd name="connsiteY3" fmla="*/ 24670 h 215074"/>
                  <a:gd name="connsiteX4" fmla="*/ 67437 w 101536"/>
                  <a:gd name="connsiteY4" fmla="*/ 61341 h 215074"/>
                  <a:gd name="connsiteX5" fmla="*/ 40005 w 101536"/>
                  <a:gd name="connsiteY5" fmla="*/ 98012 h 215074"/>
                  <a:gd name="connsiteX6" fmla="*/ 64389 w 101536"/>
                  <a:gd name="connsiteY6" fmla="*/ 119824 h 215074"/>
                  <a:gd name="connsiteX7" fmla="*/ 65437 w 101536"/>
                  <a:gd name="connsiteY7" fmla="*/ 119634 h 215074"/>
                  <a:gd name="connsiteX8" fmla="*/ 65246 w 101536"/>
                  <a:gd name="connsiteY8" fmla="*/ 119539 h 215074"/>
                  <a:gd name="connsiteX9" fmla="*/ 97631 w 101536"/>
                  <a:gd name="connsiteY9" fmla="*/ 61722 h 215074"/>
                  <a:gd name="connsiteX10" fmla="*/ 97631 w 101536"/>
                  <a:gd name="connsiteY10" fmla="*/ 61722 h 215074"/>
                  <a:gd name="connsiteX11" fmla="*/ 97631 w 101536"/>
                  <a:gd name="connsiteY11" fmla="*/ 61436 h 215074"/>
                  <a:gd name="connsiteX12" fmla="*/ 97631 w 101536"/>
                  <a:gd name="connsiteY12" fmla="*/ 61150 h 215074"/>
                  <a:gd name="connsiteX13" fmla="*/ 97631 w 101536"/>
                  <a:gd name="connsiteY13" fmla="*/ 61150 h 215074"/>
                  <a:gd name="connsiteX14" fmla="*/ 37147 w 101536"/>
                  <a:gd name="connsiteY14" fmla="*/ 0 h 215074"/>
                  <a:gd name="connsiteX15" fmla="*/ 0 w 101536"/>
                  <a:gd name="connsiteY15" fmla="*/ 0 h 215074"/>
                  <a:gd name="connsiteX16" fmla="*/ 0 w 101536"/>
                  <a:gd name="connsiteY16" fmla="*/ 215075 h 215074"/>
                  <a:gd name="connsiteX17" fmla="*/ 29146 w 101536"/>
                  <a:gd name="connsiteY17" fmla="*/ 215075 h 215074"/>
                  <a:gd name="connsiteX18" fmla="*/ 29146 w 101536"/>
                  <a:gd name="connsiteY18" fmla="*/ 99632 h 215074"/>
                  <a:gd name="connsiteX19" fmla="*/ 29242 w 101536"/>
                  <a:gd name="connsiteY19" fmla="*/ 99632 h 215074"/>
                  <a:gd name="connsiteX20" fmla="*/ 73342 w 101536"/>
                  <a:gd name="connsiteY20" fmla="*/ 215075 h 215074"/>
                  <a:gd name="connsiteX21" fmla="*/ 101536 w 101536"/>
                  <a:gd name="connsiteY21" fmla="*/ 215075 h 215074"/>
                  <a:gd name="connsiteX22" fmla="*/ 64389 w 101536"/>
                  <a:gd name="connsiteY22" fmla="*/ 119824 h 21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536" h="215074">
                    <a:moveTo>
                      <a:pt x="40005" y="98012"/>
                    </a:moveTo>
                    <a:lnTo>
                      <a:pt x="29146" y="98012"/>
                    </a:lnTo>
                    <a:lnTo>
                      <a:pt x="29146" y="24670"/>
                    </a:lnTo>
                    <a:lnTo>
                      <a:pt x="37814" y="24670"/>
                    </a:lnTo>
                    <a:cubicBezTo>
                      <a:pt x="57245" y="25051"/>
                      <a:pt x="67246" y="29242"/>
                      <a:pt x="67437" y="61341"/>
                    </a:cubicBezTo>
                    <a:cubicBezTo>
                      <a:pt x="67342" y="92297"/>
                      <a:pt x="58007" y="97346"/>
                      <a:pt x="40005" y="98012"/>
                    </a:cubicBezTo>
                    <a:moveTo>
                      <a:pt x="64389" y="119824"/>
                    </a:moveTo>
                    <a:cubicBezTo>
                      <a:pt x="64389" y="119824"/>
                      <a:pt x="65056" y="119634"/>
                      <a:pt x="65437" y="119634"/>
                    </a:cubicBezTo>
                    <a:cubicBezTo>
                      <a:pt x="65437" y="119634"/>
                      <a:pt x="65437" y="119539"/>
                      <a:pt x="65246" y="119539"/>
                    </a:cubicBezTo>
                    <a:cubicBezTo>
                      <a:pt x="85820" y="113824"/>
                      <a:pt x="97536" y="98584"/>
                      <a:pt x="97631" y="61722"/>
                    </a:cubicBezTo>
                    <a:lnTo>
                      <a:pt x="97631" y="61722"/>
                    </a:lnTo>
                    <a:cubicBezTo>
                      <a:pt x="97631" y="61722"/>
                      <a:pt x="97631" y="61532"/>
                      <a:pt x="97631" y="61436"/>
                    </a:cubicBezTo>
                    <a:cubicBezTo>
                      <a:pt x="97631" y="61341"/>
                      <a:pt x="97631" y="61246"/>
                      <a:pt x="97631" y="61150"/>
                    </a:cubicBezTo>
                    <a:lnTo>
                      <a:pt x="97631" y="61150"/>
                    </a:lnTo>
                    <a:cubicBezTo>
                      <a:pt x="97441" y="9811"/>
                      <a:pt x="75343" y="0"/>
                      <a:pt x="37147" y="0"/>
                    </a:cubicBezTo>
                    <a:lnTo>
                      <a:pt x="0" y="0"/>
                    </a:lnTo>
                    <a:lnTo>
                      <a:pt x="0" y="215075"/>
                    </a:lnTo>
                    <a:lnTo>
                      <a:pt x="29146" y="215075"/>
                    </a:lnTo>
                    <a:lnTo>
                      <a:pt x="29146" y="99632"/>
                    </a:lnTo>
                    <a:lnTo>
                      <a:pt x="29242" y="99632"/>
                    </a:lnTo>
                    <a:cubicBezTo>
                      <a:pt x="30194" y="102108"/>
                      <a:pt x="64960" y="194500"/>
                      <a:pt x="73342" y="215075"/>
                    </a:cubicBezTo>
                    <a:lnTo>
                      <a:pt x="101536" y="215075"/>
                    </a:lnTo>
                    <a:cubicBezTo>
                      <a:pt x="95059" y="199930"/>
                      <a:pt x="65437" y="122396"/>
                      <a:pt x="64389" y="119824"/>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0" name="Freeform: Shape 349">
                <a:extLst>
                  <a:ext uri="{FF2B5EF4-FFF2-40B4-BE49-F238E27FC236}">
                    <a16:creationId xmlns:a16="http://schemas.microsoft.com/office/drawing/2014/main" id="{64D18A92-C72B-4426-94E7-7776C9DAC6F1}"/>
                  </a:ext>
                </a:extLst>
              </p:cNvPr>
              <p:cNvSpPr/>
              <p:nvPr/>
            </p:nvSpPr>
            <p:spPr>
              <a:xfrm>
                <a:off x="4370519" y="4320535"/>
                <a:ext cx="115919" cy="218217"/>
              </a:xfrm>
              <a:custGeom>
                <a:avLst/>
                <a:gdLst>
                  <a:gd name="connsiteX0" fmla="*/ 86963 w 115919"/>
                  <a:gd name="connsiteY0" fmla="*/ 0 h 218217"/>
                  <a:gd name="connsiteX1" fmla="*/ 86963 w 115919"/>
                  <a:gd name="connsiteY1" fmla="*/ 156591 h 218217"/>
                  <a:gd name="connsiteX2" fmla="*/ 58007 w 115919"/>
                  <a:gd name="connsiteY2" fmla="*/ 191834 h 218217"/>
                  <a:gd name="connsiteX3" fmla="*/ 29432 w 115919"/>
                  <a:gd name="connsiteY3" fmla="*/ 156591 h 218217"/>
                  <a:gd name="connsiteX4" fmla="*/ 29432 w 115919"/>
                  <a:gd name="connsiteY4" fmla="*/ 0 h 218217"/>
                  <a:gd name="connsiteX5" fmla="*/ 0 w 115919"/>
                  <a:gd name="connsiteY5" fmla="*/ 0 h 218217"/>
                  <a:gd name="connsiteX6" fmla="*/ 0 w 115919"/>
                  <a:gd name="connsiteY6" fmla="*/ 156591 h 218217"/>
                  <a:gd name="connsiteX7" fmla="*/ 15145 w 115919"/>
                  <a:gd name="connsiteY7" fmla="*/ 201168 h 218217"/>
                  <a:gd name="connsiteX8" fmla="*/ 58007 w 115919"/>
                  <a:gd name="connsiteY8" fmla="*/ 218218 h 218217"/>
                  <a:gd name="connsiteX9" fmla="*/ 100775 w 115919"/>
                  <a:gd name="connsiteY9" fmla="*/ 201168 h 218217"/>
                  <a:gd name="connsiteX10" fmla="*/ 115919 w 115919"/>
                  <a:gd name="connsiteY10" fmla="*/ 156591 h 218217"/>
                  <a:gd name="connsiteX11" fmla="*/ 115919 w 115919"/>
                  <a:gd name="connsiteY11" fmla="*/ 0 h 218217"/>
                  <a:gd name="connsiteX12" fmla="*/ 86963 w 115919"/>
                  <a:gd name="connsiteY12" fmla="*/ 0 h 21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19" h="218217">
                    <a:moveTo>
                      <a:pt x="86963" y="0"/>
                    </a:moveTo>
                    <a:lnTo>
                      <a:pt x="86963" y="156591"/>
                    </a:lnTo>
                    <a:cubicBezTo>
                      <a:pt x="86963" y="177356"/>
                      <a:pt x="75057" y="191834"/>
                      <a:pt x="58007" y="191834"/>
                    </a:cubicBezTo>
                    <a:cubicBezTo>
                      <a:pt x="40958" y="191834"/>
                      <a:pt x="29432" y="177356"/>
                      <a:pt x="29432" y="156591"/>
                    </a:cubicBezTo>
                    <a:lnTo>
                      <a:pt x="29432" y="0"/>
                    </a:lnTo>
                    <a:lnTo>
                      <a:pt x="0" y="0"/>
                    </a:lnTo>
                    <a:lnTo>
                      <a:pt x="0" y="156591"/>
                    </a:lnTo>
                    <a:cubicBezTo>
                      <a:pt x="0" y="174879"/>
                      <a:pt x="5239" y="190310"/>
                      <a:pt x="15145" y="201168"/>
                    </a:cubicBezTo>
                    <a:cubicBezTo>
                      <a:pt x="25718" y="212789"/>
                      <a:pt x="39433" y="218218"/>
                      <a:pt x="58007" y="218218"/>
                    </a:cubicBezTo>
                    <a:cubicBezTo>
                      <a:pt x="76581" y="218218"/>
                      <a:pt x="89916" y="213170"/>
                      <a:pt x="100775" y="201168"/>
                    </a:cubicBezTo>
                    <a:cubicBezTo>
                      <a:pt x="110681" y="190310"/>
                      <a:pt x="115919" y="174879"/>
                      <a:pt x="115919" y="156591"/>
                    </a:cubicBezTo>
                    <a:lnTo>
                      <a:pt x="115919" y="0"/>
                    </a:lnTo>
                    <a:lnTo>
                      <a:pt x="86963"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51" name="Graphic 1242">
                <a:extLst>
                  <a:ext uri="{FF2B5EF4-FFF2-40B4-BE49-F238E27FC236}">
                    <a16:creationId xmlns:a16="http://schemas.microsoft.com/office/drawing/2014/main" id="{22874BFA-7383-450E-A021-4CEF24B5512E}"/>
                  </a:ext>
                </a:extLst>
              </p:cNvPr>
              <p:cNvGrpSpPr/>
              <p:nvPr/>
            </p:nvGrpSpPr>
            <p:grpSpPr>
              <a:xfrm>
                <a:off x="3752157" y="4227000"/>
                <a:ext cx="1432179" cy="308419"/>
                <a:chOff x="3752157" y="4227000"/>
                <a:chExt cx="1432179" cy="308419"/>
              </a:xfrm>
              <a:solidFill>
                <a:srgbClr val="A1ABB3"/>
              </a:solidFill>
            </p:grpSpPr>
            <p:sp>
              <p:nvSpPr>
                <p:cNvPr id="356" name="Freeform: Shape 355">
                  <a:extLst>
                    <a:ext uri="{FF2B5EF4-FFF2-40B4-BE49-F238E27FC236}">
                      <a16:creationId xmlns:a16="http://schemas.microsoft.com/office/drawing/2014/main" id="{9C03A28F-70DD-444E-9029-37495BE21CAF}"/>
                    </a:ext>
                  </a:extLst>
                </p:cNvPr>
                <p:cNvSpPr/>
                <p:nvPr/>
              </p:nvSpPr>
              <p:spPr>
                <a:xfrm>
                  <a:off x="5060511" y="4320630"/>
                  <a:ext cx="123825" cy="214788"/>
                </a:xfrm>
                <a:custGeom>
                  <a:avLst/>
                  <a:gdLst>
                    <a:gd name="connsiteX0" fmla="*/ 94488 w 123825"/>
                    <a:gd name="connsiteY0" fmla="*/ 214789 h 214788"/>
                    <a:gd name="connsiteX1" fmla="*/ 123825 w 123825"/>
                    <a:gd name="connsiteY1" fmla="*/ 214789 h 214788"/>
                    <a:gd name="connsiteX2" fmla="*/ 75533 w 123825"/>
                    <a:gd name="connsiteY2" fmla="*/ 0 h 214788"/>
                    <a:gd name="connsiteX3" fmla="*/ 51911 w 123825"/>
                    <a:gd name="connsiteY3" fmla="*/ 0 h 214788"/>
                    <a:gd name="connsiteX4" fmla="*/ 0 w 123825"/>
                    <a:gd name="connsiteY4" fmla="*/ 214789 h 214788"/>
                    <a:gd name="connsiteX5" fmla="*/ 30671 w 123825"/>
                    <a:gd name="connsiteY5" fmla="*/ 214789 h 214788"/>
                    <a:gd name="connsiteX6" fmla="*/ 41338 w 123825"/>
                    <a:gd name="connsiteY6" fmla="*/ 164592 h 214788"/>
                    <a:gd name="connsiteX7" fmla="*/ 83629 w 123825"/>
                    <a:gd name="connsiteY7" fmla="*/ 164592 h 214788"/>
                    <a:gd name="connsiteX8" fmla="*/ 94488 w 123825"/>
                    <a:gd name="connsiteY8" fmla="*/ 214789 h 214788"/>
                    <a:gd name="connsiteX9" fmla="*/ 46577 w 123825"/>
                    <a:gd name="connsiteY9" fmla="*/ 140303 h 214788"/>
                    <a:gd name="connsiteX10" fmla="*/ 62293 w 123825"/>
                    <a:gd name="connsiteY10" fmla="*/ 66484 h 214788"/>
                    <a:gd name="connsiteX11" fmla="*/ 78296 w 123825"/>
                    <a:gd name="connsiteY11" fmla="*/ 140303 h 214788"/>
                    <a:gd name="connsiteX12" fmla="*/ 46482 w 123825"/>
                    <a:gd name="connsiteY12" fmla="*/ 140303 h 21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214788">
                      <a:moveTo>
                        <a:pt x="94488" y="214789"/>
                      </a:moveTo>
                      <a:lnTo>
                        <a:pt x="123825" y="214789"/>
                      </a:lnTo>
                      <a:lnTo>
                        <a:pt x="75533" y="0"/>
                      </a:lnTo>
                      <a:lnTo>
                        <a:pt x="51911" y="0"/>
                      </a:lnTo>
                      <a:lnTo>
                        <a:pt x="0" y="214789"/>
                      </a:lnTo>
                      <a:lnTo>
                        <a:pt x="30671" y="214789"/>
                      </a:lnTo>
                      <a:cubicBezTo>
                        <a:pt x="30671" y="214789"/>
                        <a:pt x="35528" y="192215"/>
                        <a:pt x="41338" y="164592"/>
                      </a:cubicBezTo>
                      <a:lnTo>
                        <a:pt x="83629" y="164592"/>
                      </a:lnTo>
                      <a:cubicBezTo>
                        <a:pt x="89345" y="191072"/>
                        <a:pt x="94107" y="212979"/>
                        <a:pt x="94488" y="214789"/>
                      </a:cubicBezTo>
                      <a:moveTo>
                        <a:pt x="46577" y="140303"/>
                      </a:moveTo>
                      <a:cubicBezTo>
                        <a:pt x="53816" y="106299"/>
                        <a:pt x="61055" y="72200"/>
                        <a:pt x="62293" y="66484"/>
                      </a:cubicBezTo>
                      <a:cubicBezTo>
                        <a:pt x="63532" y="72390"/>
                        <a:pt x="70961" y="106394"/>
                        <a:pt x="78296" y="140303"/>
                      </a:cubicBezTo>
                      <a:lnTo>
                        <a:pt x="46482" y="14030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7" name="Freeform: Shape 356">
                  <a:extLst>
                    <a:ext uri="{FF2B5EF4-FFF2-40B4-BE49-F238E27FC236}">
                      <a16:creationId xmlns:a16="http://schemas.microsoft.com/office/drawing/2014/main" id="{A70C1657-E940-4B3F-A37D-6EB2886B804E}"/>
                    </a:ext>
                  </a:extLst>
                </p:cNvPr>
                <p:cNvSpPr/>
                <p:nvPr/>
              </p:nvSpPr>
              <p:spPr>
                <a:xfrm>
                  <a:off x="3752157" y="4227000"/>
                  <a:ext cx="301942" cy="161639"/>
                </a:xfrm>
                <a:custGeom>
                  <a:avLst/>
                  <a:gdLst>
                    <a:gd name="connsiteX0" fmla="*/ 150971 w 301942"/>
                    <a:gd name="connsiteY0" fmla="*/ 42958 h 161639"/>
                    <a:gd name="connsiteX1" fmla="*/ 42958 w 301942"/>
                    <a:gd name="connsiteY1" fmla="*/ 150876 h 161639"/>
                    <a:gd name="connsiteX2" fmla="*/ 43434 w 301942"/>
                    <a:gd name="connsiteY2" fmla="*/ 161544 h 161639"/>
                    <a:gd name="connsiteX3" fmla="*/ 381 w 301942"/>
                    <a:gd name="connsiteY3" fmla="*/ 161544 h 161639"/>
                    <a:gd name="connsiteX4" fmla="*/ 0 w 301942"/>
                    <a:gd name="connsiteY4" fmla="*/ 150876 h 161639"/>
                    <a:gd name="connsiteX5" fmla="*/ 150971 w 301942"/>
                    <a:gd name="connsiteY5" fmla="*/ 0 h 161639"/>
                    <a:gd name="connsiteX6" fmla="*/ 301943 w 301942"/>
                    <a:gd name="connsiteY6" fmla="*/ 150971 h 161639"/>
                    <a:gd name="connsiteX7" fmla="*/ 301562 w 301942"/>
                    <a:gd name="connsiteY7" fmla="*/ 161639 h 161639"/>
                    <a:gd name="connsiteX8" fmla="*/ 258413 w 301942"/>
                    <a:gd name="connsiteY8" fmla="*/ 161639 h 161639"/>
                    <a:gd name="connsiteX9" fmla="*/ 258985 w 301942"/>
                    <a:gd name="connsiteY9" fmla="*/ 150971 h 161639"/>
                    <a:gd name="connsiteX10" fmla="*/ 150971 w 301942"/>
                    <a:gd name="connsiteY10" fmla="*/ 43053 h 1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942" h="161639">
                      <a:moveTo>
                        <a:pt x="150971" y="42958"/>
                      </a:moveTo>
                      <a:cubicBezTo>
                        <a:pt x="91345" y="42958"/>
                        <a:pt x="42958" y="91250"/>
                        <a:pt x="42958" y="150876"/>
                      </a:cubicBezTo>
                      <a:cubicBezTo>
                        <a:pt x="42958" y="154496"/>
                        <a:pt x="43148" y="158020"/>
                        <a:pt x="43434" y="161544"/>
                      </a:cubicBezTo>
                      <a:lnTo>
                        <a:pt x="381" y="161544"/>
                      </a:lnTo>
                      <a:cubicBezTo>
                        <a:pt x="191" y="158020"/>
                        <a:pt x="0" y="154496"/>
                        <a:pt x="0" y="150876"/>
                      </a:cubicBezTo>
                      <a:cubicBezTo>
                        <a:pt x="0" y="67532"/>
                        <a:pt x="67532" y="0"/>
                        <a:pt x="150971" y="0"/>
                      </a:cubicBezTo>
                      <a:cubicBezTo>
                        <a:pt x="234410" y="0"/>
                        <a:pt x="301943" y="67532"/>
                        <a:pt x="301943" y="150971"/>
                      </a:cubicBezTo>
                      <a:cubicBezTo>
                        <a:pt x="301943" y="154591"/>
                        <a:pt x="301847" y="158115"/>
                        <a:pt x="301562" y="161639"/>
                      </a:cubicBezTo>
                      <a:lnTo>
                        <a:pt x="258413" y="161639"/>
                      </a:lnTo>
                      <a:cubicBezTo>
                        <a:pt x="258699" y="158115"/>
                        <a:pt x="258985" y="154591"/>
                        <a:pt x="258985" y="150971"/>
                      </a:cubicBezTo>
                      <a:cubicBezTo>
                        <a:pt x="258985" y="91345"/>
                        <a:pt x="210598" y="43053"/>
                        <a:pt x="150971" y="43053"/>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52" name="Freeform: Shape 351">
                <a:extLst>
                  <a:ext uri="{FF2B5EF4-FFF2-40B4-BE49-F238E27FC236}">
                    <a16:creationId xmlns:a16="http://schemas.microsoft.com/office/drawing/2014/main" id="{EB517556-62FB-4F2C-BA69-444321DCE42D}"/>
                  </a:ext>
                </a:extLst>
              </p:cNvPr>
              <p:cNvSpPr/>
              <p:nvPr/>
            </p:nvSpPr>
            <p:spPr>
              <a:xfrm>
                <a:off x="3795400" y="4388543"/>
                <a:ext cx="215741" cy="98393"/>
              </a:xfrm>
              <a:custGeom>
                <a:avLst/>
                <a:gdLst>
                  <a:gd name="connsiteX0" fmla="*/ 30956 w 215741"/>
                  <a:gd name="connsiteY0" fmla="*/ 0 h 98393"/>
                  <a:gd name="connsiteX1" fmla="*/ 107823 w 215741"/>
                  <a:gd name="connsiteY1" fmla="*/ 67532 h 98393"/>
                  <a:gd name="connsiteX2" fmla="*/ 184690 w 215741"/>
                  <a:gd name="connsiteY2" fmla="*/ 0 h 98393"/>
                  <a:gd name="connsiteX3" fmla="*/ 215741 w 215741"/>
                  <a:gd name="connsiteY3" fmla="*/ 0 h 98393"/>
                  <a:gd name="connsiteX4" fmla="*/ 107918 w 215741"/>
                  <a:gd name="connsiteY4" fmla="*/ 98393 h 98393"/>
                  <a:gd name="connsiteX5" fmla="*/ 0 w 215741"/>
                  <a:gd name="connsiteY5" fmla="*/ 0 h 98393"/>
                  <a:gd name="connsiteX6" fmla="*/ 31052 w 215741"/>
                  <a:gd name="connsiteY6" fmla="*/ 0 h 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741" h="98393">
                    <a:moveTo>
                      <a:pt x="30956" y="0"/>
                    </a:moveTo>
                    <a:cubicBezTo>
                      <a:pt x="35814" y="38100"/>
                      <a:pt x="68390" y="67532"/>
                      <a:pt x="107823" y="67532"/>
                    </a:cubicBezTo>
                    <a:cubicBezTo>
                      <a:pt x="147257" y="67532"/>
                      <a:pt x="179832" y="38100"/>
                      <a:pt x="184690" y="0"/>
                    </a:cubicBezTo>
                    <a:lnTo>
                      <a:pt x="215741" y="0"/>
                    </a:lnTo>
                    <a:cubicBezTo>
                      <a:pt x="210788" y="55150"/>
                      <a:pt x="164306" y="98393"/>
                      <a:pt x="107918" y="98393"/>
                    </a:cubicBezTo>
                    <a:cubicBezTo>
                      <a:pt x="51530" y="98393"/>
                      <a:pt x="5048" y="55150"/>
                      <a:pt x="0" y="0"/>
                    </a:cubicBezTo>
                    <a:lnTo>
                      <a:pt x="31052"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3" name="Freeform: Shape 352">
                <a:extLst>
                  <a:ext uri="{FF2B5EF4-FFF2-40B4-BE49-F238E27FC236}">
                    <a16:creationId xmlns:a16="http://schemas.microsoft.com/office/drawing/2014/main" id="{4AC08993-C3EB-4B48-8CA3-E33F31F95405}"/>
                  </a:ext>
                </a:extLst>
              </p:cNvPr>
              <p:cNvSpPr/>
              <p:nvPr/>
            </p:nvSpPr>
            <p:spPr>
              <a:xfrm>
                <a:off x="3850550" y="4530085"/>
                <a:ext cx="104203" cy="21240"/>
              </a:xfrm>
              <a:custGeom>
                <a:avLst/>
                <a:gdLst>
                  <a:gd name="connsiteX0" fmla="*/ 10573 w 104203"/>
                  <a:gd name="connsiteY0" fmla="*/ 21241 h 21240"/>
                  <a:gd name="connsiteX1" fmla="*/ 93631 w 104203"/>
                  <a:gd name="connsiteY1" fmla="*/ 21241 h 21240"/>
                  <a:gd name="connsiteX2" fmla="*/ 104204 w 104203"/>
                  <a:gd name="connsiteY2" fmla="*/ 10668 h 21240"/>
                  <a:gd name="connsiteX3" fmla="*/ 93631 w 104203"/>
                  <a:gd name="connsiteY3" fmla="*/ 0 h 21240"/>
                  <a:gd name="connsiteX4" fmla="*/ 10573 w 104203"/>
                  <a:gd name="connsiteY4" fmla="*/ 0 h 21240"/>
                  <a:gd name="connsiteX5" fmla="*/ 0 w 104203"/>
                  <a:gd name="connsiteY5" fmla="*/ 10668 h 21240"/>
                  <a:gd name="connsiteX6" fmla="*/ 10573 w 104203"/>
                  <a:gd name="connsiteY6" fmla="*/ 21241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03" h="21240">
                    <a:moveTo>
                      <a:pt x="10573" y="21241"/>
                    </a:moveTo>
                    <a:lnTo>
                      <a:pt x="93631" y="21241"/>
                    </a:lnTo>
                    <a:cubicBezTo>
                      <a:pt x="99441" y="21241"/>
                      <a:pt x="104204" y="16478"/>
                      <a:pt x="104204" y="10668"/>
                    </a:cubicBezTo>
                    <a:cubicBezTo>
                      <a:pt x="104204" y="4858"/>
                      <a:pt x="99441" y="0"/>
                      <a:pt x="93631" y="0"/>
                    </a:cubicBezTo>
                    <a:lnTo>
                      <a:pt x="10573" y="0"/>
                    </a:lnTo>
                    <a:cubicBezTo>
                      <a:pt x="4763" y="0"/>
                      <a:pt x="0" y="4763"/>
                      <a:pt x="0" y="10668"/>
                    </a:cubicBezTo>
                    <a:cubicBezTo>
                      <a:pt x="0" y="16574"/>
                      <a:pt x="4763" y="21241"/>
                      <a:pt x="10573" y="21241"/>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4" name="Freeform: Shape 353">
                <a:extLst>
                  <a:ext uri="{FF2B5EF4-FFF2-40B4-BE49-F238E27FC236}">
                    <a16:creationId xmlns:a16="http://schemas.microsoft.com/office/drawing/2014/main" id="{9FF8D564-FC1B-4560-B45F-6D0713571D1D}"/>
                  </a:ext>
                </a:extLst>
              </p:cNvPr>
              <p:cNvSpPr/>
              <p:nvPr/>
            </p:nvSpPr>
            <p:spPr>
              <a:xfrm>
                <a:off x="3850740" y="4560756"/>
                <a:ext cx="104203" cy="21145"/>
              </a:xfrm>
              <a:custGeom>
                <a:avLst/>
                <a:gdLst>
                  <a:gd name="connsiteX0" fmla="*/ 10573 w 104203"/>
                  <a:gd name="connsiteY0" fmla="*/ 21145 h 21145"/>
                  <a:gd name="connsiteX1" fmla="*/ 93631 w 104203"/>
                  <a:gd name="connsiteY1" fmla="*/ 21145 h 21145"/>
                  <a:gd name="connsiteX2" fmla="*/ 104204 w 104203"/>
                  <a:gd name="connsiteY2" fmla="*/ 10573 h 21145"/>
                  <a:gd name="connsiteX3" fmla="*/ 93631 w 104203"/>
                  <a:gd name="connsiteY3" fmla="*/ 0 h 21145"/>
                  <a:gd name="connsiteX4" fmla="*/ 10573 w 104203"/>
                  <a:gd name="connsiteY4" fmla="*/ 0 h 21145"/>
                  <a:gd name="connsiteX5" fmla="*/ 0 w 104203"/>
                  <a:gd name="connsiteY5" fmla="*/ 10573 h 21145"/>
                  <a:gd name="connsiteX6" fmla="*/ 10573 w 104203"/>
                  <a:gd name="connsiteY6" fmla="*/ 21145 h 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03" h="21145">
                    <a:moveTo>
                      <a:pt x="10573" y="21145"/>
                    </a:moveTo>
                    <a:lnTo>
                      <a:pt x="93631" y="21145"/>
                    </a:lnTo>
                    <a:cubicBezTo>
                      <a:pt x="99441" y="21145"/>
                      <a:pt x="104204" y="16383"/>
                      <a:pt x="104204" y="10573"/>
                    </a:cubicBezTo>
                    <a:cubicBezTo>
                      <a:pt x="104204" y="4763"/>
                      <a:pt x="99441" y="0"/>
                      <a:pt x="93631" y="0"/>
                    </a:cubicBezTo>
                    <a:lnTo>
                      <a:pt x="10573" y="0"/>
                    </a:lnTo>
                    <a:cubicBezTo>
                      <a:pt x="4763" y="0"/>
                      <a:pt x="0" y="4763"/>
                      <a:pt x="0" y="10573"/>
                    </a:cubicBezTo>
                    <a:cubicBezTo>
                      <a:pt x="0" y="16383"/>
                      <a:pt x="4763" y="21145"/>
                      <a:pt x="10573" y="21145"/>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5" name="Freeform: Shape 354">
                <a:extLst>
                  <a:ext uri="{FF2B5EF4-FFF2-40B4-BE49-F238E27FC236}">
                    <a16:creationId xmlns:a16="http://schemas.microsoft.com/office/drawing/2014/main" id="{65CDAE38-FEDC-437A-8609-B0B40F02AA94}"/>
                  </a:ext>
                </a:extLst>
              </p:cNvPr>
              <p:cNvSpPr/>
              <p:nvPr/>
            </p:nvSpPr>
            <p:spPr>
              <a:xfrm>
                <a:off x="3884554" y="4589997"/>
                <a:ext cx="34671" cy="34670"/>
              </a:xfrm>
              <a:custGeom>
                <a:avLst/>
                <a:gdLst>
                  <a:gd name="connsiteX0" fmla="*/ 0 w 34671"/>
                  <a:gd name="connsiteY0" fmla="*/ 17335 h 34670"/>
                  <a:gd name="connsiteX1" fmla="*/ 17336 w 34671"/>
                  <a:gd name="connsiteY1" fmla="*/ 0 h 34670"/>
                  <a:gd name="connsiteX2" fmla="*/ 34671 w 34671"/>
                  <a:gd name="connsiteY2" fmla="*/ 17335 h 34670"/>
                  <a:gd name="connsiteX3" fmla="*/ 17336 w 34671"/>
                  <a:gd name="connsiteY3" fmla="*/ 34671 h 34670"/>
                  <a:gd name="connsiteX4" fmla="*/ 0 w 34671"/>
                  <a:gd name="connsiteY4" fmla="*/ 17335 h 3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 h="34670">
                    <a:moveTo>
                      <a:pt x="0" y="17335"/>
                    </a:moveTo>
                    <a:cubicBezTo>
                      <a:pt x="0" y="7715"/>
                      <a:pt x="7811" y="0"/>
                      <a:pt x="17336" y="0"/>
                    </a:cubicBezTo>
                    <a:cubicBezTo>
                      <a:pt x="26860" y="0"/>
                      <a:pt x="34671" y="7715"/>
                      <a:pt x="34671" y="17335"/>
                    </a:cubicBezTo>
                    <a:cubicBezTo>
                      <a:pt x="34671" y="26956"/>
                      <a:pt x="26860" y="34671"/>
                      <a:pt x="17336" y="34671"/>
                    </a:cubicBezTo>
                    <a:cubicBezTo>
                      <a:pt x="7811" y="34671"/>
                      <a:pt x="0" y="26860"/>
                      <a:pt x="0" y="17335"/>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358" name="Group 357">
              <a:extLst>
                <a:ext uri="{FF2B5EF4-FFF2-40B4-BE49-F238E27FC236}">
                  <a16:creationId xmlns:a16="http://schemas.microsoft.com/office/drawing/2014/main" id="{9C9A6C44-2B43-446B-93AB-589BF0FA0E39}"/>
                </a:ext>
              </a:extLst>
            </p:cNvPr>
            <p:cNvGrpSpPr/>
            <p:nvPr userDrawn="1"/>
          </p:nvGrpSpPr>
          <p:grpSpPr>
            <a:xfrm>
              <a:off x="9285241" y="1732264"/>
              <a:ext cx="920363" cy="213446"/>
              <a:chOff x="5848165" y="5132284"/>
              <a:chExt cx="2355762" cy="546337"/>
            </a:xfrm>
          </p:grpSpPr>
          <p:sp>
            <p:nvSpPr>
              <p:cNvPr id="359" name="Freeform: Shape 358">
                <a:extLst>
                  <a:ext uri="{FF2B5EF4-FFF2-40B4-BE49-F238E27FC236}">
                    <a16:creationId xmlns:a16="http://schemas.microsoft.com/office/drawing/2014/main" id="{ABD3CF38-5594-4E65-AE1E-4A5B77E666C4}"/>
                  </a:ext>
                </a:extLst>
              </p:cNvPr>
              <p:cNvSpPr/>
              <p:nvPr/>
            </p:nvSpPr>
            <p:spPr>
              <a:xfrm>
                <a:off x="6014047" y="5594831"/>
                <a:ext cx="218535" cy="83790"/>
              </a:xfrm>
              <a:custGeom>
                <a:avLst/>
                <a:gdLst>
                  <a:gd name="connsiteX0" fmla="*/ 218535 w 218535"/>
                  <a:gd name="connsiteY0" fmla="*/ 60012 h 83790"/>
                  <a:gd name="connsiteX1" fmla="*/ 218535 w 218535"/>
                  <a:gd name="connsiteY1" fmla="*/ 53785 h 83790"/>
                  <a:gd name="connsiteX2" fmla="*/ 100775 w 218535"/>
                  <a:gd name="connsiteY2" fmla="*/ 0 h 83790"/>
                  <a:gd name="connsiteX3" fmla="*/ 0 w 218535"/>
                  <a:gd name="connsiteY3" fmla="*/ 53785 h 83790"/>
                  <a:gd name="connsiteX4" fmla="*/ 566 w 218535"/>
                  <a:gd name="connsiteY4" fmla="*/ 62277 h 83790"/>
                  <a:gd name="connsiteX5" fmla="*/ 106437 w 218535"/>
                  <a:gd name="connsiteY5" fmla="*/ 83791 h 83790"/>
                  <a:gd name="connsiteX6" fmla="*/ 217403 w 218535"/>
                  <a:gd name="connsiteY6" fmla="*/ 60012 h 8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535" h="83790">
                    <a:moveTo>
                      <a:pt x="218535" y="60012"/>
                    </a:moveTo>
                    <a:cubicBezTo>
                      <a:pt x="218535" y="60012"/>
                      <a:pt x="218535" y="56049"/>
                      <a:pt x="218535" y="53785"/>
                    </a:cubicBezTo>
                    <a:cubicBezTo>
                      <a:pt x="218535" y="16985"/>
                      <a:pt x="181169" y="0"/>
                      <a:pt x="100775" y="0"/>
                    </a:cubicBezTo>
                    <a:cubicBezTo>
                      <a:pt x="36800" y="0"/>
                      <a:pt x="0" y="19815"/>
                      <a:pt x="0" y="53785"/>
                    </a:cubicBezTo>
                    <a:cubicBezTo>
                      <a:pt x="0" y="56615"/>
                      <a:pt x="0" y="59446"/>
                      <a:pt x="566" y="62277"/>
                    </a:cubicBezTo>
                    <a:cubicBezTo>
                      <a:pt x="32837" y="75865"/>
                      <a:pt x="68505" y="83791"/>
                      <a:pt x="106437" y="83791"/>
                    </a:cubicBezTo>
                    <a:cubicBezTo>
                      <a:pt x="146068" y="83791"/>
                      <a:pt x="183434" y="75298"/>
                      <a:pt x="217403" y="60012"/>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0" name="Freeform: Shape 359">
                <a:extLst>
                  <a:ext uri="{FF2B5EF4-FFF2-40B4-BE49-F238E27FC236}">
                    <a16:creationId xmlns:a16="http://schemas.microsoft.com/office/drawing/2014/main" id="{E0311A0A-E545-4C30-BD99-EC31AE255EF0}"/>
                  </a:ext>
                </a:extLst>
              </p:cNvPr>
              <p:cNvSpPr/>
              <p:nvPr/>
            </p:nvSpPr>
            <p:spPr>
              <a:xfrm>
                <a:off x="6033297" y="5274954"/>
                <a:ext cx="169845" cy="171544"/>
              </a:xfrm>
              <a:custGeom>
                <a:avLst/>
                <a:gdLst>
                  <a:gd name="connsiteX0" fmla="*/ 85489 w 169845"/>
                  <a:gd name="connsiteY0" fmla="*/ 171544 h 171544"/>
                  <a:gd name="connsiteX1" fmla="*/ 169846 w 169845"/>
                  <a:gd name="connsiteY1" fmla="*/ 87188 h 171544"/>
                  <a:gd name="connsiteX2" fmla="*/ 82658 w 169845"/>
                  <a:gd name="connsiteY2" fmla="*/ 0 h 171544"/>
                  <a:gd name="connsiteX3" fmla="*/ 0 w 169845"/>
                  <a:gd name="connsiteY3" fmla="*/ 82658 h 171544"/>
                  <a:gd name="connsiteX4" fmla="*/ 85489 w 169845"/>
                  <a:gd name="connsiteY4" fmla="*/ 170978 h 17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45" h="171544">
                    <a:moveTo>
                      <a:pt x="85489" y="171544"/>
                    </a:moveTo>
                    <a:cubicBezTo>
                      <a:pt x="138141" y="171544"/>
                      <a:pt x="169846" y="139840"/>
                      <a:pt x="169846" y="87188"/>
                    </a:cubicBezTo>
                    <a:cubicBezTo>
                      <a:pt x="169846" y="34535"/>
                      <a:pt x="136443" y="0"/>
                      <a:pt x="82658" y="0"/>
                    </a:cubicBezTo>
                    <a:cubicBezTo>
                      <a:pt x="32271" y="0"/>
                      <a:pt x="0" y="32271"/>
                      <a:pt x="0" y="82658"/>
                    </a:cubicBezTo>
                    <a:cubicBezTo>
                      <a:pt x="0" y="138707"/>
                      <a:pt x="31138" y="170978"/>
                      <a:pt x="85489" y="170978"/>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1" name="Freeform: Shape 360">
                <a:extLst>
                  <a:ext uri="{FF2B5EF4-FFF2-40B4-BE49-F238E27FC236}">
                    <a16:creationId xmlns:a16="http://schemas.microsoft.com/office/drawing/2014/main" id="{9DC54BF7-332B-4375-A83B-9CC97553A1F4}"/>
                  </a:ext>
                </a:extLst>
              </p:cNvPr>
              <p:cNvSpPr/>
              <p:nvPr/>
            </p:nvSpPr>
            <p:spPr>
              <a:xfrm>
                <a:off x="5848165" y="5132284"/>
                <a:ext cx="546337" cy="498214"/>
              </a:xfrm>
              <a:custGeom>
                <a:avLst/>
                <a:gdLst>
                  <a:gd name="connsiteX0" fmla="*/ 272886 w 546337"/>
                  <a:gd name="connsiteY0" fmla="*/ 0 h 498214"/>
                  <a:gd name="connsiteX1" fmla="*/ 0 w 546337"/>
                  <a:gd name="connsiteY1" fmla="*/ 272886 h 498214"/>
                  <a:gd name="connsiteX2" fmla="*/ 118892 w 546337"/>
                  <a:gd name="connsiteY2" fmla="*/ 498215 h 498214"/>
                  <a:gd name="connsiteX3" fmla="*/ 175507 w 546337"/>
                  <a:gd name="connsiteY3" fmla="*/ 449526 h 498214"/>
                  <a:gd name="connsiteX4" fmla="*/ 131914 w 546337"/>
                  <a:gd name="connsiteY4" fmla="*/ 393476 h 498214"/>
                  <a:gd name="connsiteX5" fmla="*/ 181169 w 546337"/>
                  <a:gd name="connsiteY5" fmla="*/ 331766 h 498214"/>
                  <a:gd name="connsiteX6" fmla="*/ 134744 w 546337"/>
                  <a:gd name="connsiteY6" fmla="*/ 230990 h 498214"/>
                  <a:gd name="connsiteX7" fmla="*/ 272886 w 546337"/>
                  <a:gd name="connsiteY7" fmla="*/ 100209 h 498214"/>
                  <a:gd name="connsiteX8" fmla="*/ 360073 w 546337"/>
                  <a:gd name="connsiteY8" fmla="*/ 127384 h 498214"/>
                  <a:gd name="connsiteX9" fmla="*/ 428012 w 546337"/>
                  <a:gd name="connsiteY9" fmla="*/ 95114 h 498214"/>
                  <a:gd name="connsiteX10" fmla="*/ 438202 w 546337"/>
                  <a:gd name="connsiteY10" fmla="*/ 95114 h 498214"/>
                  <a:gd name="connsiteX11" fmla="*/ 438202 w 546337"/>
                  <a:gd name="connsiteY11" fmla="*/ 145501 h 498214"/>
                  <a:gd name="connsiteX12" fmla="*/ 426313 w 546337"/>
                  <a:gd name="connsiteY12" fmla="*/ 145501 h 498214"/>
                  <a:gd name="connsiteX13" fmla="*/ 384418 w 546337"/>
                  <a:gd name="connsiteY13" fmla="*/ 156258 h 498214"/>
                  <a:gd name="connsiteX14" fmla="*/ 404799 w 546337"/>
                  <a:gd name="connsiteY14" fmla="*/ 229292 h 498214"/>
                  <a:gd name="connsiteX15" fmla="*/ 269489 w 546337"/>
                  <a:gd name="connsiteY15" fmla="*/ 358941 h 498214"/>
                  <a:gd name="connsiteX16" fmla="*/ 214572 w 546337"/>
                  <a:gd name="connsiteY16" fmla="*/ 351015 h 498214"/>
                  <a:gd name="connsiteX17" fmla="*/ 184000 w 546337"/>
                  <a:gd name="connsiteY17" fmla="*/ 383286 h 498214"/>
                  <a:gd name="connsiteX18" fmla="*/ 253637 w 546337"/>
                  <a:gd name="connsiteY18" fmla="*/ 411027 h 498214"/>
                  <a:gd name="connsiteX19" fmla="*/ 289870 w 546337"/>
                  <a:gd name="connsiteY19" fmla="*/ 413858 h 498214"/>
                  <a:gd name="connsiteX20" fmla="*/ 435372 w 546337"/>
                  <a:gd name="connsiteY20" fmla="*/ 493685 h 498214"/>
                  <a:gd name="connsiteX21" fmla="*/ 546338 w 546337"/>
                  <a:gd name="connsiteY21" fmla="*/ 274018 h 498214"/>
                  <a:gd name="connsiteX22" fmla="*/ 272886 w 546337"/>
                  <a:gd name="connsiteY22" fmla="*/ 0 h 49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6337" h="498214">
                    <a:moveTo>
                      <a:pt x="272886" y="0"/>
                    </a:moveTo>
                    <a:cubicBezTo>
                      <a:pt x="122289" y="0"/>
                      <a:pt x="0" y="122289"/>
                      <a:pt x="0" y="272886"/>
                    </a:cubicBezTo>
                    <a:cubicBezTo>
                      <a:pt x="0" y="366301"/>
                      <a:pt x="46991" y="448959"/>
                      <a:pt x="118892" y="498215"/>
                    </a:cubicBezTo>
                    <a:cubicBezTo>
                      <a:pt x="126252" y="477267"/>
                      <a:pt x="143803" y="461981"/>
                      <a:pt x="175507" y="449526"/>
                    </a:cubicBezTo>
                    <a:cubicBezTo>
                      <a:pt x="146068" y="438769"/>
                      <a:pt x="131914" y="420652"/>
                      <a:pt x="131914" y="393476"/>
                    </a:cubicBezTo>
                    <a:cubicBezTo>
                      <a:pt x="131914" y="366301"/>
                      <a:pt x="150597" y="349316"/>
                      <a:pt x="181169" y="331766"/>
                    </a:cubicBezTo>
                    <a:cubicBezTo>
                      <a:pt x="150597" y="309120"/>
                      <a:pt x="134744" y="275150"/>
                      <a:pt x="134744" y="230990"/>
                    </a:cubicBezTo>
                    <a:cubicBezTo>
                      <a:pt x="134744" y="150031"/>
                      <a:pt x="187397" y="100209"/>
                      <a:pt x="272886" y="100209"/>
                    </a:cubicBezTo>
                    <a:cubicBezTo>
                      <a:pt x="307421" y="100209"/>
                      <a:pt x="336861" y="109268"/>
                      <a:pt x="360073" y="127384"/>
                    </a:cubicBezTo>
                    <a:cubicBezTo>
                      <a:pt x="386116" y="104738"/>
                      <a:pt x="406498" y="95114"/>
                      <a:pt x="428012" y="95114"/>
                    </a:cubicBezTo>
                    <a:lnTo>
                      <a:pt x="438202" y="95114"/>
                    </a:lnTo>
                    <a:lnTo>
                      <a:pt x="438202" y="145501"/>
                    </a:lnTo>
                    <a:lnTo>
                      <a:pt x="426313" y="145501"/>
                    </a:lnTo>
                    <a:cubicBezTo>
                      <a:pt x="405366" y="145501"/>
                      <a:pt x="391212" y="147200"/>
                      <a:pt x="384418" y="156258"/>
                    </a:cubicBezTo>
                    <a:cubicBezTo>
                      <a:pt x="398572" y="176640"/>
                      <a:pt x="404799" y="199286"/>
                      <a:pt x="404799" y="229292"/>
                    </a:cubicBezTo>
                    <a:cubicBezTo>
                      <a:pt x="404799" y="309120"/>
                      <a:pt x="353280" y="358941"/>
                      <a:pt x="269489" y="358941"/>
                    </a:cubicBezTo>
                    <a:cubicBezTo>
                      <a:pt x="251938" y="358941"/>
                      <a:pt x="233255" y="356110"/>
                      <a:pt x="214572" y="351015"/>
                    </a:cubicBezTo>
                    <a:cubicBezTo>
                      <a:pt x="195323" y="358375"/>
                      <a:pt x="184000" y="370264"/>
                      <a:pt x="184000" y="383286"/>
                    </a:cubicBezTo>
                    <a:cubicBezTo>
                      <a:pt x="184000" y="405932"/>
                      <a:pt x="207212" y="407630"/>
                      <a:pt x="253637" y="411027"/>
                    </a:cubicBezTo>
                    <a:lnTo>
                      <a:pt x="289870" y="413858"/>
                    </a:lnTo>
                    <a:cubicBezTo>
                      <a:pt x="377058" y="422350"/>
                      <a:pt x="425747" y="437636"/>
                      <a:pt x="435372" y="493685"/>
                    </a:cubicBezTo>
                    <a:cubicBezTo>
                      <a:pt x="502744" y="443864"/>
                      <a:pt x="546338" y="364036"/>
                      <a:pt x="546338" y="274018"/>
                    </a:cubicBezTo>
                    <a:cubicBezTo>
                      <a:pt x="546338" y="122289"/>
                      <a:pt x="424049" y="0"/>
                      <a:pt x="272886" y="0"/>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2" name="Freeform: Shape 361">
                <a:extLst>
                  <a:ext uri="{FF2B5EF4-FFF2-40B4-BE49-F238E27FC236}">
                    <a16:creationId xmlns:a16="http://schemas.microsoft.com/office/drawing/2014/main" id="{982B5171-BA50-47CF-A291-A3670C13426C}"/>
                  </a:ext>
                </a:extLst>
              </p:cNvPr>
              <p:cNvSpPr/>
              <p:nvPr/>
            </p:nvSpPr>
            <p:spPr>
              <a:xfrm>
                <a:off x="6513961" y="5251742"/>
                <a:ext cx="234953" cy="378190"/>
              </a:xfrm>
              <a:custGeom>
                <a:avLst/>
                <a:gdLst>
                  <a:gd name="connsiteX0" fmla="*/ 176640 w 234953"/>
                  <a:gd name="connsiteY0" fmla="*/ 25477 h 378190"/>
                  <a:gd name="connsiteX1" fmla="*/ 114363 w 234953"/>
                  <a:gd name="connsiteY1" fmla="*/ 5095 h 378190"/>
                  <a:gd name="connsiteX2" fmla="*/ 14154 w 234953"/>
                  <a:gd name="connsiteY2" fmla="*/ 100209 h 378190"/>
                  <a:gd name="connsiteX3" fmla="*/ 48689 w 234953"/>
                  <a:gd name="connsiteY3" fmla="*/ 173809 h 378190"/>
                  <a:gd name="connsiteX4" fmla="*/ 12455 w 234953"/>
                  <a:gd name="connsiteY4" fmla="*/ 217403 h 378190"/>
                  <a:gd name="connsiteX5" fmla="*/ 43594 w 234953"/>
                  <a:gd name="connsiteY5" fmla="*/ 258166 h 378190"/>
                  <a:gd name="connsiteX6" fmla="*/ 0 w 234953"/>
                  <a:gd name="connsiteY6" fmla="*/ 311950 h 378190"/>
                  <a:gd name="connsiteX7" fmla="*/ 111532 w 234953"/>
                  <a:gd name="connsiteY7" fmla="*/ 378190 h 378190"/>
                  <a:gd name="connsiteX8" fmla="*/ 233821 w 234953"/>
                  <a:gd name="connsiteY8" fmla="*/ 304590 h 378190"/>
                  <a:gd name="connsiteX9" fmla="*/ 126818 w 234953"/>
                  <a:gd name="connsiteY9" fmla="*/ 230990 h 378190"/>
                  <a:gd name="connsiteX10" fmla="*/ 100775 w 234953"/>
                  <a:gd name="connsiteY10" fmla="*/ 229292 h 378190"/>
                  <a:gd name="connsiteX11" fmla="*/ 50954 w 234953"/>
                  <a:gd name="connsiteY11" fmla="*/ 209477 h 378190"/>
                  <a:gd name="connsiteX12" fmla="*/ 73034 w 234953"/>
                  <a:gd name="connsiteY12" fmla="*/ 186264 h 378190"/>
                  <a:gd name="connsiteX13" fmla="*/ 112664 w 234953"/>
                  <a:gd name="connsiteY13" fmla="*/ 191926 h 378190"/>
                  <a:gd name="connsiteX14" fmla="*/ 210609 w 234953"/>
                  <a:gd name="connsiteY14" fmla="*/ 97944 h 378190"/>
                  <a:gd name="connsiteX15" fmla="*/ 195323 w 234953"/>
                  <a:gd name="connsiteY15" fmla="*/ 44160 h 378190"/>
                  <a:gd name="connsiteX16" fmla="*/ 225895 w 234953"/>
                  <a:gd name="connsiteY16" fmla="*/ 37366 h 378190"/>
                  <a:gd name="connsiteX17" fmla="*/ 233821 w 234953"/>
                  <a:gd name="connsiteY17" fmla="*/ 37366 h 378190"/>
                  <a:gd name="connsiteX18" fmla="*/ 234954 w 234953"/>
                  <a:gd name="connsiteY18" fmla="*/ 1132 h 378190"/>
                  <a:gd name="connsiteX19" fmla="*/ 227027 w 234953"/>
                  <a:gd name="connsiteY19" fmla="*/ 0 h 378190"/>
                  <a:gd name="connsiteX20" fmla="*/ 177206 w 234953"/>
                  <a:gd name="connsiteY20" fmla="*/ 23778 h 378190"/>
                  <a:gd name="connsiteX21" fmla="*/ 37932 w 234953"/>
                  <a:gd name="connsiteY21" fmla="*/ 305156 h 378190"/>
                  <a:gd name="connsiteX22" fmla="*/ 110400 w 234953"/>
                  <a:gd name="connsiteY22" fmla="*/ 266658 h 378190"/>
                  <a:gd name="connsiteX23" fmla="*/ 195323 w 234953"/>
                  <a:gd name="connsiteY23" fmla="*/ 305156 h 378190"/>
                  <a:gd name="connsiteX24" fmla="*/ 110966 w 234953"/>
                  <a:gd name="connsiteY24" fmla="*/ 344787 h 378190"/>
                  <a:gd name="connsiteX25" fmla="*/ 37932 w 234953"/>
                  <a:gd name="connsiteY25" fmla="*/ 305156 h 378190"/>
                  <a:gd name="connsiteX26" fmla="*/ 51520 w 234953"/>
                  <a:gd name="connsiteY26" fmla="*/ 95114 h 378190"/>
                  <a:gd name="connsiteX27" fmla="*/ 110966 w 234953"/>
                  <a:gd name="connsiteY27" fmla="*/ 35668 h 378190"/>
                  <a:gd name="connsiteX28" fmla="*/ 173809 w 234953"/>
                  <a:gd name="connsiteY28" fmla="*/ 98511 h 378190"/>
                  <a:gd name="connsiteX29" fmla="*/ 113231 w 234953"/>
                  <a:gd name="connsiteY29" fmla="*/ 159089 h 378190"/>
                  <a:gd name="connsiteX30" fmla="*/ 51520 w 234953"/>
                  <a:gd name="connsiteY30" fmla="*/ 95114 h 3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4953" h="378190">
                    <a:moveTo>
                      <a:pt x="176640" y="25477"/>
                    </a:moveTo>
                    <a:cubicBezTo>
                      <a:pt x="160787" y="11889"/>
                      <a:pt x="139274" y="5095"/>
                      <a:pt x="114363" y="5095"/>
                    </a:cubicBezTo>
                    <a:cubicBezTo>
                      <a:pt x="52652" y="5095"/>
                      <a:pt x="14154" y="41329"/>
                      <a:pt x="14154" y="100209"/>
                    </a:cubicBezTo>
                    <a:cubicBezTo>
                      <a:pt x="14154" y="133046"/>
                      <a:pt x="25477" y="157391"/>
                      <a:pt x="48689" y="173809"/>
                    </a:cubicBezTo>
                    <a:cubicBezTo>
                      <a:pt x="26043" y="185132"/>
                      <a:pt x="12455" y="197021"/>
                      <a:pt x="12455" y="217403"/>
                    </a:cubicBezTo>
                    <a:cubicBezTo>
                      <a:pt x="12455" y="237784"/>
                      <a:pt x="22646" y="250240"/>
                      <a:pt x="43594" y="258166"/>
                    </a:cubicBezTo>
                    <a:cubicBezTo>
                      <a:pt x="13021" y="271187"/>
                      <a:pt x="0" y="286473"/>
                      <a:pt x="0" y="311950"/>
                    </a:cubicBezTo>
                    <a:cubicBezTo>
                      <a:pt x="0" y="356110"/>
                      <a:pt x="37366" y="378190"/>
                      <a:pt x="111532" y="378190"/>
                    </a:cubicBezTo>
                    <a:cubicBezTo>
                      <a:pt x="191360" y="378190"/>
                      <a:pt x="233821" y="352713"/>
                      <a:pt x="233821" y="304590"/>
                    </a:cubicBezTo>
                    <a:cubicBezTo>
                      <a:pt x="233821" y="250806"/>
                      <a:pt x="197587" y="237784"/>
                      <a:pt x="126818" y="230990"/>
                    </a:cubicBezTo>
                    <a:lnTo>
                      <a:pt x="100775" y="229292"/>
                    </a:lnTo>
                    <a:cubicBezTo>
                      <a:pt x="67372" y="227027"/>
                      <a:pt x="50954" y="225895"/>
                      <a:pt x="50954" y="209477"/>
                    </a:cubicBezTo>
                    <a:cubicBezTo>
                      <a:pt x="50954" y="200418"/>
                      <a:pt x="59446" y="191360"/>
                      <a:pt x="73034" y="186264"/>
                    </a:cubicBezTo>
                    <a:cubicBezTo>
                      <a:pt x="86621" y="190227"/>
                      <a:pt x="99643" y="191926"/>
                      <a:pt x="112664" y="191926"/>
                    </a:cubicBezTo>
                    <a:cubicBezTo>
                      <a:pt x="173243" y="191926"/>
                      <a:pt x="210609" y="155692"/>
                      <a:pt x="210609" y="97944"/>
                    </a:cubicBezTo>
                    <a:cubicBezTo>
                      <a:pt x="210609" y="75865"/>
                      <a:pt x="206080" y="59446"/>
                      <a:pt x="195323" y="44160"/>
                    </a:cubicBezTo>
                    <a:cubicBezTo>
                      <a:pt x="200418" y="39065"/>
                      <a:pt x="210609" y="37366"/>
                      <a:pt x="225895" y="37366"/>
                    </a:cubicBezTo>
                    <a:lnTo>
                      <a:pt x="233821" y="37366"/>
                    </a:lnTo>
                    <a:lnTo>
                      <a:pt x="234954" y="1132"/>
                    </a:lnTo>
                    <a:lnTo>
                      <a:pt x="227027" y="0"/>
                    </a:lnTo>
                    <a:cubicBezTo>
                      <a:pt x="211175" y="0"/>
                      <a:pt x="195889" y="7360"/>
                      <a:pt x="177206" y="23778"/>
                    </a:cubicBezTo>
                    <a:moveTo>
                      <a:pt x="37932" y="305156"/>
                    </a:moveTo>
                    <a:cubicBezTo>
                      <a:pt x="37932" y="280812"/>
                      <a:pt x="64541" y="266658"/>
                      <a:pt x="110400" y="266658"/>
                    </a:cubicBezTo>
                    <a:cubicBezTo>
                      <a:pt x="168147" y="266658"/>
                      <a:pt x="195323" y="279113"/>
                      <a:pt x="195323" y="305156"/>
                    </a:cubicBezTo>
                    <a:cubicBezTo>
                      <a:pt x="195323" y="331200"/>
                      <a:pt x="167581" y="344787"/>
                      <a:pt x="110966" y="344787"/>
                    </a:cubicBezTo>
                    <a:cubicBezTo>
                      <a:pt x="63409" y="344787"/>
                      <a:pt x="37932" y="331200"/>
                      <a:pt x="37932" y="305156"/>
                    </a:cubicBezTo>
                    <a:moveTo>
                      <a:pt x="51520" y="95114"/>
                    </a:moveTo>
                    <a:cubicBezTo>
                      <a:pt x="51520" y="58880"/>
                      <a:pt x="74732" y="35668"/>
                      <a:pt x="110966" y="35668"/>
                    </a:cubicBezTo>
                    <a:cubicBezTo>
                      <a:pt x="149464" y="35668"/>
                      <a:pt x="173809" y="59446"/>
                      <a:pt x="173809" y="98511"/>
                    </a:cubicBezTo>
                    <a:cubicBezTo>
                      <a:pt x="173809" y="137575"/>
                      <a:pt x="151163" y="159089"/>
                      <a:pt x="113231" y="159089"/>
                    </a:cubicBezTo>
                    <a:cubicBezTo>
                      <a:pt x="75298" y="159089"/>
                      <a:pt x="51520" y="135877"/>
                      <a:pt x="51520" y="95114"/>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D4A24158-3031-4443-8131-2ADDC5387216}"/>
                  </a:ext>
                </a:extLst>
              </p:cNvPr>
              <p:cNvSpPr/>
              <p:nvPr/>
            </p:nvSpPr>
            <p:spPr>
              <a:xfrm>
                <a:off x="6768729" y="5256837"/>
                <a:ext cx="226461" cy="280245"/>
              </a:xfrm>
              <a:custGeom>
                <a:avLst/>
                <a:gdLst>
                  <a:gd name="connsiteX0" fmla="*/ 0 w 226461"/>
                  <a:gd name="connsiteY0" fmla="*/ 139840 h 280245"/>
                  <a:gd name="connsiteX1" fmla="*/ 113231 w 226461"/>
                  <a:gd name="connsiteY1" fmla="*/ 280246 h 280245"/>
                  <a:gd name="connsiteX2" fmla="*/ 226461 w 226461"/>
                  <a:gd name="connsiteY2" fmla="*/ 139840 h 280245"/>
                  <a:gd name="connsiteX3" fmla="*/ 113231 w 226461"/>
                  <a:gd name="connsiteY3" fmla="*/ 0 h 280245"/>
                  <a:gd name="connsiteX4" fmla="*/ 0 w 226461"/>
                  <a:gd name="connsiteY4" fmla="*/ 139840 h 280245"/>
                  <a:gd name="connsiteX5" fmla="*/ 40197 w 226461"/>
                  <a:gd name="connsiteY5" fmla="*/ 139840 h 280245"/>
                  <a:gd name="connsiteX6" fmla="*/ 113231 w 226461"/>
                  <a:gd name="connsiteY6" fmla="*/ 33969 h 280245"/>
                  <a:gd name="connsiteX7" fmla="*/ 185698 w 226461"/>
                  <a:gd name="connsiteY7" fmla="*/ 140406 h 280245"/>
                  <a:gd name="connsiteX8" fmla="*/ 113231 w 226461"/>
                  <a:gd name="connsiteY8" fmla="*/ 246843 h 280245"/>
                  <a:gd name="connsiteX9" fmla="*/ 40197 w 226461"/>
                  <a:gd name="connsiteY9" fmla="*/ 139840 h 280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461" h="280245">
                    <a:moveTo>
                      <a:pt x="0" y="139840"/>
                    </a:moveTo>
                    <a:cubicBezTo>
                      <a:pt x="0" y="229292"/>
                      <a:pt x="41329" y="280246"/>
                      <a:pt x="113231" y="280246"/>
                    </a:cubicBezTo>
                    <a:cubicBezTo>
                      <a:pt x="185132" y="280246"/>
                      <a:pt x="226461" y="229292"/>
                      <a:pt x="226461" y="139840"/>
                    </a:cubicBezTo>
                    <a:cubicBezTo>
                      <a:pt x="226461" y="50388"/>
                      <a:pt x="185132" y="0"/>
                      <a:pt x="113231" y="0"/>
                    </a:cubicBezTo>
                    <a:cubicBezTo>
                      <a:pt x="41329" y="0"/>
                      <a:pt x="0" y="50954"/>
                      <a:pt x="0" y="139840"/>
                    </a:cubicBezTo>
                    <a:moveTo>
                      <a:pt x="40197" y="139840"/>
                    </a:moveTo>
                    <a:cubicBezTo>
                      <a:pt x="40197" y="70769"/>
                      <a:pt x="65674" y="33969"/>
                      <a:pt x="113231" y="33969"/>
                    </a:cubicBezTo>
                    <a:cubicBezTo>
                      <a:pt x="160787" y="33969"/>
                      <a:pt x="185698" y="70769"/>
                      <a:pt x="185698" y="140406"/>
                    </a:cubicBezTo>
                    <a:cubicBezTo>
                      <a:pt x="185698" y="210043"/>
                      <a:pt x="160221" y="246843"/>
                      <a:pt x="113231" y="246843"/>
                    </a:cubicBezTo>
                    <a:cubicBezTo>
                      <a:pt x="66240" y="246843"/>
                      <a:pt x="40197" y="208910"/>
                      <a:pt x="40197" y="139840"/>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4" name="Freeform: Shape 363">
                <a:extLst>
                  <a:ext uri="{FF2B5EF4-FFF2-40B4-BE49-F238E27FC236}">
                    <a16:creationId xmlns:a16="http://schemas.microsoft.com/office/drawing/2014/main" id="{6A23AC75-A91C-4F29-AFE4-729730ABF35E}"/>
                  </a:ext>
                </a:extLst>
              </p:cNvPr>
              <p:cNvSpPr/>
              <p:nvPr/>
            </p:nvSpPr>
            <p:spPr>
              <a:xfrm>
                <a:off x="7017837" y="5175877"/>
                <a:ext cx="143236" cy="361205"/>
              </a:xfrm>
              <a:custGeom>
                <a:avLst/>
                <a:gdLst>
                  <a:gd name="connsiteX0" fmla="*/ 40197 w 143236"/>
                  <a:gd name="connsiteY0" fmla="*/ 87188 h 361205"/>
                  <a:gd name="connsiteX1" fmla="*/ 0 w 143236"/>
                  <a:gd name="connsiteY1" fmla="*/ 87188 h 361205"/>
                  <a:gd name="connsiteX2" fmla="*/ 0 w 143236"/>
                  <a:gd name="connsiteY2" fmla="*/ 120024 h 361205"/>
                  <a:gd name="connsiteX3" fmla="*/ 40197 w 143236"/>
                  <a:gd name="connsiteY3" fmla="*/ 120024 h 361205"/>
                  <a:gd name="connsiteX4" fmla="*/ 40197 w 143236"/>
                  <a:gd name="connsiteY4" fmla="*/ 307987 h 361205"/>
                  <a:gd name="connsiteX5" fmla="*/ 102474 w 143236"/>
                  <a:gd name="connsiteY5" fmla="*/ 361206 h 361205"/>
                  <a:gd name="connsiteX6" fmla="*/ 142671 w 143236"/>
                  <a:gd name="connsiteY6" fmla="*/ 355544 h 361205"/>
                  <a:gd name="connsiteX7" fmla="*/ 143237 w 143236"/>
                  <a:gd name="connsiteY7" fmla="*/ 355544 h 361205"/>
                  <a:gd name="connsiteX8" fmla="*/ 143237 w 143236"/>
                  <a:gd name="connsiteY8" fmla="*/ 322141 h 361205"/>
                  <a:gd name="connsiteX9" fmla="*/ 140972 w 143236"/>
                  <a:gd name="connsiteY9" fmla="*/ 322141 h 361205"/>
                  <a:gd name="connsiteX10" fmla="*/ 116061 w 143236"/>
                  <a:gd name="connsiteY10" fmla="*/ 326670 h 361205"/>
                  <a:gd name="connsiteX11" fmla="*/ 81526 w 143236"/>
                  <a:gd name="connsiteY11" fmla="*/ 291003 h 361205"/>
                  <a:gd name="connsiteX12" fmla="*/ 81526 w 143236"/>
                  <a:gd name="connsiteY12" fmla="*/ 119458 h 361205"/>
                  <a:gd name="connsiteX13" fmla="*/ 141538 w 143236"/>
                  <a:gd name="connsiteY13" fmla="*/ 119458 h 361205"/>
                  <a:gd name="connsiteX14" fmla="*/ 141538 w 143236"/>
                  <a:gd name="connsiteY14" fmla="*/ 86621 h 361205"/>
                  <a:gd name="connsiteX15" fmla="*/ 80394 w 143236"/>
                  <a:gd name="connsiteY15" fmla="*/ 86621 h 361205"/>
                  <a:gd name="connsiteX16" fmla="*/ 80394 w 143236"/>
                  <a:gd name="connsiteY16" fmla="*/ 0 h 361205"/>
                  <a:gd name="connsiteX17" fmla="*/ 40197 w 143236"/>
                  <a:gd name="connsiteY17" fmla="*/ 0 h 361205"/>
                  <a:gd name="connsiteX18" fmla="*/ 40197 w 143236"/>
                  <a:gd name="connsiteY18" fmla="*/ 86621 h 36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3236" h="361205">
                    <a:moveTo>
                      <a:pt x="40197" y="87188"/>
                    </a:moveTo>
                    <a:lnTo>
                      <a:pt x="0" y="87188"/>
                    </a:lnTo>
                    <a:lnTo>
                      <a:pt x="0" y="120024"/>
                    </a:lnTo>
                    <a:lnTo>
                      <a:pt x="40197" y="120024"/>
                    </a:lnTo>
                    <a:lnTo>
                      <a:pt x="40197" y="307987"/>
                    </a:lnTo>
                    <a:cubicBezTo>
                      <a:pt x="40197" y="343655"/>
                      <a:pt x="61145" y="361206"/>
                      <a:pt x="102474" y="361206"/>
                    </a:cubicBezTo>
                    <a:cubicBezTo>
                      <a:pt x="118326" y="361206"/>
                      <a:pt x="131348" y="359507"/>
                      <a:pt x="142671" y="355544"/>
                    </a:cubicBezTo>
                    <a:lnTo>
                      <a:pt x="143237" y="355544"/>
                    </a:lnTo>
                    <a:lnTo>
                      <a:pt x="143237" y="322141"/>
                    </a:lnTo>
                    <a:lnTo>
                      <a:pt x="140972" y="322141"/>
                    </a:lnTo>
                    <a:lnTo>
                      <a:pt x="116061" y="326670"/>
                    </a:lnTo>
                    <a:cubicBezTo>
                      <a:pt x="86055" y="326670"/>
                      <a:pt x="81526" y="318744"/>
                      <a:pt x="81526" y="291003"/>
                    </a:cubicBezTo>
                    <a:lnTo>
                      <a:pt x="81526" y="119458"/>
                    </a:lnTo>
                    <a:lnTo>
                      <a:pt x="141538" y="119458"/>
                    </a:lnTo>
                    <a:lnTo>
                      <a:pt x="141538" y="86621"/>
                    </a:lnTo>
                    <a:lnTo>
                      <a:pt x="80394" y="86621"/>
                    </a:lnTo>
                    <a:lnTo>
                      <a:pt x="80394" y="0"/>
                    </a:lnTo>
                    <a:lnTo>
                      <a:pt x="40197" y="0"/>
                    </a:lnTo>
                    <a:lnTo>
                      <a:pt x="40197" y="86621"/>
                    </a:ln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076CC9F5-29F8-4D69-AAD9-DE82899437A8}"/>
                  </a:ext>
                </a:extLst>
              </p:cNvPr>
              <p:cNvSpPr/>
              <p:nvPr/>
            </p:nvSpPr>
            <p:spPr>
              <a:xfrm>
                <a:off x="7212593" y="5175877"/>
                <a:ext cx="202682" cy="355544"/>
              </a:xfrm>
              <a:custGeom>
                <a:avLst/>
                <a:gdLst>
                  <a:gd name="connsiteX0" fmla="*/ 0 w 202682"/>
                  <a:gd name="connsiteY0" fmla="*/ 0 h 355544"/>
                  <a:gd name="connsiteX1" fmla="*/ 0 w 202682"/>
                  <a:gd name="connsiteY1" fmla="*/ 355544 h 355544"/>
                  <a:gd name="connsiteX2" fmla="*/ 39065 w 202682"/>
                  <a:gd name="connsiteY2" fmla="*/ 355544 h 355544"/>
                  <a:gd name="connsiteX3" fmla="*/ 39065 w 202682"/>
                  <a:gd name="connsiteY3" fmla="*/ 155126 h 355544"/>
                  <a:gd name="connsiteX4" fmla="*/ 119458 w 202682"/>
                  <a:gd name="connsiteY4" fmla="*/ 115495 h 355544"/>
                  <a:gd name="connsiteX5" fmla="*/ 164184 w 202682"/>
                  <a:gd name="connsiteY5" fmla="*/ 170412 h 355544"/>
                  <a:gd name="connsiteX6" fmla="*/ 164184 w 202682"/>
                  <a:gd name="connsiteY6" fmla="*/ 355544 h 355544"/>
                  <a:gd name="connsiteX7" fmla="*/ 202683 w 202682"/>
                  <a:gd name="connsiteY7" fmla="*/ 355544 h 355544"/>
                  <a:gd name="connsiteX8" fmla="*/ 202683 w 202682"/>
                  <a:gd name="connsiteY8" fmla="*/ 156824 h 355544"/>
                  <a:gd name="connsiteX9" fmla="*/ 129083 w 202682"/>
                  <a:gd name="connsiteY9" fmla="*/ 81526 h 355544"/>
                  <a:gd name="connsiteX10" fmla="*/ 39065 w 202682"/>
                  <a:gd name="connsiteY10" fmla="*/ 124554 h 355544"/>
                  <a:gd name="connsiteX11" fmla="*/ 39065 w 202682"/>
                  <a:gd name="connsiteY11" fmla="*/ 0 h 355544"/>
                  <a:gd name="connsiteX12" fmla="*/ 0 w 202682"/>
                  <a:gd name="connsiteY12" fmla="*/ 0 h 35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2682" h="355544">
                    <a:moveTo>
                      <a:pt x="0" y="0"/>
                    </a:moveTo>
                    <a:lnTo>
                      <a:pt x="0" y="355544"/>
                    </a:lnTo>
                    <a:lnTo>
                      <a:pt x="39065" y="355544"/>
                    </a:lnTo>
                    <a:lnTo>
                      <a:pt x="39065" y="155126"/>
                    </a:lnTo>
                    <a:cubicBezTo>
                      <a:pt x="64541" y="128517"/>
                      <a:pt x="90585" y="115495"/>
                      <a:pt x="119458" y="115495"/>
                    </a:cubicBezTo>
                    <a:cubicBezTo>
                      <a:pt x="151729" y="115495"/>
                      <a:pt x="164184" y="130781"/>
                      <a:pt x="164184" y="170412"/>
                    </a:cubicBezTo>
                    <a:lnTo>
                      <a:pt x="164184" y="355544"/>
                    </a:lnTo>
                    <a:lnTo>
                      <a:pt x="202683" y="355544"/>
                    </a:lnTo>
                    <a:lnTo>
                      <a:pt x="202683" y="156824"/>
                    </a:lnTo>
                    <a:cubicBezTo>
                      <a:pt x="202683" y="108701"/>
                      <a:pt x="176074" y="81526"/>
                      <a:pt x="129083" y="81526"/>
                    </a:cubicBezTo>
                    <a:cubicBezTo>
                      <a:pt x="95680" y="81526"/>
                      <a:pt x="68504" y="94548"/>
                      <a:pt x="39065" y="124554"/>
                    </a:cubicBezTo>
                    <a:lnTo>
                      <a:pt x="39065" y="0"/>
                    </a:lnTo>
                    <a:lnTo>
                      <a:pt x="0" y="0"/>
                    </a:ln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6" name="Freeform: Shape 365">
                <a:extLst>
                  <a:ext uri="{FF2B5EF4-FFF2-40B4-BE49-F238E27FC236}">
                    <a16:creationId xmlns:a16="http://schemas.microsoft.com/office/drawing/2014/main" id="{0EA86FED-F30F-4E57-A36E-5441BDB63447}"/>
                  </a:ext>
                </a:extLst>
              </p:cNvPr>
              <p:cNvSpPr/>
              <p:nvPr/>
            </p:nvSpPr>
            <p:spPr>
              <a:xfrm>
                <a:off x="7474722" y="5256837"/>
                <a:ext cx="206645" cy="280245"/>
              </a:xfrm>
              <a:custGeom>
                <a:avLst/>
                <a:gdLst>
                  <a:gd name="connsiteX0" fmla="*/ 9058 w 206645"/>
                  <a:gd name="connsiteY0" fmla="*/ 57748 h 280245"/>
                  <a:gd name="connsiteX1" fmla="*/ 41895 w 206645"/>
                  <a:gd name="connsiteY1" fmla="*/ 76431 h 280245"/>
                  <a:gd name="connsiteX2" fmla="*/ 108135 w 206645"/>
                  <a:gd name="connsiteY2" fmla="*/ 34535 h 280245"/>
                  <a:gd name="connsiteX3" fmla="*/ 160787 w 206645"/>
                  <a:gd name="connsiteY3" fmla="*/ 75865 h 280245"/>
                  <a:gd name="connsiteX4" fmla="*/ 160787 w 206645"/>
                  <a:gd name="connsiteY4" fmla="*/ 95680 h 280245"/>
                  <a:gd name="connsiteX5" fmla="*/ 0 w 206645"/>
                  <a:gd name="connsiteY5" fmla="*/ 204947 h 280245"/>
                  <a:gd name="connsiteX6" fmla="*/ 74732 w 206645"/>
                  <a:gd name="connsiteY6" fmla="*/ 280246 h 280245"/>
                  <a:gd name="connsiteX7" fmla="*/ 159089 w 206645"/>
                  <a:gd name="connsiteY7" fmla="*/ 240615 h 280245"/>
                  <a:gd name="connsiteX8" fmla="*/ 163052 w 206645"/>
                  <a:gd name="connsiteY8" fmla="*/ 275150 h 280245"/>
                  <a:gd name="connsiteX9" fmla="*/ 205514 w 206645"/>
                  <a:gd name="connsiteY9" fmla="*/ 275150 h 280245"/>
                  <a:gd name="connsiteX10" fmla="*/ 206646 w 206645"/>
                  <a:gd name="connsiteY10" fmla="*/ 270055 h 280245"/>
                  <a:gd name="connsiteX11" fmla="*/ 200984 w 206645"/>
                  <a:gd name="connsiteY11" fmla="*/ 230990 h 280245"/>
                  <a:gd name="connsiteX12" fmla="*/ 200984 w 206645"/>
                  <a:gd name="connsiteY12" fmla="*/ 80960 h 280245"/>
                  <a:gd name="connsiteX13" fmla="*/ 109834 w 206645"/>
                  <a:gd name="connsiteY13" fmla="*/ 0 h 280245"/>
                  <a:gd name="connsiteX14" fmla="*/ 8492 w 206645"/>
                  <a:gd name="connsiteY14" fmla="*/ 57748 h 280245"/>
                  <a:gd name="connsiteX15" fmla="*/ 38498 w 206645"/>
                  <a:gd name="connsiteY15" fmla="*/ 205514 h 280245"/>
                  <a:gd name="connsiteX16" fmla="*/ 160221 w 206645"/>
                  <a:gd name="connsiteY16" fmla="*/ 131914 h 280245"/>
                  <a:gd name="connsiteX17" fmla="*/ 160221 w 206645"/>
                  <a:gd name="connsiteY17" fmla="*/ 204381 h 280245"/>
                  <a:gd name="connsiteX18" fmla="*/ 80960 w 206645"/>
                  <a:gd name="connsiteY18" fmla="*/ 244578 h 280245"/>
                  <a:gd name="connsiteX19" fmla="*/ 38498 w 206645"/>
                  <a:gd name="connsiteY19" fmla="*/ 205514 h 280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6645" h="280245">
                    <a:moveTo>
                      <a:pt x="9058" y="57748"/>
                    </a:moveTo>
                    <a:cubicBezTo>
                      <a:pt x="9058" y="57748"/>
                      <a:pt x="41895" y="76431"/>
                      <a:pt x="41895" y="76431"/>
                    </a:cubicBezTo>
                    <a:cubicBezTo>
                      <a:pt x="56615" y="48689"/>
                      <a:pt x="79261" y="34535"/>
                      <a:pt x="108135" y="34535"/>
                    </a:cubicBezTo>
                    <a:cubicBezTo>
                      <a:pt x="139274" y="34535"/>
                      <a:pt x="160787" y="51520"/>
                      <a:pt x="160787" y="75865"/>
                    </a:cubicBezTo>
                    <a:lnTo>
                      <a:pt x="160787" y="95680"/>
                    </a:lnTo>
                    <a:cubicBezTo>
                      <a:pt x="45292" y="117194"/>
                      <a:pt x="0" y="147766"/>
                      <a:pt x="0" y="204947"/>
                    </a:cubicBezTo>
                    <a:cubicBezTo>
                      <a:pt x="0" y="249107"/>
                      <a:pt x="30572" y="280246"/>
                      <a:pt x="74732" y="280246"/>
                    </a:cubicBezTo>
                    <a:cubicBezTo>
                      <a:pt x="106437" y="280246"/>
                      <a:pt x="134745" y="266658"/>
                      <a:pt x="159089" y="240615"/>
                    </a:cubicBezTo>
                    <a:cubicBezTo>
                      <a:pt x="159089" y="244012"/>
                      <a:pt x="163052" y="275150"/>
                      <a:pt x="163052" y="275150"/>
                    </a:cubicBezTo>
                    <a:lnTo>
                      <a:pt x="205514" y="275150"/>
                    </a:lnTo>
                    <a:lnTo>
                      <a:pt x="206646" y="270055"/>
                    </a:lnTo>
                    <a:cubicBezTo>
                      <a:pt x="202683" y="257600"/>
                      <a:pt x="200984" y="245144"/>
                      <a:pt x="200984" y="230990"/>
                    </a:cubicBezTo>
                    <a:lnTo>
                      <a:pt x="200984" y="80960"/>
                    </a:lnTo>
                    <a:cubicBezTo>
                      <a:pt x="200984" y="29440"/>
                      <a:pt x="167581" y="0"/>
                      <a:pt x="109834" y="0"/>
                    </a:cubicBezTo>
                    <a:cubicBezTo>
                      <a:pt x="62843" y="0"/>
                      <a:pt x="28874" y="19249"/>
                      <a:pt x="8492" y="57748"/>
                    </a:cubicBezTo>
                    <a:moveTo>
                      <a:pt x="38498" y="205514"/>
                    </a:moveTo>
                    <a:cubicBezTo>
                      <a:pt x="38498" y="170412"/>
                      <a:pt x="72468" y="149464"/>
                      <a:pt x="160221" y="131914"/>
                    </a:cubicBezTo>
                    <a:lnTo>
                      <a:pt x="160221" y="204381"/>
                    </a:lnTo>
                    <a:cubicBezTo>
                      <a:pt x="129083" y="231557"/>
                      <a:pt x="103606" y="244578"/>
                      <a:pt x="80960" y="244578"/>
                    </a:cubicBezTo>
                    <a:cubicBezTo>
                      <a:pt x="54917" y="244578"/>
                      <a:pt x="38498" y="229858"/>
                      <a:pt x="38498" y="205514"/>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7" name="Freeform: Shape 366">
                <a:extLst>
                  <a:ext uri="{FF2B5EF4-FFF2-40B4-BE49-F238E27FC236}">
                    <a16:creationId xmlns:a16="http://schemas.microsoft.com/office/drawing/2014/main" id="{96E236D0-113A-45D6-9F64-6A6FF3BCA0BD}"/>
                  </a:ext>
                </a:extLst>
              </p:cNvPr>
              <p:cNvSpPr/>
              <p:nvPr/>
            </p:nvSpPr>
            <p:spPr>
              <a:xfrm>
                <a:off x="7753836" y="5257403"/>
                <a:ext cx="347617" cy="274018"/>
              </a:xfrm>
              <a:custGeom>
                <a:avLst/>
                <a:gdLst>
                  <a:gd name="connsiteX0" fmla="*/ 187397 w 347617"/>
                  <a:gd name="connsiteY0" fmla="*/ 45292 h 274018"/>
                  <a:gd name="connsiteX1" fmla="*/ 123421 w 347617"/>
                  <a:gd name="connsiteY1" fmla="*/ 0 h 274018"/>
                  <a:gd name="connsiteX2" fmla="*/ 36800 w 347617"/>
                  <a:gd name="connsiteY2" fmla="*/ 43594 h 274018"/>
                  <a:gd name="connsiteX3" fmla="*/ 36800 w 347617"/>
                  <a:gd name="connsiteY3" fmla="*/ 5662 h 274018"/>
                  <a:gd name="connsiteX4" fmla="*/ 0 w 347617"/>
                  <a:gd name="connsiteY4" fmla="*/ 5662 h 274018"/>
                  <a:gd name="connsiteX5" fmla="*/ 0 w 347617"/>
                  <a:gd name="connsiteY5" fmla="*/ 274018 h 274018"/>
                  <a:gd name="connsiteX6" fmla="*/ 39064 w 347617"/>
                  <a:gd name="connsiteY6" fmla="*/ 274018 h 274018"/>
                  <a:gd name="connsiteX7" fmla="*/ 39064 w 347617"/>
                  <a:gd name="connsiteY7" fmla="*/ 73600 h 274018"/>
                  <a:gd name="connsiteX8" fmla="*/ 113231 w 347617"/>
                  <a:gd name="connsiteY8" fmla="*/ 33969 h 274018"/>
                  <a:gd name="connsiteX9" fmla="*/ 155126 w 347617"/>
                  <a:gd name="connsiteY9" fmla="*/ 87754 h 274018"/>
                  <a:gd name="connsiteX10" fmla="*/ 155126 w 347617"/>
                  <a:gd name="connsiteY10" fmla="*/ 274018 h 274018"/>
                  <a:gd name="connsiteX11" fmla="*/ 192492 w 347617"/>
                  <a:gd name="connsiteY11" fmla="*/ 274018 h 274018"/>
                  <a:gd name="connsiteX12" fmla="*/ 192492 w 347617"/>
                  <a:gd name="connsiteY12" fmla="*/ 73600 h 274018"/>
                  <a:gd name="connsiteX13" fmla="*/ 267224 w 347617"/>
                  <a:gd name="connsiteY13" fmla="*/ 33969 h 274018"/>
                  <a:gd name="connsiteX14" fmla="*/ 308553 w 347617"/>
                  <a:gd name="connsiteY14" fmla="*/ 87188 h 274018"/>
                  <a:gd name="connsiteX15" fmla="*/ 308553 w 347617"/>
                  <a:gd name="connsiteY15" fmla="*/ 274018 h 274018"/>
                  <a:gd name="connsiteX16" fmla="*/ 347618 w 347617"/>
                  <a:gd name="connsiteY16" fmla="*/ 274018 h 274018"/>
                  <a:gd name="connsiteX17" fmla="*/ 347618 w 347617"/>
                  <a:gd name="connsiteY17" fmla="*/ 75298 h 274018"/>
                  <a:gd name="connsiteX18" fmla="*/ 277981 w 347617"/>
                  <a:gd name="connsiteY18" fmla="*/ 0 h 274018"/>
                  <a:gd name="connsiteX19" fmla="*/ 188529 w 347617"/>
                  <a:gd name="connsiteY19" fmla="*/ 45292 h 27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7617" h="274018">
                    <a:moveTo>
                      <a:pt x="187397" y="45292"/>
                    </a:moveTo>
                    <a:cubicBezTo>
                      <a:pt x="179471" y="15852"/>
                      <a:pt x="156824" y="0"/>
                      <a:pt x="123421" y="0"/>
                    </a:cubicBezTo>
                    <a:cubicBezTo>
                      <a:pt x="90018" y="0"/>
                      <a:pt x="66240" y="13022"/>
                      <a:pt x="36800" y="43594"/>
                    </a:cubicBezTo>
                    <a:lnTo>
                      <a:pt x="36800" y="5662"/>
                    </a:lnTo>
                    <a:lnTo>
                      <a:pt x="0" y="5662"/>
                    </a:lnTo>
                    <a:lnTo>
                      <a:pt x="0" y="274018"/>
                    </a:lnTo>
                    <a:lnTo>
                      <a:pt x="39064" y="274018"/>
                    </a:lnTo>
                    <a:lnTo>
                      <a:pt x="39064" y="73600"/>
                    </a:lnTo>
                    <a:cubicBezTo>
                      <a:pt x="64541" y="45858"/>
                      <a:pt x="86621" y="33969"/>
                      <a:pt x="113231" y="33969"/>
                    </a:cubicBezTo>
                    <a:cubicBezTo>
                      <a:pt x="142671" y="33969"/>
                      <a:pt x="155126" y="49821"/>
                      <a:pt x="155126" y="87754"/>
                    </a:cubicBezTo>
                    <a:lnTo>
                      <a:pt x="155126" y="274018"/>
                    </a:lnTo>
                    <a:lnTo>
                      <a:pt x="192492" y="274018"/>
                    </a:lnTo>
                    <a:lnTo>
                      <a:pt x="192492" y="73600"/>
                    </a:lnTo>
                    <a:cubicBezTo>
                      <a:pt x="216837" y="46991"/>
                      <a:pt x="240049" y="33969"/>
                      <a:pt x="267224" y="33969"/>
                    </a:cubicBezTo>
                    <a:cubicBezTo>
                      <a:pt x="296664" y="33969"/>
                      <a:pt x="308553" y="49255"/>
                      <a:pt x="308553" y="87188"/>
                    </a:cubicBezTo>
                    <a:lnTo>
                      <a:pt x="308553" y="274018"/>
                    </a:lnTo>
                    <a:lnTo>
                      <a:pt x="347618" y="274018"/>
                    </a:lnTo>
                    <a:lnTo>
                      <a:pt x="347618" y="75298"/>
                    </a:lnTo>
                    <a:cubicBezTo>
                      <a:pt x="347618" y="27175"/>
                      <a:pt x="322141" y="0"/>
                      <a:pt x="277981" y="0"/>
                    </a:cubicBezTo>
                    <a:cubicBezTo>
                      <a:pt x="245144" y="0"/>
                      <a:pt x="217969" y="13588"/>
                      <a:pt x="188529" y="45292"/>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8" name="Freeform: Shape 367">
                <a:extLst>
                  <a:ext uri="{FF2B5EF4-FFF2-40B4-BE49-F238E27FC236}">
                    <a16:creationId xmlns:a16="http://schemas.microsoft.com/office/drawing/2014/main" id="{3096CFC0-0B44-429B-B0D4-93D68EB7BDE6}"/>
                  </a:ext>
                </a:extLst>
              </p:cNvPr>
              <p:cNvSpPr/>
              <p:nvPr/>
            </p:nvSpPr>
            <p:spPr>
              <a:xfrm>
                <a:off x="8125798" y="5214376"/>
                <a:ext cx="78129" cy="78129"/>
              </a:xfrm>
              <a:custGeom>
                <a:avLst/>
                <a:gdLst>
                  <a:gd name="connsiteX0" fmla="*/ 39064 w 78129"/>
                  <a:gd name="connsiteY0" fmla="*/ 78129 h 78129"/>
                  <a:gd name="connsiteX1" fmla="*/ 0 w 78129"/>
                  <a:gd name="connsiteY1" fmla="*/ 39065 h 78129"/>
                  <a:gd name="connsiteX2" fmla="*/ 39064 w 78129"/>
                  <a:gd name="connsiteY2" fmla="*/ 0 h 78129"/>
                  <a:gd name="connsiteX3" fmla="*/ 78129 w 78129"/>
                  <a:gd name="connsiteY3" fmla="*/ 39065 h 78129"/>
                  <a:gd name="connsiteX4" fmla="*/ 39064 w 78129"/>
                  <a:gd name="connsiteY4" fmla="*/ 78129 h 78129"/>
                  <a:gd name="connsiteX5" fmla="*/ 39064 w 78129"/>
                  <a:gd name="connsiteY5" fmla="*/ 6794 h 78129"/>
                  <a:gd name="connsiteX6" fmla="*/ 6228 w 78129"/>
                  <a:gd name="connsiteY6" fmla="*/ 39631 h 78129"/>
                  <a:gd name="connsiteX7" fmla="*/ 39064 w 78129"/>
                  <a:gd name="connsiteY7" fmla="*/ 72468 h 78129"/>
                  <a:gd name="connsiteX8" fmla="*/ 71901 w 78129"/>
                  <a:gd name="connsiteY8" fmla="*/ 39631 h 78129"/>
                  <a:gd name="connsiteX9" fmla="*/ 39064 w 78129"/>
                  <a:gd name="connsiteY9" fmla="*/ 6794 h 78129"/>
                  <a:gd name="connsiteX10" fmla="*/ 46991 w 78129"/>
                  <a:gd name="connsiteY10" fmla="*/ 42461 h 78129"/>
                  <a:gd name="connsiteX11" fmla="*/ 54917 w 78129"/>
                  <a:gd name="connsiteY11" fmla="*/ 58314 h 78129"/>
                  <a:gd name="connsiteX12" fmla="*/ 46991 w 78129"/>
                  <a:gd name="connsiteY12" fmla="*/ 58314 h 78129"/>
                  <a:gd name="connsiteX13" fmla="*/ 39064 w 78129"/>
                  <a:gd name="connsiteY13" fmla="*/ 43028 h 78129"/>
                  <a:gd name="connsiteX14" fmla="*/ 31705 w 78129"/>
                  <a:gd name="connsiteY14" fmla="*/ 43028 h 78129"/>
                  <a:gd name="connsiteX15" fmla="*/ 31705 w 78129"/>
                  <a:gd name="connsiteY15" fmla="*/ 58314 h 78129"/>
                  <a:gd name="connsiteX16" fmla="*/ 24911 w 78129"/>
                  <a:gd name="connsiteY16" fmla="*/ 58314 h 78129"/>
                  <a:gd name="connsiteX17" fmla="*/ 24911 w 78129"/>
                  <a:gd name="connsiteY17" fmla="*/ 18683 h 78129"/>
                  <a:gd name="connsiteX18" fmla="*/ 42461 w 78129"/>
                  <a:gd name="connsiteY18" fmla="*/ 18683 h 78129"/>
                  <a:gd name="connsiteX19" fmla="*/ 55483 w 78129"/>
                  <a:gd name="connsiteY19" fmla="*/ 30572 h 78129"/>
                  <a:gd name="connsiteX20" fmla="*/ 46991 w 78129"/>
                  <a:gd name="connsiteY20" fmla="*/ 42461 h 78129"/>
                  <a:gd name="connsiteX21" fmla="*/ 42461 w 78129"/>
                  <a:gd name="connsiteY21" fmla="*/ 25477 h 78129"/>
                  <a:gd name="connsiteX22" fmla="*/ 31705 w 78129"/>
                  <a:gd name="connsiteY22" fmla="*/ 25477 h 78129"/>
                  <a:gd name="connsiteX23" fmla="*/ 31705 w 78129"/>
                  <a:gd name="connsiteY23" fmla="*/ 36800 h 78129"/>
                  <a:gd name="connsiteX24" fmla="*/ 42461 w 78129"/>
                  <a:gd name="connsiteY24" fmla="*/ 36800 h 78129"/>
                  <a:gd name="connsiteX25" fmla="*/ 48689 w 78129"/>
                  <a:gd name="connsiteY25" fmla="*/ 31138 h 78129"/>
                  <a:gd name="connsiteX26" fmla="*/ 42461 w 78129"/>
                  <a:gd name="connsiteY26" fmla="*/ 25477 h 7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129" h="78129">
                    <a:moveTo>
                      <a:pt x="39064" y="78129"/>
                    </a:moveTo>
                    <a:cubicBezTo>
                      <a:pt x="16985" y="78129"/>
                      <a:pt x="0" y="61145"/>
                      <a:pt x="0" y="39065"/>
                    </a:cubicBezTo>
                    <a:cubicBezTo>
                      <a:pt x="0" y="16985"/>
                      <a:pt x="16985" y="0"/>
                      <a:pt x="39064" y="0"/>
                    </a:cubicBezTo>
                    <a:cubicBezTo>
                      <a:pt x="61145" y="0"/>
                      <a:pt x="78129" y="16985"/>
                      <a:pt x="78129" y="39065"/>
                    </a:cubicBezTo>
                    <a:cubicBezTo>
                      <a:pt x="78129" y="61145"/>
                      <a:pt x="61145" y="78129"/>
                      <a:pt x="39064" y="78129"/>
                    </a:cubicBezTo>
                    <a:moveTo>
                      <a:pt x="39064" y="6794"/>
                    </a:moveTo>
                    <a:cubicBezTo>
                      <a:pt x="20382" y="6794"/>
                      <a:pt x="6228" y="20948"/>
                      <a:pt x="6228" y="39631"/>
                    </a:cubicBezTo>
                    <a:cubicBezTo>
                      <a:pt x="6228" y="58314"/>
                      <a:pt x="20382" y="72468"/>
                      <a:pt x="39064" y="72468"/>
                    </a:cubicBezTo>
                    <a:cubicBezTo>
                      <a:pt x="57748" y="72468"/>
                      <a:pt x="71901" y="58314"/>
                      <a:pt x="71901" y="39631"/>
                    </a:cubicBezTo>
                    <a:cubicBezTo>
                      <a:pt x="71901" y="20948"/>
                      <a:pt x="57748" y="6794"/>
                      <a:pt x="39064" y="6794"/>
                    </a:cubicBezTo>
                    <a:moveTo>
                      <a:pt x="46991" y="42461"/>
                    </a:moveTo>
                    <a:lnTo>
                      <a:pt x="54917" y="58314"/>
                    </a:lnTo>
                    <a:lnTo>
                      <a:pt x="46991" y="58314"/>
                    </a:lnTo>
                    <a:lnTo>
                      <a:pt x="39064" y="43028"/>
                    </a:lnTo>
                    <a:lnTo>
                      <a:pt x="31705" y="43028"/>
                    </a:lnTo>
                    <a:lnTo>
                      <a:pt x="31705" y="58314"/>
                    </a:lnTo>
                    <a:lnTo>
                      <a:pt x="24911" y="58314"/>
                    </a:lnTo>
                    <a:lnTo>
                      <a:pt x="24911" y="18683"/>
                    </a:lnTo>
                    <a:lnTo>
                      <a:pt x="42461" y="18683"/>
                    </a:lnTo>
                    <a:cubicBezTo>
                      <a:pt x="49255" y="18683"/>
                      <a:pt x="55483" y="22646"/>
                      <a:pt x="55483" y="30572"/>
                    </a:cubicBezTo>
                    <a:cubicBezTo>
                      <a:pt x="55483" y="36800"/>
                      <a:pt x="52086" y="40763"/>
                      <a:pt x="46991" y="42461"/>
                    </a:cubicBezTo>
                    <a:moveTo>
                      <a:pt x="42461" y="25477"/>
                    </a:moveTo>
                    <a:lnTo>
                      <a:pt x="31705" y="25477"/>
                    </a:lnTo>
                    <a:lnTo>
                      <a:pt x="31705" y="36800"/>
                    </a:lnTo>
                    <a:lnTo>
                      <a:pt x="42461" y="36800"/>
                    </a:lnTo>
                    <a:cubicBezTo>
                      <a:pt x="45858" y="36800"/>
                      <a:pt x="48689" y="35101"/>
                      <a:pt x="48689" y="31138"/>
                    </a:cubicBezTo>
                    <a:cubicBezTo>
                      <a:pt x="48689" y="27175"/>
                      <a:pt x="45858" y="25477"/>
                      <a:pt x="42461" y="25477"/>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369" name="Group 368">
              <a:extLst>
                <a:ext uri="{FF2B5EF4-FFF2-40B4-BE49-F238E27FC236}">
                  <a16:creationId xmlns:a16="http://schemas.microsoft.com/office/drawing/2014/main" id="{D27D1FD5-EDF1-4BF2-AE4D-9D02BE516E85}"/>
                </a:ext>
              </a:extLst>
            </p:cNvPr>
            <p:cNvGrpSpPr/>
            <p:nvPr userDrawn="1"/>
          </p:nvGrpSpPr>
          <p:grpSpPr>
            <a:xfrm>
              <a:off x="10490200" y="1738343"/>
              <a:ext cx="595276" cy="201289"/>
              <a:chOff x="5910262" y="3367001"/>
              <a:chExt cx="1407334" cy="475881"/>
            </a:xfrm>
          </p:grpSpPr>
          <p:sp>
            <p:nvSpPr>
              <p:cNvPr id="370" name="Freeform: Shape 369">
                <a:extLst>
                  <a:ext uri="{FF2B5EF4-FFF2-40B4-BE49-F238E27FC236}">
                    <a16:creationId xmlns:a16="http://schemas.microsoft.com/office/drawing/2014/main" id="{3E889EBA-3199-4B9E-88F2-4594E35B5F46}"/>
                  </a:ext>
                </a:extLst>
              </p:cNvPr>
              <p:cNvSpPr/>
              <p:nvPr/>
            </p:nvSpPr>
            <p:spPr>
              <a:xfrm>
                <a:off x="7246136" y="3673346"/>
                <a:ext cx="71460" cy="71460"/>
              </a:xfrm>
              <a:custGeom>
                <a:avLst/>
                <a:gdLst>
                  <a:gd name="connsiteX0" fmla="*/ 35730 w 71460"/>
                  <a:gd name="connsiteY0" fmla="*/ 3646 h 71460"/>
                  <a:gd name="connsiteX1" fmla="*/ 3646 w 71460"/>
                  <a:gd name="connsiteY1" fmla="*/ 35730 h 71460"/>
                  <a:gd name="connsiteX2" fmla="*/ 35730 w 71460"/>
                  <a:gd name="connsiteY2" fmla="*/ 67815 h 71460"/>
                  <a:gd name="connsiteX3" fmla="*/ 67815 w 71460"/>
                  <a:gd name="connsiteY3" fmla="*/ 35730 h 71460"/>
                  <a:gd name="connsiteX4" fmla="*/ 35730 w 71460"/>
                  <a:gd name="connsiteY4" fmla="*/ 3646 h 71460"/>
                  <a:gd name="connsiteX5" fmla="*/ 35730 w 71460"/>
                  <a:gd name="connsiteY5" fmla="*/ 71461 h 71460"/>
                  <a:gd name="connsiteX6" fmla="*/ 0 w 71460"/>
                  <a:gd name="connsiteY6" fmla="*/ 35730 h 71460"/>
                  <a:gd name="connsiteX7" fmla="*/ 35730 w 71460"/>
                  <a:gd name="connsiteY7" fmla="*/ 0 h 71460"/>
                  <a:gd name="connsiteX8" fmla="*/ 71461 w 71460"/>
                  <a:gd name="connsiteY8" fmla="*/ 35730 h 71460"/>
                  <a:gd name="connsiteX9" fmla="*/ 35730 w 71460"/>
                  <a:gd name="connsiteY9" fmla="*/ 71461 h 7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460" h="71460">
                    <a:moveTo>
                      <a:pt x="35730" y="3646"/>
                    </a:moveTo>
                    <a:cubicBezTo>
                      <a:pt x="18230" y="3646"/>
                      <a:pt x="3646" y="17865"/>
                      <a:pt x="3646" y="35730"/>
                    </a:cubicBezTo>
                    <a:cubicBezTo>
                      <a:pt x="3646" y="53595"/>
                      <a:pt x="17865" y="67815"/>
                      <a:pt x="35730" y="67815"/>
                    </a:cubicBezTo>
                    <a:cubicBezTo>
                      <a:pt x="53595" y="67815"/>
                      <a:pt x="67815" y="53595"/>
                      <a:pt x="67815" y="35730"/>
                    </a:cubicBezTo>
                    <a:cubicBezTo>
                      <a:pt x="67815" y="17865"/>
                      <a:pt x="53595" y="3646"/>
                      <a:pt x="35730" y="3646"/>
                    </a:cubicBezTo>
                    <a:moveTo>
                      <a:pt x="35730" y="71461"/>
                    </a:moveTo>
                    <a:cubicBezTo>
                      <a:pt x="16042" y="71461"/>
                      <a:pt x="0" y="55418"/>
                      <a:pt x="0" y="35730"/>
                    </a:cubicBezTo>
                    <a:cubicBezTo>
                      <a:pt x="0" y="16042"/>
                      <a:pt x="16042" y="0"/>
                      <a:pt x="35730" y="0"/>
                    </a:cubicBezTo>
                    <a:cubicBezTo>
                      <a:pt x="55418" y="0"/>
                      <a:pt x="71461" y="16042"/>
                      <a:pt x="71461" y="35730"/>
                    </a:cubicBezTo>
                    <a:cubicBezTo>
                      <a:pt x="71461" y="55418"/>
                      <a:pt x="55418" y="71461"/>
                      <a:pt x="35730" y="71461"/>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F44CDC5A-6560-403D-A226-55E028FD7F06}"/>
                  </a:ext>
                </a:extLst>
              </p:cNvPr>
              <p:cNvSpPr/>
              <p:nvPr/>
            </p:nvSpPr>
            <p:spPr>
              <a:xfrm>
                <a:off x="7267647" y="3691940"/>
                <a:ext cx="31355" cy="36094"/>
              </a:xfrm>
              <a:custGeom>
                <a:avLst/>
                <a:gdLst>
                  <a:gd name="connsiteX0" fmla="*/ 4740 w 31355"/>
                  <a:gd name="connsiteY0" fmla="*/ 16042 h 36094"/>
                  <a:gd name="connsiteX1" fmla="*/ 14948 w 31355"/>
                  <a:gd name="connsiteY1" fmla="*/ 16042 h 36094"/>
                  <a:gd name="connsiteX2" fmla="*/ 20053 w 31355"/>
                  <a:gd name="connsiteY2" fmla="*/ 15313 h 36094"/>
                  <a:gd name="connsiteX3" fmla="*/ 22970 w 31355"/>
                  <a:gd name="connsiteY3" fmla="*/ 13125 h 36094"/>
                  <a:gd name="connsiteX4" fmla="*/ 24063 w 31355"/>
                  <a:gd name="connsiteY4" fmla="*/ 9844 h 36094"/>
                  <a:gd name="connsiteX5" fmla="*/ 22240 w 31355"/>
                  <a:gd name="connsiteY5" fmla="*/ 5834 h 36094"/>
                  <a:gd name="connsiteX6" fmla="*/ 16407 w 31355"/>
                  <a:gd name="connsiteY6" fmla="*/ 4375 h 36094"/>
                  <a:gd name="connsiteX7" fmla="*/ 5104 w 31355"/>
                  <a:gd name="connsiteY7" fmla="*/ 4375 h 36094"/>
                  <a:gd name="connsiteX8" fmla="*/ 5104 w 31355"/>
                  <a:gd name="connsiteY8" fmla="*/ 16042 h 36094"/>
                  <a:gd name="connsiteX9" fmla="*/ 5104 w 31355"/>
                  <a:gd name="connsiteY9" fmla="*/ 16042 h 36094"/>
                  <a:gd name="connsiteX10" fmla="*/ 0 w 31355"/>
                  <a:gd name="connsiteY10" fmla="*/ 35730 h 36094"/>
                  <a:gd name="connsiteX11" fmla="*/ 0 w 31355"/>
                  <a:gd name="connsiteY11" fmla="*/ 0 h 36094"/>
                  <a:gd name="connsiteX12" fmla="*/ 15678 w 31355"/>
                  <a:gd name="connsiteY12" fmla="*/ 0 h 36094"/>
                  <a:gd name="connsiteX13" fmla="*/ 22970 w 31355"/>
                  <a:gd name="connsiteY13" fmla="*/ 1094 h 36094"/>
                  <a:gd name="connsiteX14" fmla="*/ 26980 w 31355"/>
                  <a:gd name="connsiteY14" fmla="*/ 4375 h 36094"/>
                  <a:gd name="connsiteX15" fmla="*/ 28438 w 31355"/>
                  <a:gd name="connsiteY15" fmla="*/ 9844 h 36094"/>
                  <a:gd name="connsiteX16" fmla="*/ 25886 w 31355"/>
                  <a:gd name="connsiteY16" fmla="*/ 16407 h 36094"/>
                  <a:gd name="connsiteX17" fmla="*/ 18230 w 31355"/>
                  <a:gd name="connsiteY17" fmla="*/ 19688 h 36094"/>
                  <a:gd name="connsiteX18" fmla="*/ 21147 w 31355"/>
                  <a:gd name="connsiteY18" fmla="*/ 21511 h 36094"/>
                  <a:gd name="connsiteX19" fmla="*/ 25157 w 31355"/>
                  <a:gd name="connsiteY19" fmla="*/ 26251 h 36094"/>
                  <a:gd name="connsiteX20" fmla="*/ 31355 w 31355"/>
                  <a:gd name="connsiteY20" fmla="*/ 36095 h 36094"/>
                  <a:gd name="connsiteX21" fmla="*/ 25522 w 31355"/>
                  <a:gd name="connsiteY21" fmla="*/ 36095 h 36094"/>
                  <a:gd name="connsiteX22" fmla="*/ 20782 w 31355"/>
                  <a:gd name="connsiteY22" fmla="*/ 28803 h 36094"/>
                  <a:gd name="connsiteX23" fmla="*/ 17501 w 31355"/>
                  <a:gd name="connsiteY23" fmla="*/ 24063 h 36094"/>
                  <a:gd name="connsiteX24" fmla="*/ 14948 w 31355"/>
                  <a:gd name="connsiteY24" fmla="*/ 21511 h 36094"/>
                  <a:gd name="connsiteX25" fmla="*/ 12761 w 31355"/>
                  <a:gd name="connsiteY25" fmla="*/ 20417 h 36094"/>
                  <a:gd name="connsiteX26" fmla="*/ 10209 w 31355"/>
                  <a:gd name="connsiteY26" fmla="*/ 20417 h 36094"/>
                  <a:gd name="connsiteX27" fmla="*/ 4740 w 31355"/>
                  <a:gd name="connsiteY27" fmla="*/ 20417 h 36094"/>
                  <a:gd name="connsiteX28" fmla="*/ 4740 w 31355"/>
                  <a:gd name="connsiteY28" fmla="*/ 36095 h 36094"/>
                  <a:gd name="connsiteX29" fmla="*/ 0 w 31355"/>
                  <a:gd name="connsiteY29" fmla="*/ 36095 h 3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355" h="36094">
                    <a:moveTo>
                      <a:pt x="4740" y="16042"/>
                    </a:moveTo>
                    <a:lnTo>
                      <a:pt x="14948" y="16042"/>
                    </a:lnTo>
                    <a:cubicBezTo>
                      <a:pt x="17136" y="16042"/>
                      <a:pt x="18959" y="16042"/>
                      <a:pt x="20053" y="15313"/>
                    </a:cubicBezTo>
                    <a:cubicBezTo>
                      <a:pt x="21147" y="14948"/>
                      <a:pt x="22240" y="14219"/>
                      <a:pt x="22970" y="13125"/>
                    </a:cubicBezTo>
                    <a:cubicBezTo>
                      <a:pt x="23699" y="12032"/>
                      <a:pt x="24063" y="10938"/>
                      <a:pt x="24063" y="9844"/>
                    </a:cubicBezTo>
                    <a:cubicBezTo>
                      <a:pt x="24063" y="8021"/>
                      <a:pt x="23334" y="6927"/>
                      <a:pt x="22240" y="5834"/>
                    </a:cubicBezTo>
                    <a:cubicBezTo>
                      <a:pt x="21147" y="4740"/>
                      <a:pt x="18959" y="4375"/>
                      <a:pt x="16407" y="4375"/>
                    </a:cubicBezTo>
                    <a:lnTo>
                      <a:pt x="5104" y="4375"/>
                    </a:lnTo>
                    <a:lnTo>
                      <a:pt x="5104" y="16042"/>
                    </a:lnTo>
                    <a:lnTo>
                      <a:pt x="5104" y="16042"/>
                    </a:lnTo>
                    <a:close/>
                    <a:moveTo>
                      <a:pt x="0" y="35730"/>
                    </a:moveTo>
                    <a:lnTo>
                      <a:pt x="0" y="0"/>
                    </a:lnTo>
                    <a:lnTo>
                      <a:pt x="15678" y="0"/>
                    </a:lnTo>
                    <a:cubicBezTo>
                      <a:pt x="18959" y="0"/>
                      <a:pt x="21147" y="0"/>
                      <a:pt x="22970" y="1094"/>
                    </a:cubicBezTo>
                    <a:cubicBezTo>
                      <a:pt x="24792" y="1823"/>
                      <a:pt x="25886" y="2917"/>
                      <a:pt x="26980" y="4375"/>
                    </a:cubicBezTo>
                    <a:cubicBezTo>
                      <a:pt x="28074" y="5834"/>
                      <a:pt x="28438" y="7656"/>
                      <a:pt x="28438" y="9844"/>
                    </a:cubicBezTo>
                    <a:cubicBezTo>
                      <a:pt x="28438" y="12396"/>
                      <a:pt x="27709" y="14584"/>
                      <a:pt x="25886" y="16407"/>
                    </a:cubicBezTo>
                    <a:cubicBezTo>
                      <a:pt x="24428" y="18230"/>
                      <a:pt x="21876" y="19324"/>
                      <a:pt x="18230" y="19688"/>
                    </a:cubicBezTo>
                    <a:cubicBezTo>
                      <a:pt x="19323" y="20417"/>
                      <a:pt x="20417" y="20782"/>
                      <a:pt x="21147" y="21511"/>
                    </a:cubicBezTo>
                    <a:cubicBezTo>
                      <a:pt x="22605" y="22605"/>
                      <a:pt x="23699" y="24428"/>
                      <a:pt x="25157" y="26251"/>
                    </a:cubicBezTo>
                    <a:lnTo>
                      <a:pt x="31355" y="36095"/>
                    </a:lnTo>
                    <a:lnTo>
                      <a:pt x="25522" y="36095"/>
                    </a:lnTo>
                    <a:lnTo>
                      <a:pt x="20782" y="28803"/>
                    </a:lnTo>
                    <a:cubicBezTo>
                      <a:pt x="19323" y="26615"/>
                      <a:pt x="18230" y="25157"/>
                      <a:pt x="17501" y="24063"/>
                    </a:cubicBezTo>
                    <a:cubicBezTo>
                      <a:pt x="16771" y="22969"/>
                      <a:pt x="15678" y="22240"/>
                      <a:pt x="14948" y="21511"/>
                    </a:cubicBezTo>
                    <a:cubicBezTo>
                      <a:pt x="14219" y="21146"/>
                      <a:pt x="13490" y="20782"/>
                      <a:pt x="12761" y="20417"/>
                    </a:cubicBezTo>
                    <a:cubicBezTo>
                      <a:pt x="12396" y="20417"/>
                      <a:pt x="11302" y="20417"/>
                      <a:pt x="10209" y="20417"/>
                    </a:cubicBezTo>
                    <a:lnTo>
                      <a:pt x="4740" y="20417"/>
                    </a:lnTo>
                    <a:lnTo>
                      <a:pt x="4740" y="36095"/>
                    </a:lnTo>
                    <a:lnTo>
                      <a:pt x="0" y="36095"/>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2" name="Freeform: Shape 371">
                <a:extLst>
                  <a:ext uri="{FF2B5EF4-FFF2-40B4-BE49-F238E27FC236}">
                    <a16:creationId xmlns:a16="http://schemas.microsoft.com/office/drawing/2014/main" id="{3064CC7E-AFD1-4283-A4B8-3FC01F7937EC}"/>
                  </a:ext>
                </a:extLst>
              </p:cNvPr>
              <p:cNvSpPr/>
              <p:nvPr/>
            </p:nvSpPr>
            <p:spPr>
              <a:xfrm>
                <a:off x="5968961" y="3575270"/>
                <a:ext cx="300425" cy="267612"/>
              </a:xfrm>
              <a:custGeom>
                <a:avLst/>
                <a:gdLst>
                  <a:gd name="connsiteX0" fmla="*/ 300426 w 300425"/>
                  <a:gd name="connsiteY0" fmla="*/ 67815 h 267612"/>
                  <a:gd name="connsiteX1" fmla="*/ 285113 w 300425"/>
                  <a:gd name="connsiteY1" fmla="*/ 196152 h 267612"/>
                  <a:gd name="connsiteX2" fmla="*/ 214746 w 300425"/>
                  <a:gd name="connsiteY2" fmla="*/ 197246 h 267612"/>
                  <a:gd name="connsiteX3" fmla="*/ 205996 w 300425"/>
                  <a:gd name="connsiteY3" fmla="*/ 267612 h 267612"/>
                  <a:gd name="connsiteX4" fmla="*/ 62710 w 300425"/>
                  <a:gd name="connsiteY4" fmla="*/ 267612 h 267612"/>
                  <a:gd name="connsiteX5" fmla="*/ 70367 w 300425"/>
                  <a:gd name="connsiteY5" fmla="*/ 197975 h 267612"/>
                  <a:gd name="connsiteX6" fmla="*/ 0 w 300425"/>
                  <a:gd name="connsiteY6" fmla="*/ 196152 h 267612"/>
                  <a:gd name="connsiteX7" fmla="*/ 15313 w 300425"/>
                  <a:gd name="connsiteY7" fmla="*/ 71461 h 267612"/>
                  <a:gd name="connsiteX8" fmla="*/ 85680 w 300425"/>
                  <a:gd name="connsiteY8" fmla="*/ 70367 h 267612"/>
                  <a:gd name="connsiteX9" fmla="*/ 95159 w 300425"/>
                  <a:gd name="connsiteY9" fmla="*/ 0 h 267612"/>
                  <a:gd name="connsiteX10" fmla="*/ 235164 w 300425"/>
                  <a:gd name="connsiteY10" fmla="*/ 0 h 267612"/>
                  <a:gd name="connsiteX11" fmla="*/ 72919 w 300425"/>
                  <a:gd name="connsiteY11" fmla="*/ 233705 h 267612"/>
                  <a:gd name="connsiteX12" fmla="*/ 95159 w 300425"/>
                  <a:gd name="connsiteY12" fmla="*/ 212559 h 267612"/>
                  <a:gd name="connsiteX13" fmla="*/ 215111 w 300425"/>
                  <a:gd name="connsiteY13" fmla="*/ 108285 h 267612"/>
                  <a:gd name="connsiteX14" fmla="*/ 300061 w 300425"/>
                  <a:gd name="connsiteY14" fmla="*/ 67815 h 26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0425" h="267612">
                    <a:moveTo>
                      <a:pt x="300426" y="67815"/>
                    </a:moveTo>
                    <a:cubicBezTo>
                      <a:pt x="296780" y="108285"/>
                      <a:pt x="290217" y="154588"/>
                      <a:pt x="285113" y="196152"/>
                    </a:cubicBezTo>
                    <a:cubicBezTo>
                      <a:pt x="263602" y="198339"/>
                      <a:pt x="237716" y="196517"/>
                      <a:pt x="214746" y="197246"/>
                    </a:cubicBezTo>
                    <a:cubicBezTo>
                      <a:pt x="211465" y="220215"/>
                      <a:pt x="208548" y="243549"/>
                      <a:pt x="205996" y="267612"/>
                    </a:cubicBezTo>
                    <a:lnTo>
                      <a:pt x="62710" y="267612"/>
                    </a:lnTo>
                    <a:cubicBezTo>
                      <a:pt x="64169" y="243549"/>
                      <a:pt x="68544" y="221674"/>
                      <a:pt x="70367" y="197975"/>
                    </a:cubicBezTo>
                    <a:cubicBezTo>
                      <a:pt x="49220" y="195058"/>
                      <a:pt x="21146" y="199069"/>
                      <a:pt x="0" y="196152"/>
                    </a:cubicBezTo>
                    <a:cubicBezTo>
                      <a:pt x="5104" y="154588"/>
                      <a:pt x="9844" y="112660"/>
                      <a:pt x="15313" y="71461"/>
                    </a:cubicBezTo>
                    <a:cubicBezTo>
                      <a:pt x="36824" y="69273"/>
                      <a:pt x="62710" y="71096"/>
                      <a:pt x="85680" y="70367"/>
                    </a:cubicBezTo>
                    <a:cubicBezTo>
                      <a:pt x="89690" y="47397"/>
                      <a:pt x="90784" y="22240"/>
                      <a:pt x="95159" y="0"/>
                    </a:cubicBezTo>
                    <a:lnTo>
                      <a:pt x="235164" y="0"/>
                    </a:lnTo>
                    <a:cubicBezTo>
                      <a:pt x="160422" y="57606"/>
                      <a:pt x="101722" y="130525"/>
                      <a:pt x="72919" y="233705"/>
                    </a:cubicBezTo>
                    <a:cubicBezTo>
                      <a:pt x="82034" y="229330"/>
                      <a:pt x="88596" y="220215"/>
                      <a:pt x="95159" y="212559"/>
                    </a:cubicBezTo>
                    <a:cubicBezTo>
                      <a:pt x="129431" y="173182"/>
                      <a:pt x="170266" y="139640"/>
                      <a:pt x="215111" y="108285"/>
                    </a:cubicBezTo>
                    <a:cubicBezTo>
                      <a:pt x="240997" y="90055"/>
                      <a:pt x="261050" y="70731"/>
                      <a:pt x="300061" y="67815"/>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9CACEA3E-CC75-4B74-83C6-C7A953328991}"/>
                  </a:ext>
                </a:extLst>
              </p:cNvPr>
              <p:cNvSpPr/>
              <p:nvPr/>
            </p:nvSpPr>
            <p:spPr>
              <a:xfrm>
                <a:off x="5910262" y="3369639"/>
                <a:ext cx="164796" cy="169536"/>
              </a:xfrm>
              <a:custGeom>
                <a:avLst/>
                <a:gdLst>
                  <a:gd name="connsiteX0" fmla="*/ 24792 w 164796"/>
                  <a:gd name="connsiteY0" fmla="*/ 0 h 169536"/>
                  <a:gd name="connsiteX1" fmla="*/ 67085 w 164796"/>
                  <a:gd name="connsiteY1" fmla="*/ 0 h 169536"/>
                  <a:gd name="connsiteX2" fmla="*/ 57606 w 164796"/>
                  <a:gd name="connsiteY2" fmla="*/ 65627 h 169536"/>
                  <a:gd name="connsiteX3" fmla="*/ 112660 w 164796"/>
                  <a:gd name="connsiteY3" fmla="*/ 65627 h 169536"/>
                  <a:gd name="connsiteX4" fmla="*/ 122139 w 164796"/>
                  <a:gd name="connsiteY4" fmla="*/ 0 h 169536"/>
                  <a:gd name="connsiteX5" fmla="*/ 164797 w 164796"/>
                  <a:gd name="connsiteY5" fmla="*/ 0 h 169536"/>
                  <a:gd name="connsiteX6" fmla="*/ 139640 w 164796"/>
                  <a:gd name="connsiteY6" fmla="*/ 169536 h 169536"/>
                  <a:gd name="connsiteX7" fmla="*/ 97347 w 164796"/>
                  <a:gd name="connsiteY7" fmla="*/ 169536 h 169536"/>
                  <a:gd name="connsiteX8" fmla="*/ 107191 w 164796"/>
                  <a:gd name="connsiteY8" fmla="*/ 100264 h 169536"/>
                  <a:gd name="connsiteX9" fmla="*/ 52502 w 164796"/>
                  <a:gd name="connsiteY9" fmla="*/ 100264 h 169536"/>
                  <a:gd name="connsiteX10" fmla="*/ 42293 w 164796"/>
                  <a:gd name="connsiteY10" fmla="*/ 169536 h 169536"/>
                  <a:gd name="connsiteX11" fmla="*/ 0 w 164796"/>
                  <a:gd name="connsiteY11" fmla="*/ 169536 h 169536"/>
                  <a:gd name="connsiteX12" fmla="*/ 24792 w 164796"/>
                  <a:gd name="connsiteY12" fmla="*/ 0 h 169536"/>
                  <a:gd name="connsiteX13" fmla="*/ 24792 w 164796"/>
                  <a:gd name="connsiteY13"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796" h="169536">
                    <a:moveTo>
                      <a:pt x="24792" y="0"/>
                    </a:moveTo>
                    <a:lnTo>
                      <a:pt x="67085" y="0"/>
                    </a:lnTo>
                    <a:lnTo>
                      <a:pt x="57606" y="65627"/>
                    </a:lnTo>
                    <a:lnTo>
                      <a:pt x="112660" y="65627"/>
                    </a:lnTo>
                    <a:lnTo>
                      <a:pt x="122139" y="0"/>
                    </a:lnTo>
                    <a:lnTo>
                      <a:pt x="164797" y="0"/>
                    </a:lnTo>
                    <a:lnTo>
                      <a:pt x="139640" y="169536"/>
                    </a:lnTo>
                    <a:lnTo>
                      <a:pt x="97347" y="169536"/>
                    </a:lnTo>
                    <a:lnTo>
                      <a:pt x="107191" y="100264"/>
                    </a:lnTo>
                    <a:lnTo>
                      <a:pt x="52502" y="100264"/>
                    </a:lnTo>
                    <a:lnTo>
                      <a:pt x="42293" y="169536"/>
                    </a:lnTo>
                    <a:lnTo>
                      <a:pt x="0" y="169536"/>
                    </a:lnTo>
                    <a:lnTo>
                      <a:pt x="24792" y="0"/>
                    </a:lnTo>
                    <a:lnTo>
                      <a:pt x="2479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9A99EE82-3830-4340-BFC9-50E751FC8DF7}"/>
                  </a:ext>
                </a:extLst>
              </p:cNvPr>
              <p:cNvSpPr/>
              <p:nvPr/>
            </p:nvSpPr>
            <p:spPr>
              <a:xfrm>
                <a:off x="6083079" y="3369639"/>
                <a:ext cx="109013" cy="169536"/>
              </a:xfrm>
              <a:custGeom>
                <a:avLst/>
                <a:gdLst>
                  <a:gd name="connsiteX0" fmla="*/ 90784 w 109013"/>
                  <a:gd name="connsiteY0" fmla="*/ 131983 h 169536"/>
                  <a:gd name="connsiteX1" fmla="*/ 85680 w 109013"/>
                  <a:gd name="connsiteY1" fmla="*/ 169536 h 169536"/>
                  <a:gd name="connsiteX2" fmla="*/ 0 w 109013"/>
                  <a:gd name="connsiteY2" fmla="*/ 169536 h 169536"/>
                  <a:gd name="connsiteX3" fmla="*/ 23699 w 109013"/>
                  <a:gd name="connsiteY3" fmla="*/ 0 h 169536"/>
                  <a:gd name="connsiteX4" fmla="*/ 109014 w 109013"/>
                  <a:gd name="connsiteY4" fmla="*/ 0 h 169536"/>
                  <a:gd name="connsiteX5" fmla="*/ 103545 w 109013"/>
                  <a:gd name="connsiteY5" fmla="*/ 39012 h 169536"/>
                  <a:gd name="connsiteX6" fmla="*/ 57606 w 109013"/>
                  <a:gd name="connsiteY6" fmla="*/ 39012 h 169536"/>
                  <a:gd name="connsiteX7" fmla="*/ 53960 w 109013"/>
                  <a:gd name="connsiteY7" fmla="*/ 66721 h 169536"/>
                  <a:gd name="connsiteX8" fmla="*/ 96618 w 109013"/>
                  <a:gd name="connsiteY8" fmla="*/ 66721 h 169536"/>
                  <a:gd name="connsiteX9" fmla="*/ 91513 w 109013"/>
                  <a:gd name="connsiteY9" fmla="*/ 103545 h 169536"/>
                  <a:gd name="connsiteX10" fmla="*/ 48856 w 109013"/>
                  <a:gd name="connsiteY10" fmla="*/ 103545 h 169536"/>
                  <a:gd name="connsiteX11" fmla="*/ 44845 w 109013"/>
                  <a:gd name="connsiteY11" fmla="*/ 131983 h 169536"/>
                  <a:gd name="connsiteX12" fmla="*/ 90784 w 109013"/>
                  <a:gd name="connsiteY12" fmla="*/ 131983 h 169536"/>
                  <a:gd name="connsiteX13" fmla="*/ 90784 w 109013"/>
                  <a:gd name="connsiteY13" fmla="*/ 131983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013" h="169536">
                    <a:moveTo>
                      <a:pt x="90784" y="131983"/>
                    </a:moveTo>
                    <a:lnTo>
                      <a:pt x="85680" y="169536"/>
                    </a:lnTo>
                    <a:lnTo>
                      <a:pt x="0" y="169536"/>
                    </a:lnTo>
                    <a:lnTo>
                      <a:pt x="23699" y="0"/>
                    </a:lnTo>
                    <a:lnTo>
                      <a:pt x="109014" y="0"/>
                    </a:lnTo>
                    <a:lnTo>
                      <a:pt x="103545" y="39012"/>
                    </a:lnTo>
                    <a:lnTo>
                      <a:pt x="57606" y="39012"/>
                    </a:lnTo>
                    <a:lnTo>
                      <a:pt x="53960" y="66721"/>
                    </a:lnTo>
                    <a:lnTo>
                      <a:pt x="96618" y="66721"/>
                    </a:lnTo>
                    <a:lnTo>
                      <a:pt x="91513" y="103545"/>
                    </a:lnTo>
                    <a:lnTo>
                      <a:pt x="48856" y="103545"/>
                    </a:lnTo>
                    <a:lnTo>
                      <a:pt x="44845" y="131983"/>
                    </a:lnTo>
                    <a:lnTo>
                      <a:pt x="90784" y="131983"/>
                    </a:lnTo>
                    <a:lnTo>
                      <a:pt x="90784" y="131983"/>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476EF448-45B7-4CDC-B916-689E5A973554}"/>
                  </a:ext>
                </a:extLst>
              </p:cNvPr>
              <p:cNvSpPr/>
              <p:nvPr/>
            </p:nvSpPr>
            <p:spPr>
              <a:xfrm>
                <a:off x="6180062" y="3369639"/>
                <a:ext cx="154952" cy="169536"/>
              </a:xfrm>
              <a:custGeom>
                <a:avLst/>
                <a:gdLst>
                  <a:gd name="connsiteX0" fmla="*/ 103545 w 154952"/>
                  <a:gd name="connsiteY0" fmla="*/ 99899 h 169536"/>
                  <a:gd name="connsiteX1" fmla="*/ 96618 w 154952"/>
                  <a:gd name="connsiteY1" fmla="*/ 60158 h 169536"/>
                  <a:gd name="connsiteX2" fmla="*/ 94430 w 154952"/>
                  <a:gd name="connsiteY2" fmla="*/ 40835 h 169536"/>
                  <a:gd name="connsiteX3" fmla="*/ 87867 w 154952"/>
                  <a:gd name="connsiteY3" fmla="*/ 60887 h 169536"/>
                  <a:gd name="connsiteX4" fmla="*/ 72190 w 154952"/>
                  <a:gd name="connsiteY4" fmla="*/ 99899 h 169536"/>
                  <a:gd name="connsiteX5" fmla="*/ 103545 w 154952"/>
                  <a:gd name="connsiteY5" fmla="*/ 99899 h 169536"/>
                  <a:gd name="connsiteX6" fmla="*/ 74013 w 154952"/>
                  <a:gd name="connsiteY6" fmla="*/ 0 h 169536"/>
                  <a:gd name="connsiteX7" fmla="*/ 123598 w 154952"/>
                  <a:gd name="connsiteY7" fmla="*/ 0 h 169536"/>
                  <a:gd name="connsiteX8" fmla="*/ 154953 w 154952"/>
                  <a:gd name="connsiteY8" fmla="*/ 169536 h 169536"/>
                  <a:gd name="connsiteX9" fmla="*/ 114847 w 154952"/>
                  <a:gd name="connsiteY9" fmla="*/ 169536 h 169536"/>
                  <a:gd name="connsiteX10" fmla="*/ 109014 w 154952"/>
                  <a:gd name="connsiteY10" fmla="*/ 137452 h 169536"/>
                  <a:gd name="connsiteX11" fmla="*/ 57241 w 154952"/>
                  <a:gd name="connsiteY11" fmla="*/ 137452 h 169536"/>
                  <a:gd name="connsiteX12" fmla="*/ 43022 w 154952"/>
                  <a:gd name="connsiteY12" fmla="*/ 169536 h 169536"/>
                  <a:gd name="connsiteX13" fmla="*/ 0 w 154952"/>
                  <a:gd name="connsiteY13" fmla="*/ 169536 h 169536"/>
                  <a:gd name="connsiteX14" fmla="*/ 74013 w 154952"/>
                  <a:gd name="connsiteY14" fmla="*/ 0 h 169536"/>
                  <a:gd name="connsiteX15" fmla="*/ 74013 w 154952"/>
                  <a:gd name="connsiteY15"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952" h="169536">
                    <a:moveTo>
                      <a:pt x="103545" y="99899"/>
                    </a:moveTo>
                    <a:lnTo>
                      <a:pt x="96618" y="60158"/>
                    </a:lnTo>
                    <a:cubicBezTo>
                      <a:pt x="95524" y="53595"/>
                      <a:pt x="94795" y="47397"/>
                      <a:pt x="94430" y="40835"/>
                    </a:cubicBezTo>
                    <a:cubicBezTo>
                      <a:pt x="91149" y="51408"/>
                      <a:pt x="88961" y="57971"/>
                      <a:pt x="87867" y="60887"/>
                    </a:cubicBezTo>
                    <a:lnTo>
                      <a:pt x="72190" y="99899"/>
                    </a:lnTo>
                    <a:lnTo>
                      <a:pt x="103545" y="99899"/>
                    </a:lnTo>
                    <a:close/>
                    <a:moveTo>
                      <a:pt x="74013" y="0"/>
                    </a:moveTo>
                    <a:lnTo>
                      <a:pt x="123598" y="0"/>
                    </a:lnTo>
                    <a:lnTo>
                      <a:pt x="154953" y="169536"/>
                    </a:lnTo>
                    <a:lnTo>
                      <a:pt x="114847" y="169536"/>
                    </a:lnTo>
                    <a:lnTo>
                      <a:pt x="109014" y="137452"/>
                    </a:lnTo>
                    <a:lnTo>
                      <a:pt x="57241" y="137452"/>
                    </a:lnTo>
                    <a:lnTo>
                      <a:pt x="43022" y="169536"/>
                    </a:lnTo>
                    <a:lnTo>
                      <a:pt x="0" y="169536"/>
                    </a:lnTo>
                    <a:lnTo>
                      <a:pt x="74013" y="0"/>
                    </a:lnTo>
                    <a:lnTo>
                      <a:pt x="74013"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682F1547-B035-4C82-8A72-75FDAF2E5345}"/>
                  </a:ext>
                </a:extLst>
              </p:cNvPr>
              <p:cNvSpPr/>
              <p:nvPr/>
            </p:nvSpPr>
            <p:spPr>
              <a:xfrm>
                <a:off x="6343035" y="3369639"/>
                <a:ext cx="94430" cy="169536"/>
              </a:xfrm>
              <a:custGeom>
                <a:avLst/>
                <a:gdLst>
                  <a:gd name="connsiteX0" fmla="*/ 23699 w 94430"/>
                  <a:gd name="connsiteY0" fmla="*/ 0 h 169536"/>
                  <a:gd name="connsiteX1" fmla="*/ 63439 w 94430"/>
                  <a:gd name="connsiteY1" fmla="*/ 0 h 169536"/>
                  <a:gd name="connsiteX2" fmla="*/ 45574 w 94430"/>
                  <a:gd name="connsiteY2" fmla="*/ 129066 h 169536"/>
                  <a:gd name="connsiteX3" fmla="*/ 94430 w 94430"/>
                  <a:gd name="connsiteY3" fmla="*/ 129066 h 169536"/>
                  <a:gd name="connsiteX4" fmla="*/ 88961 w 94430"/>
                  <a:gd name="connsiteY4" fmla="*/ 169536 h 169536"/>
                  <a:gd name="connsiteX5" fmla="*/ 0 w 94430"/>
                  <a:gd name="connsiteY5" fmla="*/ 169536 h 169536"/>
                  <a:gd name="connsiteX6" fmla="*/ 23699 w 94430"/>
                  <a:gd name="connsiteY6" fmla="*/ 0 h 169536"/>
                  <a:gd name="connsiteX7" fmla="*/ 23699 w 94430"/>
                  <a:gd name="connsiteY7"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30" h="169536">
                    <a:moveTo>
                      <a:pt x="23699" y="0"/>
                    </a:moveTo>
                    <a:lnTo>
                      <a:pt x="63439" y="0"/>
                    </a:lnTo>
                    <a:lnTo>
                      <a:pt x="45574" y="129066"/>
                    </a:lnTo>
                    <a:lnTo>
                      <a:pt x="94430" y="129066"/>
                    </a:lnTo>
                    <a:lnTo>
                      <a:pt x="88961" y="169536"/>
                    </a:lnTo>
                    <a:lnTo>
                      <a:pt x="0" y="169536"/>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7" name="Freeform: Shape 376">
                <a:extLst>
                  <a:ext uri="{FF2B5EF4-FFF2-40B4-BE49-F238E27FC236}">
                    <a16:creationId xmlns:a16="http://schemas.microsoft.com/office/drawing/2014/main" id="{8BB54F7E-7A65-41DD-B49F-5036ECB8A3D7}"/>
                  </a:ext>
                </a:extLst>
              </p:cNvPr>
              <p:cNvSpPr/>
              <p:nvPr/>
            </p:nvSpPr>
            <p:spPr>
              <a:xfrm>
                <a:off x="6442934" y="3369639"/>
                <a:ext cx="110107" cy="169536"/>
              </a:xfrm>
              <a:custGeom>
                <a:avLst/>
                <a:gdLst>
                  <a:gd name="connsiteX0" fmla="*/ 33178 w 110107"/>
                  <a:gd name="connsiteY0" fmla="*/ 39376 h 169536"/>
                  <a:gd name="connsiteX1" fmla="*/ 0 w 110107"/>
                  <a:gd name="connsiteY1" fmla="*/ 39376 h 169536"/>
                  <a:gd name="connsiteX2" fmla="*/ 5469 w 110107"/>
                  <a:gd name="connsiteY2" fmla="*/ 0 h 169536"/>
                  <a:gd name="connsiteX3" fmla="*/ 110108 w 110107"/>
                  <a:gd name="connsiteY3" fmla="*/ 0 h 169536"/>
                  <a:gd name="connsiteX4" fmla="*/ 104639 w 110107"/>
                  <a:gd name="connsiteY4" fmla="*/ 39376 h 169536"/>
                  <a:gd name="connsiteX5" fmla="*/ 72919 w 110107"/>
                  <a:gd name="connsiteY5" fmla="*/ 39376 h 169536"/>
                  <a:gd name="connsiteX6" fmla="*/ 54689 w 110107"/>
                  <a:gd name="connsiteY6" fmla="*/ 169536 h 169536"/>
                  <a:gd name="connsiteX7" fmla="*/ 14948 w 110107"/>
                  <a:gd name="connsiteY7" fmla="*/ 169536 h 169536"/>
                  <a:gd name="connsiteX8" fmla="*/ 33178 w 110107"/>
                  <a:gd name="connsiteY8" fmla="*/ 39376 h 169536"/>
                  <a:gd name="connsiteX9" fmla="*/ 33178 w 110107"/>
                  <a:gd name="connsiteY9" fmla="*/ 39376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7" h="169536">
                    <a:moveTo>
                      <a:pt x="33178" y="39376"/>
                    </a:moveTo>
                    <a:lnTo>
                      <a:pt x="0" y="39376"/>
                    </a:lnTo>
                    <a:lnTo>
                      <a:pt x="5469" y="0"/>
                    </a:lnTo>
                    <a:lnTo>
                      <a:pt x="110108" y="0"/>
                    </a:lnTo>
                    <a:lnTo>
                      <a:pt x="104639" y="39376"/>
                    </a:lnTo>
                    <a:lnTo>
                      <a:pt x="72919" y="39376"/>
                    </a:lnTo>
                    <a:lnTo>
                      <a:pt x="54689" y="169536"/>
                    </a:lnTo>
                    <a:lnTo>
                      <a:pt x="14948" y="169536"/>
                    </a:lnTo>
                    <a:lnTo>
                      <a:pt x="33178" y="39376"/>
                    </a:lnTo>
                    <a:lnTo>
                      <a:pt x="33178" y="3937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8" name="Freeform: Shape 377">
                <a:extLst>
                  <a:ext uri="{FF2B5EF4-FFF2-40B4-BE49-F238E27FC236}">
                    <a16:creationId xmlns:a16="http://schemas.microsoft.com/office/drawing/2014/main" id="{C0BD5CCE-5979-4876-92B3-1B2EA91735F3}"/>
                  </a:ext>
                </a:extLst>
              </p:cNvPr>
              <p:cNvSpPr/>
              <p:nvPr/>
            </p:nvSpPr>
            <p:spPr>
              <a:xfrm>
                <a:off x="6550854" y="3369639"/>
                <a:ext cx="164432" cy="169536"/>
              </a:xfrm>
              <a:custGeom>
                <a:avLst/>
                <a:gdLst>
                  <a:gd name="connsiteX0" fmla="*/ 24792 w 164432"/>
                  <a:gd name="connsiteY0" fmla="*/ 0 h 169536"/>
                  <a:gd name="connsiteX1" fmla="*/ 67085 w 164432"/>
                  <a:gd name="connsiteY1" fmla="*/ 0 h 169536"/>
                  <a:gd name="connsiteX2" fmla="*/ 57241 w 164432"/>
                  <a:gd name="connsiteY2" fmla="*/ 65627 h 169536"/>
                  <a:gd name="connsiteX3" fmla="*/ 112295 w 164432"/>
                  <a:gd name="connsiteY3" fmla="*/ 65627 h 169536"/>
                  <a:gd name="connsiteX4" fmla="*/ 122139 w 164432"/>
                  <a:gd name="connsiteY4" fmla="*/ 0 h 169536"/>
                  <a:gd name="connsiteX5" fmla="*/ 164432 w 164432"/>
                  <a:gd name="connsiteY5" fmla="*/ 0 h 169536"/>
                  <a:gd name="connsiteX6" fmla="*/ 139640 w 164432"/>
                  <a:gd name="connsiteY6" fmla="*/ 169536 h 169536"/>
                  <a:gd name="connsiteX7" fmla="*/ 96982 w 164432"/>
                  <a:gd name="connsiteY7" fmla="*/ 169536 h 169536"/>
                  <a:gd name="connsiteX8" fmla="*/ 107191 w 164432"/>
                  <a:gd name="connsiteY8" fmla="*/ 100264 h 169536"/>
                  <a:gd name="connsiteX9" fmla="*/ 52137 w 164432"/>
                  <a:gd name="connsiteY9" fmla="*/ 100264 h 169536"/>
                  <a:gd name="connsiteX10" fmla="*/ 42293 w 164432"/>
                  <a:gd name="connsiteY10" fmla="*/ 169536 h 169536"/>
                  <a:gd name="connsiteX11" fmla="*/ 0 w 164432"/>
                  <a:gd name="connsiteY11" fmla="*/ 169536 h 169536"/>
                  <a:gd name="connsiteX12" fmla="*/ 24792 w 164432"/>
                  <a:gd name="connsiteY12" fmla="*/ 0 h 169536"/>
                  <a:gd name="connsiteX13" fmla="*/ 24792 w 164432"/>
                  <a:gd name="connsiteY13"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432" h="169536">
                    <a:moveTo>
                      <a:pt x="24792" y="0"/>
                    </a:moveTo>
                    <a:lnTo>
                      <a:pt x="67085" y="0"/>
                    </a:lnTo>
                    <a:lnTo>
                      <a:pt x="57241" y="65627"/>
                    </a:lnTo>
                    <a:lnTo>
                      <a:pt x="112295" y="65627"/>
                    </a:lnTo>
                    <a:lnTo>
                      <a:pt x="122139" y="0"/>
                    </a:lnTo>
                    <a:lnTo>
                      <a:pt x="164432" y="0"/>
                    </a:lnTo>
                    <a:lnTo>
                      <a:pt x="139640" y="169536"/>
                    </a:lnTo>
                    <a:lnTo>
                      <a:pt x="96982" y="169536"/>
                    </a:lnTo>
                    <a:lnTo>
                      <a:pt x="107191" y="100264"/>
                    </a:lnTo>
                    <a:lnTo>
                      <a:pt x="52137" y="100264"/>
                    </a:lnTo>
                    <a:lnTo>
                      <a:pt x="42293" y="169536"/>
                    </a:lnTo>
                    <a:lnTo>
                      <a:pt x="0" y="169536"/>
                    </a:lnTo>
                    <a:lnTo>
                      <a:pt x="24792" y="0"/>
                    </a:lnTo>
                    <a:lnTo>
                      <a:pt x="2479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933B01A5-D114-4058-93F1-BFD7D5AFF428}"/>
                  </a:ext>
                </a:extLst>
              </p:cNvPr>
              <p:cNvSpPr/>
              <p:nvPr/>
            </p:nvSpPr>
            <p:spPr>
              <a:xfrm>
                <a:off x="6841072" y="3369639"/>
                <a:ext cx="154952" cy="169536"/>
              </a:xfrm>
              <a:custGeom>
                <a:avLst/>
                <a:gdLst>
                  <a:gd name="connsiteX0" fmla="*/ 103180 w 154952"/>
                  <a:gd name="connsiteY0" fmla="*/ 99899 h 169536"/>
                  <a:gd name="connsiteX1" fmla="*/ 96253 w 154952"/>
                  <a:gd name="connsiteY1" fmla="*/ 60158 h 169536"/>
                  <a:gd name="connsiteX2" fmla="*/ 94065 w 154952"/>
                  <a:gd name="connsiteY2" fmla="*/ 40835 h 169536"/>
                  <a:gd name="connsiteX3" fmla="*/ 87503 w 154952"/>
                  <a:gd name="connsiteY3" fmla="*/ 60887 h 169536"/>
                  <a:gd name="connsiteX4" fmla="*/ 71825 w 154952"/>
                  <a:gd name="connsiteY4" fmla="*/ 99899 h 169536"/>
                  <a:gd name="connsiteX5" fmla="*/ 103180 w 154952"/>
                  <a:gd name="connsiteY5" fmla="*/ 99899 h 169536"/>
                  <a:gd name="connsiteX6" fmla="*/ 74013 w 154952"/>
                  <a:gd name="connsiteY6" fmla="*/ 0 h 169536"/>
                  <a:gd name="connsiteX7" fmla="*/ 123598 w 154952"/>
                  <a:gd name="connsiteY7" fmla="*/ 0 h 169536"/>
                  <a:gd name="connsiteX8" fmla="*/ 154953 w 154952"/>
                  <a:gd name="connsiteY8" fmla="*/ 169536 h 169536"/>
                  <a:gd name="connsiteX9" fmla="*/ 114847 w 154952"/>
                  <a:gd name="connsiteY9" fmla="*/ 169536 h 169536"/>
                  <a:gd name="connsiteX10" fmla="*/ 109014 w 154952"/>
                  <a:gd name="connsiteY10" fmla="*/ 137452 h 169536"/>
                  <a:gd name="connsiteX11" fmla="*/ 57241 w 154952"/>
                  <a:gd name="connsiteY11" fmla="*/ 137452 h 169536"/>
                  <a:gd name="connsiteX12" fmla="*/ 43022 w 154952"/>
                  <a:gd name="connsiteY12" fmla="*/ 169536 h 169536"/>
                  <a:gd name="connsiteX13" fmla="*/ 0 w 154952"/>
                  <a:gd name="connsiteY13" fmla="*/ 169536 h 169536"/>
                  <a:gd name="connsiteX14" fmla="*/ 74013 w 154952"/>
                  <a:gd name="connsiteY14" fmla="*/ 0 h 169536"/>
                  <a:gd name="connsiteX15" fmla="*/ 74013 w 154952"/>
                  <a:gd name="connsiteY15"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952" h="169536">
                    <a:moveTo>
                      <a:pt x="103180" y="99899"/>
                    </a:moveTo>
                    <a:lnTo>
                      <a:pt x="96253" y="60158"/>
                    </a:lnTo>
                    <a:cubicBezTo>
                      <a:pt x="95159" y="53595"/>
                      <a:pt x="94430" y="47397"/>
                      <a:pt x="94065" y="40835"/>
                    </a:cubicBezTo>
                    <a:cubicBezTo>
                      <a:pt x="90784" y="51408"/>
                      <a:pt x="88596" y="57971"/>
                      <a:pt x="87503" y="60887"/>
                    </a:cubicBezTo>
                    <a:lnTo>
                      <a:pt x="71825" y="99899"/>
                    </a:lnTo>
                    <a:lnTo>
                      <a:pt x="103180" y="99899"/>
                    </a:lnTo>
                    <a:close/>
                    <a:moveTo>
                      <a:pt x="74013" y="0"/>
                    </a:moveTo>
                    <a:lnTo>
                      <a:pt x="123598" y="0"/>
                    </a:lnTo>
                    <a:lnTo>
                      <a:pt x="154953" y="169536"/>
                    </a:lnTo>
                    <a:lnTo>
                      <a:pt x="114847" y="169536"/>
                    </a:lnTo>
                    <a:lnTo>
                      <a:pt x="109014" y="137452"/>
                    </a:lnTo>
                    <a:lnTo>
                      <a:pt x="57241" y="137452"/>
                    </a:lnTo>
                    <a:lnTo>
                      <a:pt x="43022" y="169536"/>
                    </a:lnTo>
                    <a:lnTo>
                      <a:pt x="0" y="169536"/>
                    </a:lnTo>
                    <a:lnTo>
                      <a:pt x="74013" y="0"/>
                    </a:lnTo>
                    <a:lnTo>
                      <a:pt x="74013"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4DBC2730-F7E4-4A9E-A28E-CA377D852BD7}"/>
                  </a:ext>
                </a:extLst>
              </p:cNvPr>
              <p:cNvSpPr/>
              <p:nvPr/>
            </p:nvSpPr>
            <p:spPr>
              <a:xfrm>
                <a:off x="7004045" y="3369639"/>
                <a:ext cx="127243" cy="169536"/>
              </a:xfrm>
              <a:custGeom>
                <a:avLst/>
                <a:gdLst>
                  <a:gd name="connsiteX0" fmla="*/ 64533 w 127243"/>
                  <a:gd name="connsiteY0" fmla="*/ 77659 h 169536"/>
                  <a:gd name="connsiteX1" fmla="*/ 88961 w 127243"/>
                  <a:gd name="connsiteY1" fmla="*/ 53595 h 169536"/>
                  <a:gd name="connsiteX2" fmla="*/ 64169 w 127243"/>
                  <a:gd name="connsiteY2" fmla="*/ 32814 h 169536"/>
                  <a:gd name="connsiteX3" fmla="*/ 58335 w 127243"/>
                  <a:gd name="connsiteY3" fmla="*/ 32814 h 169536"/>
                  <a:gd name="connsiteX4" fmla="*/ 52137 w 127243"/>
                  <a:gd name="connsiteY4" fmla="*/ 77294 h 169536"/>
                  <a:gd name="connsiteX5" fmla="*/ 64533 w 127243"/>
                  <a:gd name="connsiteY5" fmla="*/ 77294 h 169536"/>
                  <a:gd name="connsiteX6" fmla="*/ 0 w 127243"/>
                  <a:gd name="connsiteY6" fmla="*/ 169536 h 169536"/>
                  <a:gd name="connsiteX7" fmla="*/ 23334 w 127243"/>
                  <a:gd name="connsiteY7" fmla="*/ 0 h 169536"/>
                  <a:gd name="connsiteX8" fmla="*/ 62710 w 127243"/>
                  <a:gd name="connsiteY8" fmla="*/ 0 h 169536"/>
                  <a:gd name="connsiteX9" fmla="*/ 104274 w 127243"/>
                  <a:gd name="connsiteY9" fmla="*/ 6563 h 169536"/>
                  <a:gd name="connsiteX10" fmla="*/ 127244 w 127243"/>
                  <a:gd name="connsiteY10" fmla="*/ 49585 h 169536"/>
                  <a:gd name="connsiteX11" fmla="*/ 86044 w 127243"/>
                  <a:gd name="connsiteY11" fmla="*/ 102816 h 169536"/>
                  <a:gd name="connsiteX12" fmla="*/ 122139 w 127243"/>
                  <a:gd name="connsiteY12" fmla="*/ 169536 h 169536"/>
                  <a:gd name="connsiteX13" fmla="*/ 76929 w 127243"/>
                  <a:gd name="connsiteY13" fmla="*/ 169536 h 169536"/>
                  <a:gd name="connsiteX14" fmla="*/ 48491 w 127243"/>
                  <a:gd name="connsiteY14" fmla="*/ 104639 h 169536"/>
                  <a:gd name="connsiteX15" fmla="*/ 39741 w 127243"/>
                  <a:gd name="connsiteY15" fmla="*/ 169536 h 169536"/>
                  <a:gd name="connsiteX16" fmla="*/ 365 w 127243"/>
                  <a:gd name="connsiteY16" fmla="*/ 169536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243" h="169536">
                    <a:moveTo>
                      <a:pt x="64533" y="77659"/>
                    </a:moveTo>
                    <a:cubicBezTo>
                      <a:pt x="80211" y="77659"/>
                      <a:pt x="88961" y="69273"/>
                      <a:pt x="88961" y="53595"/>
                    </a:cubicBezTo>
                    <a:cubicBezTo>
                      <a:pt x="88961" y="37918"/>
                      <a:pt x="80940" y="32814"/>
                      <a:pt x="64169" y="32814"/>
                    </a:cubicBezTo>
                    <a:lnTo>
                      <a:pt x="58335" y="32814"/>
                    </a:lnTo>
                    <a:lnTo>
                      <a:pt x="52137" y="77294"/>
                    </a:lnTo>
                    <a:lnTo>
                      <a:pt x="64533" y="77294"/>
                    </a:lnTo>
                    <a:close/>
                    <a:moveTo>
                      <a:pt x="0" y="169536"/>
                    </a:moveTo>
                    <a:lnTo>
                      <a:pt x="23334" y="0"/>
                    </a:lnTo>
                    <a:lnTo>
                      <a:pt x="62710" y="0"/>
                    </a:lnTo>
                    <a:cubicBezTo>
                      <a:pt x="79846" y="0"/>
                      <a:pt x="93336" y="365"/>
                      <a:pt x="104274" y="6563"/>
                    </a:cubicBezTo>
                    <a:cubicBezTo>
                      <a:pt x="119222" y="14584"/>
                      <a:pt x="127244" y="29168"/>
                      <a:pt x="127244" y="49585"/>
                    </a:cubicBezTo>
                    <a:cubicBezTo>
                      <a:pt x="127244" y="77294"/>
                      <a:pt x="111931" y="97711"/>
                      <a:pt x="86044" y="102816"/>
                    </a:cubicBezTo>
                    <a:lnTo>
                      <a:pt x="122139" y="169536"/>
                    </a:lnTo>
                    <a:lnTo>
                      <a:pt x="76929" y="169536"/>
                    </a:lnTo>
                    <a:lnTo>
                      <a:pt x="48491" y="104639"/>
                    </a:lnTo>
                    <a:lnTo>
                      <a:pt x="39741" y="169536"/>
                    </a:lnTo>
                    <a:lnTo>
                      <a:pt x="365" y="16953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81" name="Graphic 1309">
                <a:extLst>
                  <a:ext uri="{FF2B5EF4-FFF2-40B4-BE49-F238E27FC236}">
                    <a16:creationId xmlns:a16="http://schemas.microsoft.com/office/drawing/2014/main" id="{FCDDC1F1-EC07-41CE-911C-DC417812AEFD}"/>
                  </a:ext>
                </a:extLst>
              </p:cNvPr>
              <p:cNvGrpSpPr/>
              <p:nvPr/>
            </p:nvGrpSpPr>
            <p:grpSpPr>
              <a:xfrm>
                <a:off x="6720274" y="3367001"/>
                <a:ext cx="529507" cy="172615"/>
                <a:chOff x="6720274" y="3367001"/>
                <a:chExt cx="529507" cy="172615"/>
              </a:xfrm>
              <a:solidFill>
                <a:srgbClr val="A1ABB2"/>
              </a:solidFill>
            </p:grpSpPr>
            <p:sp>
              <p:nvSpPr>
                <p:cNvPr id="394" name="Freeform: Shape 393">
                  <a:extLst>
                    <a:ext uri="{FF2B5EF4-FFF2-40B4-BE49-F238E27FC236}">
                      <a16:creationId xmlns:a16="http://schemas.microsoft.com/office/drawing/2014/main" id="{103EFB76-E5A2-42F8-86F6-DC61344BFECC}"/>
                    </a:ext>
                  </a:extLst>
                </p:cNvPr>
                <p:cNvSpPr/>
                <p:nvPr/>
              </p:nvSpPr>
              <p:spPr>
                <a:xfrm>
                  <a:off x="7141133" y="3369639"/>
                  <a:ext cx="108649" cy="169536"/>
                </a:xfrm>
                <a:custGeom>
                  <a:avLst/>
                  <a:gdLst>
                    <a:gd name="connsiteX0" fmla="*/ 90420 w 108649"/>
                    <a:gd name="connsiteY0" fmla="*/ 131983 h 169536"/>
                    <a:gd name="connsiteX1" fmla="*/ 85315 w 108649"/>
                    <a:gd name="connsiteY1" fmla="*/ 169536 h 169536"/>
                    <a:gd name="connsiteX2" fmla="*/ 0 w 108649"/>
                    <a:gd name="connsiteY2" fmla="*/ 169536 h 169536"/>
                    <a:gd name="connsiteX3" fmla="*/ 23334 w 108649"/>
                    <a:gd name="connsiteY3" fmla="*/ 0 h 169536"/>
                    <a:gd name="connsiteX4" fmla="*/ 108649 w 108649"/>
                    <a:gd name="connsiteY4" fmla="*/ 0 h 169536"/>
                    <a:gd name="connsiteX5" fmla="*/ 103180 w 108649"/>
                    <a:gd name="connsiteY5" fmla="*/ 39012 h 169536"/>
                    <a:gd name="connsiteX6" fmla="*/ 57606 w 108649"/>
                    <a:gd name="connsiteY6" fmla="*/ 39012 h 169536"/>
                    <a:gd name="connsiteX7" fmla="*/ 53595 w 108649"/>
                    <a:gd name="connsiteY7" fmla="*/ 66721 h 169536"/>
                    <a:gd name="connsiteX8" fmla="*/ 96253 w 108649"/>
                    <a:gd name="connsiteY8" fmla="*/ 66721 h 169536"/>
                    <a:gd name="connsiteX9" fmla="*/ 91149 w 108649"/>
                    <a:gd name="connsiteY9" fmla="*/ 103545 h 169536"/>
                    <a:gd name="connsiteX10" fmla="*/ 48491 w 108649"/>
                    <a:gd name="connsiteY10" fmla="*/ 103545 h 169536"/>
                    <a:gd name="connsiteX11" fmla="*/ 44481 w 108649"/>
                    <a:gd name="connsiteY11" fmla="*/ 131983 h 169536"/>
                    <a:gd name="connsiteX12" fmla="*/ 90420 w 108649"/>
                    <a:gd name="connsiteY12" fmla="*/ 131983 h 169536"/>
                    <a:gd name="connsiteX13" fmla="*/ 90420 w 108649"/>
                    <a:gd name="connsiteY13" fmla="*/ 131983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649" h="169536">
                      <a:moveTo>
                        <a:pt x="90420" y="131983"/>
                      </a:moveTo>
                      <a:lnTo>
                        <a:pt x="85315" y="169536"/>
                      </a:lnTo>
                      <a:lnTo>
                        <a:pt x="0" y="169536"/>
                      </a:lnTo>
                      <a:lnTo>
                        <a:pt x="23334" y="0"/>
                      </a:lnTo>
                      <a:lnTo>
                        <a:pt x="108649" y="0"/>
                      </a:lnTo>
                      <a:lnTo>
                        <a:pt x="103180" y="39012"/>
                      </a:lnTo>
                      <a:lnTo>
                        <a:pt x="57606" y="39012"/>
                      </a:lnTo>
                      <a:lnTo>
                        <a:pt x="53595" y="66721"/>
                      </a:lnTo>
                      <a:lnTo>
                        <a:pt x="96253" y="66721"/>
                      </a:lnTo>
                      <a:lnTo>
                        <a:pt x="91149" y="103545"/>
                      </a:lnTo>
                      <a:lnTo>
                        <a:pt x="48491" y="103545"/>
                      </a:lnTo>
                      <a:lnTo>
                        <a:pt x="44481" y="131983"/>
                      </a:lnTo>
                      <a:lnTo>
                        <a:pt x="90420" y="131983"/>
                      </a:lnTo>
                      <a:lnTo>
                        <a:pt x="90420" y="131983"/>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5" name="Freeform: Shape 394">
                  <a:extLst>
                    <a:ext uri="{FF2B5EF4-FFF2-40B4-BE49-F238E27FC236}">
                      <a16:creationId xmlns:a16="http://schemas.microsoft.com/office/drawing/2014/main" id="{E8DE61EB-89AB-4869-AE26-40BA272B28BA}"/>
                    </a:ext>
                  </a:extLst>
                </p:cNvPr>
                <p:cNvSpPr/>
                <p:nvPr/>
              </p:nvSpPr>
              <p:spPr>
                <a:xfrm>
                  <a:off x="6720274" y="3367001"/>
                  <a:ext cx="148141" cy="172615"/>
                </a:xfrm>
                <a:custGeom>
                  <a:avLst/>
                  <a:gdLst>
                    <a:gd name="connsiteX0" fmla="*/ 138298 w 148141"/>
                    <a:gd name="connsiteY0" fmla="*/ 55139 h 172615"/>
                    <a:gd name="connsiteX1" fmla="*/ 95276 w 148141"/>
                    <a:gd name="connsiteY1" fmla="*/ 40555 h 172615"/>
                    <a:gd name="connsiteX2" fmla="*/ 45691 w 148141"/>
                    <a:gd name="connsiteY2" fmla="*/ 93057 h 172615"/>
                    <a:gd name="connsiteX3" fmla="*/ 86161 w 148141"/>
                    <a:gd name="connsiteY3" fmla="*/ 132798 h 172615"/>
                    <a:gd name="connsiteX4" fmla="*/ 124079 w 148141"/>
                    <a:gd name="connsiteY4" fmla="*/ 122589 h 172615"/>
                    <a:gd name="connsiteX5" fmla="*/ 114964 w 148141"/>
                    <a:gd name="connsiteY5" fmla="*/ 165247 h 172615"/>
                    <a:gd name="connsiteX6" fmla="*/ 74129 w 148141"/>
                    <a:gd name="connsiteY6" fmla="*/ 172539 h 172615"/>
                    <a:gd name="connsiteX7" fmla="*/ 116 w 148141"/>
                    <a:gd name="connsiteY7" fmla="*/ 96338 h 172615"/>
                    <a:gd name="connsiteX8" fmla="*/ 24544 w 148141"/>
                    <a:gd name="connsiteY8" fmla="*/ 33993 h 172615"/>
                    <a:gd name="connsiteX9" fmla="*/ 99286 w 148141"/>
                    <a:gd name="connsiteY9" fmla="*/ 85 h 172615"/>
                    <a:gd name="connsiteX10" fmla="*/ 148142 w 148141"/>
                    <a:gd name="connsiteY10" fmla="*/ 9565 h 172615"/>
                    <a:gd name="connsiteX11" fmla="*/ 138662 w 148141"/>
                    <a:gd name="connsiteY11" fmla="*/ 55139 h 172615"/>
                    <a:gd name="connsiteX12" fmla="*/ 138662 w 148141"/>
                    <a:gd name="connsiteY12" fmla="*/ 55139 h 17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41" h="172615">
                      <a:moveTo>
                        <a:pt x="138298" y="55139"/>
                      </a:moveTo>
                      <a:cubicBezTo>
                        <a:pt x="125902" y="44566"/>
                        <a:pt x="110953" y="39826"/>
                        <a:pt x="95276" y="40555"/>
                      </a:cubicBezTo>
                      <a:cubicBezTo>
                        <a:pt x="67931" y="41649"/>
                        <a:pt x="47149" y="63525"/>
                        <a:pt x="45691" y="93057"/>
                      </a:cubicBezTo>
                      <a:cubicBezTo>
                        <a:pt x="44232" y="119308"/>
                        <a:pt x="58816" y="134256"/>
                        <a:pt x="86161" y="132798"/>
                      </a:cubicBezTo>
                      <a:cubicBezTo>
                        <a:pt x="98557" y="132433"/>
                        <a:pt x="110589" y="128787"/>
                        <a:pt x="124079" y="122589"/>
                      </a:cubicBezTo>
                      <a:lnTo>
                        <a:pt x="114964" y="165247"/>
                      </a:lnTo>
                      <a:cubicBezTo>
                        <a:pt x="103661" y="169257"/>
                        <a:pt x="89807" y="171809"/>
                        <a:pt x="74129" y="172539"/>
                      </a:cubicBezTo>
                      <a:cubicBezTo>
                        <a:pt x="26732" y="174362"/>
                        <a:pt x="-2071" y="143736"/>
                        <a:pt x="116" y="96338"/>
                      </a:cubicBezTo>
                      <a:cubicBezTo>
                        <a:pt x="1210" y="73004"/>
                        <a:pt x="9960" y="51493"/>
                        <a:pt x="24544" y="33993"/>
                      </a:cubicBezTo>
                      <a:cubicBezTo>
                        <a:pt x="42774" y="13575"/>
                        <a:pt x="68296" y="1544"/>
                        <a:pt x="99286" y="85"/>
                      </a:cubicBezTo>
                      <a:cubicBezTo>
                        <a:pt x="118974" y="-644"/>
                        <a:pt x="134652" y="3367"/>
                        <a:pt x="148142" y="9565"/>
                      </a:cubicBezTo>
                      <a:lnTo>
                        <a:pt x="138662" y="55139"/>
                      </a:lnTo>
                      <a:lnTo>
                        <a:pt x="138662" y="55139"/>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82" name="Freeform: Shape 381">
                <a:extLst>
                  <a:ext uri="{FF2B5EF4-FFF2-40B4-BE49-F238E27FC236}">
                    <a16:creationId xmlns:a16="http://schemas.microsoft.com/office/drawing/2014/main" id="{27CA8E30-3769-485D-B6B1-BFF70D19035E}"/>
                  </a:ext>
                </a:extLst>
              </p:cNvPr>
              <p:cNvSpPr/>
              <p:nvPr/>
            </p:nvSpPr>
            <p:spPr>
              <a:xfrm>
                <a:off x="6290169" y="3592771"/>
                <a:ext cx="91877" cy="149483"/>
              </a:xfrm>
              <a:custGeom>
                <a:avLst/>
                <a:gdLst>
                  <a:gd name="connsiteX0" fmla="*/ 91878 w 91877"/>
                  <a:gd name="connsiteY0" fmla="*/ 132348 h 149483"/>
                  <a:gd name="connsiteX1" fmla="*/ 88961 w 91877"/>
                  <a:gd name="connsiteY1" fmla="*/ 149484 h 149483"/>
                  <a:gd name="connsiteX2" fmla="*/ 0 w 91877"/>
                  <a:gd name="connsiteY2" fmla="*/ 149484 h 149483"/>
                  <a:gd name="connsiteX3" fmla="*/ 0 w 91877"/>
                  <a:gd name="connsiteY3" fmla="*/ 148025 h 149483"/>
                  <a:gd name="connsiteX4" fmla="*/ 5104 w 91877"/>
                  <a:gd name="connsiteY4" fmla="*/ 145473 h 149483"/>
                  <a:gd name="connsiteX5" fmla="*/ 8386 w 91877"/>
                  <a:gd name="connsiteY5" fmla="*/ 136358 h 149483"/>
                  <a:gd name="connsiteX6" fmla="*/ 29532 w 91877"/>
                  <a:gd name="connsiteY6" fmla="*/ 13855 h 149483"/>
                  <a:gd name="connsiteX7" fmla="*/ 24428 w 91877"/>
                  <a:gd name="connsiteY7" fmla="*/ 1458 h 149483"/>
                  <a:gd name="connsiteX8" fmla="*/ 24428 w 91877"/>
                  <a:gd name="connsiteY8" fmla="*/ 0 h 149483"/>
                  <a:gd name="connsiteX9" fmla="*/ 54325 w 91877"/>
                  <a:gd name="connsiteY9" fmla="*/ 0 h 149483"/>
                  <a:gd name="connsiteX10" fmla="*/ 54325 w 91877"/>
                  <a:gd name="connsiteY10" fmla="*/ 1458 h 149483"/>
                  <a:gd name="connsiteX11" fmla="*/ 47033 w 91877"/>
                  <a:gd name="connsiteY11" fmla="*/ 6198 h 149483"/>
                  <a:gd name="connsiteX12" fmla="*/ 44845 w 91877"/>
                  <a:gd name="connsiteY12" fmla="*/ 14948 h 149483"/>
                  <a:gd name="connsiteX13" fmla="*/ 26615 w 91877"/>
                  <a:gd name="connsiteY13" fmla="*/ 119952 h 149483"/>
                  <a:gd name="connsiteX14" fmla="*/ 29168 w 91877"/>
                  <a:gd name="connsiteY14" fmla="*/ 138911 h 149483"/>
                  <a:gd name="connsiteX15" fmla="*/ 48126 w 91877"/>
                  <a:gd name="connsiteY15" fmla="*/ 144379 h 149483"/>
                  <a:gd name="connsiteX16" fmla="*/ 64533 w 91877"/>
                  <a:gd name="connsiteY16" fmla="*/ 144379 h 149483"/>
                  <a:gd name="connsiteX17" fmla="*/ 83128 w 91877"/>
                  <a:gd name="connsiteY17" fmla="*/ 137817 h 149483"/>
                  <a:gd name="connsiteX18" fmla="*/ 87138 w 91877"/>
                  <a:gd name="connsiteY18" fmla="*/ 132348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877" h="149483">
                    <a:moveTo>
                      <a:pt x="91878" y="132348"/>
                    </a:moveTo>
                    <a:lnTo>
                      <a:pt x="88961" y="149484"/>
                    </a:lnTo>
                    <a:lnTo>
                      <a:pt x="0" y="149484"/>
                    </a:lnTo>
                    <a:lnTo>
                      <a:pt x="0" y="148025"/>
                    </a:lnTo>
                    <a:cubicBezTo>
                      <a:pt x="4375" y="148025"/>
                      <a:pt x="3281" y="147296"/>
                      <a:pt x="5104" y="145473"/>
                    </a:cubicBezTo>
                    <a:cubicBezTo>
                      <a:pt x="6563" y="143650"/>
                      <a:pt x="7656" y="140734"/>
                      <a:pt x="8386" y="136358"/>
                    </a:cubicBezTo>
                    <a:lnTo>
                      <a:pt x="29532" y="13855"/>
                    </a:lnTo>
                    <a:cubicBezTo>
                      <a:pt x="30261" y="9479"/>
                      <a:pt x="29532" y="1458"/>
                      <a:pt x="24428" y="1458"/>
                    </a:cubicBezTo>
                    <a:lnTo>
                      <a:pt x="24428" y="0"/>
                    </a:lnTo>
                    <a:lnTo>
                      <a:pt x="54325" y="0"/>
                    </a:lnTo>
                    <a:lnTo>
                      <a:pt x="54325" y="1458"/>
                    </a:lnTo>
                    <a:cubicBezTo>
                      <a:pt x="50679" y="1458"/>
                      <a:pt x="47397" y="5104"/>
                      <a:pt x="47033" y="6198"/>
                    </a:cubicBezTo>
                    <a:cubicBezTo>
                      <a:pt x="46304" y="7656"/>
                      <a:pt x="45574" y="10573"/>
                      <a:pt x="44845" y="14948"/>
                    </a:cubicBezTo>
                    <a:lnTo>
                      <a:pt x="26615" y="119952"/>
                    </a:lnTo>
                    <a:cubicBezTo>
                      <a:pt x="25157" y="129066"/>
                      <a:pt x="25886" y="135265"/>
                      <a:pt x="29168" y="138911"/>
                    </a:cubicBezTo>
                    <a:cubicBezTo>
                      <a:pt x="32449" y="142557"/>
                      <a:pt x="38647" y="144379"/>
                      <a:pt x="48126" y="144379"/>
                    </a:cubicBezTo>
                    <a:lnTo>
                      <a:pt x="64533" y="144379"/>
                    </a:lnTo>
                    <a:cubicBezTo>
                      <a:pt x="72554" y="144379"/>
                      <a:pt x="78752" y="142192"/>
                      <a:pt x="83128" y="137817"/>
                    </a:cubicBezTo>
                    <a:cubicBezTo>
                      <a:pt x="84586" y="136358"/>
                      <a:pt x="86044" y="134535"/>
                      <a:pt x="87138" y="132348"/>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3" name="Freeform: Shape 382">
                <a:extLst>
                  <a:ext uri="{FF2B5EF4-FFF2-40B4-BE49-F238E27FC236}">
                    <a16:creationId xmlns:a16="http://schemas.microsoft.com/office/drawing/2014/main" id="{27C1D21D-560E-4D16-9777-5CE8EF7FC0DF}"/>
                  </a:ext>
                </a:extLst>
              </p:cNvPr>
              <p:cNvSpPr/>
              <p:nvPr/>
            </p:nvSpPr>
            <p:spPr>
              <a:xfrm>
                <a:off x="6401370" y="3592406"/>
                <a:ext cx="56512" cy="149483"/>
              </a:xfrm>
              <a:custGeom>
                <a:avLst/>
                <a:gdLst>
                  <a:gd name="connsiteX0" fmla="*/ 56148 w 56512"/>
                  <a:gd name="connsiteY0" fmla="*/ 365 h 149483"/>
                  <a:gd name="connsiteX1" fmla="*/ 56148 w 56512"/>
                  <a:gd name="connsiteY1" fmla="*/ 1823 h 149483"/>
                  <a:gd name="connsiteX2" fmla="*/ 48126 w 56512"/>
                  <a:gd name="connsiteY2" fmla="*/ 6198 h 149483"/>
                  <a:gd name="connsiteX3" fmla="*/ 45574 w 56512"/>
                  <a:gd name="connsiteY3" fmla="*/ 17136 h 149483"/>
                  <a:gd name="connsiteX4" fmla="*/ 25886 w 56512"/>
                  <a:gd name="connsiteY4" fmla="*/ 131983 h 149483"/>
                  <a:gd name="connsiteX5" fmla="*/ 24428 w 56512"/>
                  <a:gd name="connsiteY5" fmla="*/ 143286 h 149483"/>
                  <a:gd name="connsiteX6" fmla="*/ 30261 w 56512"/>
                  <a:gd name="connsiteY6" fmla="*/ 148025 h 149483"/>
                  <a:gd name="connsiteX7" fmla="*/ 30261 w 56512"/>
                  <a:gd name="connsiteY7" fmla="*/ 149484 h 149483"/>
                  <a:gd name="connsiteX8" fmla="*/ 0 w 56512"/>
                  <a:gd name="connsiteY8" fmla="*/ 149484 h 149483"/>
                  <a:gd name="connsiteX9" fmla="*/ 0 w 56512"/>
                  <a:gd name="connsiteY9" fmla="*/ 148025 h 149483"/>
                  <a:gd name="connsiteX10" fmla="*/ 10209 w 56512"/>
                  <a:gd name="connsiteY10" fmla="*/ 131983 h 149483"/>
                  <a:gd name="connsiteX11" fmla="*/ 29897 w 56512"/>
                  <a:gd name="connsiteY11" fmla="*/ 18230 h 149483"/>
                  <a:gd name="connsiteX12" fmla="*/ 30626 w 56512"/>
                  <a:gd name="connsiteY12" fmla="*/ 4375 h 149483"/>
                  <a:gd name="connsiteX13" fmla="*/ 25157 w 56512"/>
                  <a:gd name="connsiteY13" fmla="*/ 1458 h 149483"/>
                  <a:gd name="connsiteX14" fmla="*/ 25157 w 56512"/>
                  <a:gd name="connsiteY14" fmla="*/ 0 h 149483"/>
                  <a:gd name="connsiteX15" fmla="*/ 56512 w 56512"/>
                  <a:gd name="connsiteY15" fmla="*/ 0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2" h="149483">
                    <a:moveTo>
                      <a:pt x="56148" y="365"/>
                    </a:moveTo>
                    <a:lnTo>
                      <a:pt x="56148" y="1823"/>
                    </a:lnTo>
                    <a:cubicBezTo>
                      <a:pt x="53960" y="1823"/>
                      <a:pt x="49220" y="3281"/>
                      <a:pt x="48126" y="6198"/>
                    </a:cubicBezTo>
                    <a:cubicBezTo>
                      <a:pt x="47397" y="7656"/>
                      <a:pt x="46668" y="11302"/>
                      <a:pt x="45574" y="17136"/>
                    </a:cubicBezTo>
                    <a:lnTo>
                      <a:pt x="25886" y="131983"/>
                    </a:lnTo>
                    <a:cubicBezTo>
                      <a:pt x="24792" y="138181"/>
                      <a:pt x="24428" y="142192"/>
                      <a:pt x="24428" y="143286"/>
                    </a:cubicBezTo>
                    <a:cubicBezTo>
                      <a:pt x="24428" y="144744"/>
                      <a:pt x="26980" y="148025"/>
                      <a:pt x="30261" y="148025"/>
                    </a:cubicBezTo>
                    <a:lnTo>
                      <a:pt x="30261" y="149484"/>
                    </a:lnTo>
                    <a:lnTo>
                      <a:pt x="0" y="149484"/>
                    </a:lnTo>
                    <a:lnTo>
                      <a:pt x="0" y="148025"/>
                    </a:lnTo>
                    <a:cubicBezTo>
                      <a:pt x="4740" y="148025"/>
                      <a:pt x="8750" y="138911"/>
                      <a:pt x="10209" y="131983"/>
                    </a:cubicBezTo>
                    <a:lnTo>
                      <a:pt x="29897" y="18230"/>
                    </a:lnTo>
                    <a:cubicBezTo>
                      <a:pt x="30991" y="10938"/>
                      <a:pt x="31355" y="6563"/>
                      <a:pt x="30626" y="4375"/>
                    </a:cubicBezTo>
                    <a:cubicBezTo>
                      <a:pt x="29897" y="2188"/>
                      <a:pt x="29168" y="1094"/>
                      <a:pt x="25157" y="1458"/>
                    </a:cubicBezTo>
                    <a:lnTo>
                      <a:pt x="25157" y="0"/>
                    </a:lnTo>
                    <a:lnTo>
                      <a:pt x="5651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4" name="Freeform: Shape 383">
                <a:extLst>
                  <a:ext uri="{FF2B5EF4-FFF2-40B4-BE49-F238E27FC236}">
                    <a16:creationId xmlns:a16="http://schemas.microsoft.com/office/drawing/2014/main" id="{0EC54D18-EAE4-4CF6-B280-90559B27E143}"/>
                  </a:ext>
                </a:extLst>
              </p:cNvPr>
              <p:cNvSpPr/>
              <p:nvPr/>
            </p:nvSpPr>
            <p:spPr>
              <a:xfrm>
                <a:off x="6465292" y="3590583"/>
                <a:ext cx="137699" cy="152035"/>
              </a:xfrm>
              <a:custGeom>
                <a:avLst/>
                <a:gdLst>
                  <a:gd name="connsiteX0" fmla="*/ 111449 w 137699"/>
                  <a:gd name="connsiteY0" fmla="*/ 151671 h 152035"/>
                  <a:gd name="connsiteX1" fmla="*/ 66604 w 137699"/>
                  <a:gd name="connsiteY1" fmla="*/ 151671 h 152035"/>
                  <a:gd name="connsiteX2" fmla="*/ 39988 w 137699"/>
                  <a:gd name="connsiteY2" fmla="*/ 148025 h 152035"/>
                  <a:gd name="connsiteX3" fmla="*/ 18477 w 137699"/>
                  <a:gd name="connsiteY3" fmla="*/ 133806 h 152035"/>
                  <a:gd name="connsiteX4" fmla="*/ 3164 w 137699"/>
                  <a:gd name="connsiteY4" fmla="*/ 107555 h 152035"/>
                  <a:gd name="connsiteX5" fmla="*/ 977 w 137699"/>
                  <a:gd name="connsiteY5" fmla="*/ 75471 h 152035"/>
                  <a:gd name="connsiteX6" fmla="*/ 16654 w 137699"/>
                  <a:gd name="connsiteY6" fmla="*/ 39741 h 152035"/>
                  <a:gd name="connsiteX7" fmla="*/ 48738 w 137699"/>
                  <a:gd name="connsiteY7" fmla="*/ 10938 h 152035"/>
                  <a:gd name="connsiteX8" fmla="*/ 90302 w 137699"/>
                  <a:gd name="connsiteY8" fmla="*/ 0 h 152035"/>
                  <a:gd name="connsiteX9" fmla="*/ 137700 w 137699"/>
                  <a:gd name="connsiteY9" fmla="*/ 13125 h 152035"/>
                  <a:gd name="connsiteX10" fmla="*/ 132960 w 137699"/>
                  <a:gd name="connsiteY10" fmla="*/ 26980 h 152035"/>
                  <a:gd name="connsiteX11" fmla="*/ 131501 w 137699"/>
                  <a:gd name="connsiteY11" fmla="*/ 26980 h 152035"/>
                  <a:gd name="connsiteX12" fmla="*/ 114366 w 137699"/>
                  <a:gd name="connsiteY12" fmla="*/ 10938 h 152035"/>
                  <a:gd name="connsiteX13" fmla="*/ 87750 w 137699"/>
                  <a:gd name="connsiteY13" fmla="*/ 5834 h 152035"/>
                  <a:gd name="connsiteX14" fmla="*/ 42540 w 137699"/>
                  <a:gd name="connsiteY14" fmla="*/ 25522 h 152035"/>
                  <a:gd name="connsiteX15" fmla="*/ 16654 w 137699"/>
                  <a:gd name="connsiteY15" fmla="*/ 79482 h 152035"/>
                  <a:gd name="connsiteX16" fmla="*/ 15196 w 137699"/>
                  <a:gd name="connsiteY16" fmla="*/ 103545 h 152035"/>
                  <a:gd name="connsiteX17" fmla="*/ 21758 w 137699"/>
                  <a:gd name="connsiteY17" fmla="*/ 124327 h 152035"/>
                  <a:gd name="connsiteX18" fmla="*/ 35249 w 137699"/>
                  <a:gd name="connsiteY18" fmla="*/ 139275 h 152035"/>
                  <a:gd name="connsiteX19" fmla="*/ 53478 w 137699"/>
                  <a:gd name="connsiteY19" fmla="*/ 145838 h 152035"/>
                  <a:gd name="connsiteX20" fmla="*/ 70250 w 137699"/>
                  <a:gd name="connsiteY20" fmla="*/ 147661 h 152035"/>
                  <a:gd name="connsiteX21" fmla="*/ 77541 w 137699"/>
                  <a:gd name="connsiteY21" fmla="*/ 147661 h 152035"/>
                  <a:gd name="connsiteX22" fmla="*/ 93219 w 137699"/>
                  <a:gd name="connsiteY22" fmla="*/ 144744 h 152035"/>
                  <a:gd name="connsiteX23" fmla="*/ 97959 w 137699"/>
                  <a:gd name="connsiteY23" fmla="*/ 134535 h 152035"/>
                  <a:gd name="connsiteX24" fmla="*/ 101969 w 137699"/>
                  <a:gd name="connsiteY24" fmla="*/ 111931 h 152035"/>
                  <a:gd name="connsiteX25" fmla="*/ 101240 w 137699"/>
                  <a:gd name="connsiteY25" fmla="*/ 83857 h 152035"/>
                  <a:gd name="connsiteX26" fmla="*/ 101240 w 137699"/>
                  <a:gd name="connsiteY26" fmla="*/ 82398 h 152035"/>
                  <a:gd name="connsiteX27" fmla="*/ 127856 w 137699"/>
                  <a:gd name="connsiteY27" fmla="*/ 82398 h 152035"/>
                  <a:gd name="connsiteX28" fmla="*/ 127856 w 137699"/>
                  <a:gd name="connsiteY28" fmla="*/ 83857 h 152035"/>
                  <a:gd name="connsiteX29" fmla="*/ 117282 w 137699"/>
                  <a:gd name="connsiteY29" fmla="*/ 113389 h 152035"/>
                  <a:gd name="connsiteX30" fmla="*/ 113272 w 137699"/>
                  <a:gd name="connsiteY30" fmla="*/ 137088 h 152035"/>
                  <a:gd name="connsiteX31" fmla="*/ 111084 w 137699"/>
                  <a:gd name="connsiteY31" fmla="*/ 152036 h 15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7699" h="152035">
                    <a:moveTo>
                      <a:pt x="111449" y="151671"/>
                    </a:moveTo>
                    <a:lnTo>
                      <a:pt x="66604" y="151671"/>
                    </a:lnTo>
                    <a:cubicBezTo>
                      <a:pt x="56030" y="151671"/>
                      <a:pt x="47280" y="150578"/>
                      <a:pt x="39988" y="148025"/>
                    </a:cubicBezTo>
                    <a:cubicBezTo>
                      <a:pt x="32696" y="145473"/>
                      <a:pt x="25404" y="140734"/>
                      <a:pt x="18477" y="133806"/>
                    </a:cubicBezTo>
                    <a:cubicBezTo>
                      <a:pt x="11550" y="126879"/>
                      <a:pt x="6445" y="118129"/>
                      <a:pt x="3164" y="107555"/>
                    </a:cubicBezTo>
                    <a:cubicBezTo>
                      <a:pt x="-117" y="96982"/>
                      <a:pt x="-846" y="86409"/>
                      <a:pt x="977" y="75471"/>
                    </a:cubicBezTo>
                    <a:cubicBezTo>
                      <a:pt x="3164" y="63439"/>
                      <a:pt x="8268" y="51772"/>
                      <a:pt x="16654" y="39741"/>
                    </a:cubicBezTo>
                    <a:cubicBezTo>
                      <a:pt x="25040" y="28074"/>
                      <a:pt x="35613" y="18230"/>
                      <a:pt x="48738" y="10938"/>
                    </a:cubicBezTo>
                    <a:cubicBezTo>
                      <a:pt x="61499" y="3646"/>
                      <a:pt x="75354" y="0"/>
                      <a:pt x="90302" y="0"/>
                    </a:cubicBezTo>
                    <a:cubicBezTo>
                      <a:pt x="103428" y="0"/>
                      <a:pt x="121293" y="2188"/>
                      <a:pt x="137700" y="13125"/>
                    </a:cubicBezTo>
                    <a:lnTo>
                      <a:pt x="132960" y="26980"/>
                    </a:lnTo>
                    <a:lnTo>
                      <a:pt x="131501" y="26980"/>
                    </a:lnTo>
                    <a:cubicBezTo>
                      <a:pt x="127856" y="20417"/>
                      <a:pt x="122022" y="15313"/>
                      <a:pt x="114366" y="10938"/>
                    </a:cubicBezTo>
                    <a:cubicBezTo>
                      <a:pt x="106344" y="6198"/>
                      <a:pt x="97594" y="5834"/>
                      <a:pt x="87750" y="5834"/>
                    </a:cubicBezTo>
                    <a:cubicBezTo>
                      <a:pt x="70250" y="5834"/>
                      <a:pt x="56030" y="10938"/>
                      <a:pt x="42540" y="25522"/>
                    </a:cubicBezTo>
                    <a:cubicBezTo>
                      <a:pt x="29050" y="40105"/>
                      <a:pt x="20300" y="57971"/>
                      <a:pt x="16654" y="79482"/>
                    </a:cubicBezTo>
                    <a:cubicBezTo>
                      <a:pt x="15196" y="88597"/>
                      <a:pt x="14467" y="96253"/>
                      <a:pt x="15196" y="103545"/>
                    </a:cubicBezTo>
                    <a:cubicBezTo>
                      <a:pt x="15925" y="110472"/>
                      <a:pt x="18113" y="117399"/>
                      <a:pt x="21758" y="124327"/>
                    </a:cubicBezTo>
                    <a:cubicBezTo>
                      <a:pt x="25769" y="131254"/>
                      <a:pt x="30144" y="135994"/>
                      <a:pt x="35249" y="139275"/>
                    </a:cubicBezTo>
                    <a:cubicBezTo>
                      <a:pt x="40353" y="142556"/>
                      <a:pt x="46551" y="144744"/>
                      <a:pt x="53478" y="145838"/>
                    </a:cubicBezTo>
                    <a:cubicBezTo>
                      <a:pt x="60405" y="146932"/>
                      <a:pt x="65874" y="147661"/>
                      <a:pt x="70250" y="147661"/>
                    </a:cubicBezTo>
                    <a:lnTo>
                      <a:pt x="77541" y="147661"/>
                    </a:lnTo>
                    <a:cubicBezTo>
                      <a:pt x="85927" y="146932"/>
                      <a:pt x="91031" y="146202"/>
                      <a:pt x="93219" y="144744"/>
                    </a:cubicBezTo>
                    <a:cubicBezTo>
                      <a:pt x="95407" y="143286"/>
                      <a:pt x="97230" y="140004"/>
                      <a:pt x="97959" y="134535"/>
                    </a:cubicBezTo>
                    <a:lnTo>
                      <a:pt x="101969" y="111931"/>
                    </a:lnTo>
                    <a:cubicBezTo>
                      <a:pt x="102699" y="107555"/>
                      <a:pt x="104886" y="83492"/>
                      <a:pt x="101240" y="83857"/>
                    </a:cubicBezTo>
                    <a:lnTo>
                      <a:pt x="101240" y="82398"/>
                    </a:lnTo>
                    <a:lnTo>
                      <a:pt x="127856" y="82398"/>
                    </a:lnTo>
                    <a:lnTo>
                      <a:pt x="127856" y="83857"/>
                    </a:lnTo>
                    <a:cubicBezTo>
                      <a:pt x="123845" y="83857"/>
                      <a:pt x="118376" y="108649"/>
                      <a:pt x="117282" y="113389"/>
                    </a:cubicBezTo>
                    <a:lnTo>
                      <a:pt x="113272" y="137088"/>
                    </a:lnTo>
                    <a:cubicBezTo>
                      <a:pt x="112543" y="140369"/>
                      <a:pt x="111813" y="144015"/>
                      <a:pt x="111084" y="152036"/>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5ED9971B-C06C-4584-8D08-BA1B8C78D1A2}"/>
                  </a:ext>
                </a:extLst>
              </p:cNvPr>
              <p:cNvSpPr/>
              <p:nvPr/>
            </p:nvSpPr>
            <p:spPr>
              <a:xfrm>
                <a:off x="6606637" y="3592771"/>
                <a:ext cx="156775" cy="149848"/>
              </a:xfrm>
              <a:custGeom>
                <a:avLst/>
                <a:gdLst>
                  <a:gd name="connsiteX0" fmla="*/ 122504 w 156775"/>
                  <a:gd name="connsiteY0" fmla="*/ 74742 h 149848"/>
                  <a:gd name="connsiteX1" fmla="*/ 34272 w 156775"/>
                  <a:gd name="connsiteY1" fmla="*/ 74742 h 149848"/>
                  <a:gd name="connsiteX2" fmla="*/ 24428 w 156775"/>
                  <a:gd name="connsiteY2" fmla="*/ 132348 h 149848"/>
                  <a:gd name="connsiteX3" fmla="*/ 28438 w 156775"/>
                  <a:gd name="connsiteY3" fmla="*/ 148025 h 149848"/>
                  <a:gd name="connsiteX4" fmla="*/ 28438 w 156775"/>
                  <a:gd name="connsiteY4" fmla="*/ 149484 h 149848"/>
                  <a:gd name="connsiteX5" fmla="*/ 0 w 156775"/>
                  <a:gd name="connsiteY5" fmla="*/ 149484 h 149848"/>
                  <a:gd name="connsiteX6" fmla="*/ 0 w 156775"/>
                  <a:gd name="connsiteY6" fmla="*/ 148025 h 149848"/>
                  <a:gd name="connsiteX7" fmla="*/ 28803 w 156775"/>
                  <a:gd name="connsiteY7" fmla="*/ 17501 h 149848"/>
                  <a:gd name="connsiteX8" fmla="*/ 25522 w 156775"/>
                  <a:gd name="connsiteY8" fmla="*/ 1458 h 149848"/>
                  <a:gd name="connsiteX9" fmla="*/ 25522 w 156775"/>
                  <a:gd name="connsiteY9" fmla="*/ 0 h 149848"/>
                  <a:gd name="connsiteX10" fmla="*/ 52866 w 156775"/>
                  <a:gd name="connsiteY10" fmla="*/ 0 h 149848"/>
                  <a:gd name="connsiteX11" fmla="*/ 52866 w 156775"/>
                  <a:gd name="connsiteY11" fmla="*/ 1458 h 149848"/>
                  <a:gd name="connsiteX12" fmla="*/ 45210 w 156775"/>
                  <a:gd name="connsiteY12" fmla="*/ 12396 h 149848"/>
                  <a:gd name="connsiteX13" fmla="*/ 36824 w 156775"/>
                  <a:gd name="connsiteY13" fmla="*/ 65262 h 149848"/>
                  <a:gd name="connsiteX14" fmla="*/ 125056 w 156775"/>
                  <a:gd name="connsiteY14" fmla="*/ 65262 h 149848"/>
                  <a:gd name="connsiteX15" fmla="*/ 132712 w 156775"/>
                  <a:gd name="connsiteY15" fmla="*/ 17501 h 149848"/>
                  <a:gd name="connsiteX16" fmla="*/ 129796 w 156775"/>
                  <a:gd name="connsiteY16" fmla="*/ 1823 h 149848"/>
                  <a:gd name="connsiteX17" fmla="*/ 129796 w 156775"/>
                  <a:gd name="connsiteY17" fmla="*/ 365 h 149848"/>
                  <a:gd name="connsiteX18" fmla="*/ 156776 w 156775"/>
                  <a:gd name="connsiteY18" fmla="*/ 365 h 149848"/>
                  <a:gd name="connsiteX19" fmla="*/ 156776 w 156775"/>
                  <a:gd name="connsiteY19" fmla="*/ 1823 h 149848"/>
                  <a:gd name="connsiteX20" fmla="*/ 148390 w 156775"/>
                  <a:gd name="connsiteY20" fmla="*/ 17501 h 149848"/>
                  <a:gd name="connsiteX21" fmla="*/ 128702 w 156775"/>
                  <a:gd name="connsiteY21" fmla="*/ 132348 h 149848"/>
                  <a:gd name="connsiteX22" fmla="*/ 131983 w 156775"/>
                  <a:gd name="connsiteY22" fmla="*/ 148390 h 149848"/>
                  <a:gd name="connsiteX23" fmla="*/ 131983 w 156775"/>
                  <a:gd name="connsiteY23" fmla="*/ 149848 h 149848"/>
                  <a:gd name="connsiteX24" fmla="*/ 104274 w 156775"/>
                  <a:gd name="connsiteY24" fmla="*/ 149848 h 149848"/>
                  <a:gd name="connsiteX25" fmla="*/ 104274 w 156775"/>
                  <a:gd name="connsiteY25" fmla="*/ 148390 h 149848"/>
                  <a:gd name="connsiteX26" fmla="*/ 113024 w 156775"/>
                  <a:gd name="connsiteY26" fmla="*/ 131983 h 149848"/>
                  <a:gd name="connsiteX27" fmla="*/ 122868 w 156775"/>
                  <a:gd name="connsiteY27" fmla="*/ 75106 h 149848"/>
                  <a:gd name="connsiteX28" fmla="*/ 122868 w 156775"/>
                  <a:gd name="connsiteY28" fmla="*/ 75106 h 14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6775" h="149848">
                    <a:moveTo>
                      <a:pt x="122504" y="74742"/>
                    </a:moveTo>
                    <a:lnTo>
                      <a:pt x="34272" y="74742"/>
                    </a:lnTo>
                    <a:lnTo>
                      <a:pt x="24428" y="132348"/>
                    </a:lnTo>
                    <a:cubicBezTo>
                      <a:pt x="20782" y="147661"/>
                      <a:pt x="28438" y="148025"/>
                      <a:pt x="28438" y="148025"/>
                    </a:cubicBezTo>
                    <a:lnTo>
                      <a:pt x="28438" y="149484"/>
                    </a:lnTo>
                    <a:lnTo>
                      <a:pt x="0" y="149484"/>
                    </a:lnTo>
                    <a:lnTo>
                      <a:pt x="0" y="148025"/>
                    </a:lnTo>
                    <a:cubicBezTo>
                      <a:pt x="11302" y="148025"/>
                      <a:pt x="28803" y="17501"/>
                      <a:pt x="28803" y="17501"/>
                    </a:cubicBezTo>
                    <a:cubicBezTo>
                      <a:pt x="29897" y="10573"/>
                      <a:pt x="29532" y="1458"/>
                      <a:pt x="25522" y="1458"/>
                    </a:cubicBezTo>
                    <a:lnTo>
                      <a:pt x="25522" y="0"/>
                    </a:lnTo>
                    <a:lnTo>
                      <a:pt x="52866" y="0"/>
                    </a:lnTo>
                    <a:lnTo>
                      <a:pt x="52866" y="1458"/>
                    </a:lnTo>
                    <a:cubicBezTo>
                      <a:pt x="48856" y="1458"/>
                      <a:pt x="45939" y="8021"/>
                      <a:pt x="45210" y="12396"/>
                    </a:cubicBezTo>
                    <a:lnTo>
                      <a:pt x="36824" y="65262"/>
                    </a:lnTo>
                    <a:lnTo>
                      <a:pt x="125056" y="65262"/>
                    </a:lnTo>
                    <a:lnTo>
                      <a:pt x="132712" y="17501"/>
                    </a:lnTo>
                    <a:cubicBezTo>
                      <a:pt x="133806" y="11302"/>
                      <a:pt x="134171" y="1823"/>
                      <a:pt x="129796" y="1823"/>
                    </a:cubicBezTo>
                    <a:lnTo>
                      <a:pt x="129796" y="365"/>
                    </a:lnTo>
                    <a:lnTo>
                      <a:pt x="156776" y="365"/>
                    </a:lnTo>
                    <a:lnTo>
                      <a:pt x="156776" y="1823"/>
                    </a:lnTo>
                    <a:cubicBezTo>
                      <a:pt x="151671" y="2917"/>
                      <a:pt x="149484" y="11302"/>
                      <a:pt x="148390" y="17501"/>
                    </a:cubicBezTo>
                    <a:lnTo>
                      <a:pt x="128702" y="132348"/>
                    </a:lnTo>
                    <a:cubicBezTo>
                      <a:pt x="126879" y="145473"/>
                      <a:pt x="128702" y="148390"/>
                      <a:pt x="131983" y="148390"/>
                    </a:cubicBezTo>
                    <a:lnTo>
                      <a:pt x="131983" y="149848"/>
                    </a:lnTo>
                    <a:lnTo>
                      <a:pt x="104274" y="149848"/>
                    </a:lnTo>
                    <a:lnTo>
                      <a:pt x="104274" y="148390"/>
                    </a:lnTo>
                    <a:cubicBezTo>
                      <a:pt x="108285" y="148390"/>
                      <a:pt x="110837" y="142557"/>
                      <a:pt x="113024" y="131983"/>
                    </a:cubicBezTo>
                    <a:lnTo>
                      <a:pt x="122868" y="75106"/>
                    </a:lnTo>
                    <a:lnTo>
                      <a:pt x="122868" y="7510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1C1DF406-0EAF-4574-83B0-4D49EC967AC0}"/>
                  </a:ext>
                </a:extLst>
              </p:cNvPr>
              <p:cNvSpPr/>
              <p:nvPr/>
            </p:nvSpPr>
            <p:spPr>
              <a:xfrm>
                <a:off x="6782007" y="3589125"/>
                <a:ext cx="109378" cy="153494"/>
              </a:xfrm>
              <a:custGeom>
                <a:avLst/>
                <a:gdLst>
                  <a:gd name="connsiteX0" fmla="*/ 109378 w 109378"/>
                  <a:gd name="connsiteY0" fmla="*/ 0 h 153494"/>
                  <a:gd name="connsiteX1" fmla="*/ 105368 w 109378"/>
                  <a:gd name="connsiteY1" fmla="*/ 15313 h 153494"/>
                  <a:gd name="connsiteX2" fmla="*/ 103909 w 109378"/>
                  <a:gd name="connsiteY2" fmla="*/ 15313 h 153494"/>
                  <a:gd name="connsiteX3" fmla="*/ 102086 w 109378"/>
                  <a:gd name="connsiteY3" fmla="*/ 11667 h 153494"/>
                  <a:gd name="connsiteX4" fmla="*/ 97347 w 109378"/>
                  <a:gd name="connsiteY4" fmla="*/ 10938 h 153494"/>
                  <a:gd name="connsiteX5" fmla="*/ 62346 w 109378"/>
                  <a:gd name="connsiteY5" fmla="*/ 10938 h 153494"/>
                  <a:gd name="connsiteX6" fmla="*/ 40835 w 109378"/>
                  <a:gd name="connsiteY6" fmla="*/ 136723 h 153494"/>
                  <a:gd name="connsiteX7" fmla="*/ 40105 w 109378"/>
                  <a:gd name="connsiteY7" fmla="*/ 147661 h 153494"/>
                  <a:gd name="connsiteX8" fmla="*/ 42658 w 109378"/>
                  <a:gd name="connsiteY8" fmla="*/ 151307 h 153494"/>
                  <a:gd name="connsiteX9" fmla="*/ 48856 w 109378"/>
                  <a:gd name="connsiteY9" fmla="*/ 152036 h 153494"/>
                  <a:gd name="connsiteX10" fmla="*/ 48856 w 109378"/>
                  <a:gd name="connsiteY10" fmla="*/ 153494 h 153494"/>
                  <a:gd name="connsiteX11" fmla="*/ 12032 w 109378"/>
                  <a:gd name="connsiteY11" fmla="*/ 153494 h 153494"/>
                  <a:gd name="connsiteX12" fmla="*/ 12032 w 109378"/>
                  <a:gd name="connsiteY12" fmla="*/ 152036 h 153494"/>
                  <a:gd name="connsiteX13" fmla="*/ 21511 w 109378"/>
                  <a:gd name="connsiteY13" fmla="*/ 149119 h 153494"/>
                  <a:gd name="connsiteX14" fmla="*/ 25157 w 109378"/>
                  <a:gd name="connsiteY14" fmla="*/ 138911 h 153494"/>
                  <a:gd name="connsiteX15" fmla="*/ 46668 w 109378"/>
                  <a:gd name="connsiteY15" fmla="*/ 11302 h 153494"/>
                  <a:gd name="connsiteX16" fmla="*/ 13125 w 109378"/>
                  <a:gd name="connsiteY16" fmla="*/ 11302 h 153494"/>
                  <a:gd name="connsiteX17" fmla="*/ 3646 w 109378"/>
                  <a:gd name="connsiteY17" fmla="*/ 12396 h 153494"/>
                  <a:gd name="connsiteX18" fmla="*/ 1458 w 109378"/>
                  <a:gd name="connsiteY18" fmla="*/ 15313 h 153494"/>
                  <a:gd name="connsiteX19" fmla="*/ 0 w 109378"/>
                  <a:gd name="connsiteY19" fmla="*/ 15313 h 153494"/>
                  <a:gd name="connsiteX20" fmla="*/ 2552 w 109378"/>
                  <a:gd name="connsiteY20" fmla="*/ 365 h 153494"/>
                  <a:gd name="connsiteX21" fmla="*/ 4011 w 109378"/>
                  <a:gd name="connsiteY21" fmla="*/ 365 h 153494"/>
                  <a:gd name="connsiteX22" fmla="*/ 5469 w 109378"/>
                  <a:gd name="connsiteY22" fmla="*/ 4011 h 153494"/>
                  <a:gd name="connsiteX23" fmla="*/ 10573 w 109378"/>
                  <a:gd name="connsiteY23" fmla="*/ 4011 h 153494"/>
                  <a:gd name="connsiteX24" fmla="*/ 99899 w 109378"/>
                  <a:gd name="connsiteY24" fmla="*/ 4011 h 153494"/>
                  <a:gd name="connsiteX25" fmla="*/ 104639 w 109378"/>
                  <a:gd name="connsiteY25" fmla="*/ 4011 h 153494"/>
                  <a:gd name="connsiteX26" fmla="*/ 107555 w 109378"/>
                  <a:gd name="connsiteY26" fmla="*/ 729 h 153494"/>
                  <a:gd name="connsiteX27" fmla="*/ 109014 w 109378"/>
                  <a:gd name="connsiteY27" fmla="*/ 729 h 15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78" h="153494">
                    <a:moveTo>
                      <a:pt x="109378" y="0"/>
                    </a:moveTo>
                    <a:lnTo>
                      <a:pt x="105368" y="15313"/>
                    </a:lnTo>
                    <a:lnTo>
                      <a:pt x="103909" y="15313"/>
                    </a:lnTo>
                    <a:cubicBezTo>
                      <a:pt x="103909" y="15313"/>
                      <a:pt x="103180" y="12032"/>
                      <a:pt x="102086" y="11667"/>
                    </a:cubicBezTo>
                    <a:cubicBezTo>
                      <a:pt x="100993" y="11302"/>
                      <a:pt x="99534" y="10938"/>
                      <a:pt x="97347" y="10938"/>
                    </a:cubicBezTo>
                    <a:lnTo>
                      <a:pt x="62346" y="10938"/>
                    </a:lnTo>
                    <a:lnTo>
                      <a:pt x="40835" y="136723"/>
                    </a:lnTo>
                    <a:cubicBezTo>
                      <a:pt x="39741" y="142192"/>
                      <a:pt x="39741" y="145473"/>
                      <a:pt x="40105" y="147661"/>
                    </a:cubicBezTo>
                    <a:cubicBezTo>
                      <a:pt x="40470" y="149484"/>
                      <a:pt x="41199" y="150942"/>
                      <a:pt x="42658" y="151307"/>
                    </a:cubicBezTo>
                    <a:cubicBezTo>
                      <a:pt x="43751" y="151671"/>
                      <a:pt x="45939" y="152036"/>
                      <a:pt x="48856" y="152036"/>
                    </a:cubicBezTo>
                    <a:lnTo>
                      <a:pt x="48856" y="153494"/>
                    </a:lnTo>
                    <a:lnTo>
                      <a:pt x="12032" y="153494"/>
                    </a:lnTo>
                    <a:lnTo>
                      <a:pt x="12032" y="152036"/>
                    </a:lnTo>
                    <a:cubicBezTo>
                      <a:pt x="16771" y="152036"/>
                      <a:pt x="20053" y="150578"/>
                      <a:pt x="21511" y="149119"/>
                    </a:cubicBezTo>
                    <a:cubicBezTo>
                      <a:pt x="22970" y="147661"/>
                      <a:pt x="24063" y="144015"/>
                      <a:pt x="25157" y="138911"/>
                    </a:cubicBezTo>
                    <a:lnTo>
                      <a:pt x="46668" y="11302"/>
                    </a:lnTo>
                    <a:lnTo>
                      <a:pt x="13125" y="11302"/>
                    </a:lnTo>
                    <a:cubicBezTo>
                      <a:pt x="9844" y="11302"/>
                      <a:pt x="5104" y="11302"/>
                      <a:pt x="3646" y="12396"/>
                    </a:cubicBezTo>
                    <a:cubicBezTo>
                      <a:pt x="2917" y="13125"/>
                      <a:pt x="2188" y="13125"/>
                      <a:pt x="1458" y="15313"/>
                    </a:cubicBezTo>
                    <a:lnTo>
                      <a:pt x="0" y="15313"/>
                    </a:lnTo>
                    <a:lnTo>
                      <a:pt x="2552" y="365"/>
                    </a:lnTo>
                    <a:lnTo>
                      <a:pt x="4011" y="365"/>
                    </a:lnTo>
                    <a:cubicBezTo>
                      <a:pt x="4011" y="2917"/>
                      <a:pt x="4011" y="3646"/>
                      <a:pt x="5469" y="4011"/>
                    </a:cubicBezTo>
                    <a:cubicBezTo>
                      <a:pt x="6927" y="4011"/>
                      <a:pt x="7292" y="4011"/>
                      <a:pt x="10573" y="4011"/>
                    </a:cubicBezTo>
                    <a:lnTo>
                      <a:pt x="99899" y="4011"/>
                    </a:lnTo>
                    <a:cubicBezTo>
                      <a:pt x="103545" y="4011"/>
                      <a:pt x="103180" y="4011"/>
                      <a:pt x="104639" y="4011"/>
                    </a:cubicBezTo>
                    <a:cubicBezTo>
                      <a:pt x="106462" y="3646"/>
                      <a:pt x="106462" y="3281"/>
                      <a:pt x="107555" y="729"/>
                    </a:cubicBezTo>
                    <a:lnTo>
                      <a:pt x="109014" y="729"/>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FBE295F6-95E4-4BF9-824F-EFB02DA35315}"/>
                  </a:ext>
                </a:extLst>
              </p:cNvPr>
              <p:cNvSpPr/>
              <p:nvPr/>
            </p:nvSpPr>
            <p:spPr>
              <a:xfrm>
                <a:off x="6882271" y="3592771"/>
                <a:ext cx="61981" cy="149483"/>
              </a:xfrm>
              <a:custGeom>
                <a:avLst/>
                <a:gdLst>
                  <a:gd name="connsiteX0" fmla="*/ 61252 w 61981"/>
                  <a:gd name="connsiteY0" fmla="*/ 0 h 149483"/>
                  <a:gd name="connsiteX1" fmla="*/ 61252 w 61981"/>
                  <a:gd name="connsiteY1" fmla="*/ 1458 h 149483"/>
                  <a:gd name="connsiteX2" fmla="*/ 55054 w 61981"/>
                  <a:gd name="connsiteY2" fmla="*/ 2552 h 149483"/>
                  <a:gd name="connsiteX3" fmla="*/ 50679 w 61981"/>
                  <a:gd name="connsiteY3" fmla="*/ 6198 h 149483"/>
                  <a:gd name="connsiteX4" fmla="*/ 48126 w 61981"/>
                  <a:gd name="connsiteY4" fmla="*/ 17136 h 149483"/>
                  <a:gd name="connsiteX5" fmla="*/ 28438 w 61981"/>
                  <a:gd name="connsiteY5" fmla="*/ 131983 h 149483"/>
                  <a:gd name="connsiteX6" fmla="*/ 26980 w 61981"/>
                  <a:gd name="connsiteY6" fmla="*/ 143286 h 149483"/>
                  <a:gd name="connsiteX7" fmla="*/ 29168 w 61981"/>
                  <a:gd name="connsiteY7" fmla="*/ 146567 h 149483"/>
                  <a:gd name="connsiteX8" fmla="*/ 36095 w 61981"/>
                  <a:gd name="connsiteY8" fmla="*/ 148025 h 149483"/>
                  <a:gd name="connsiteX9" fmla="*/ 36095 w 61981"/>
                  <a:gd name="connsiteY9" fmla="*/ 149484 h 149483"/>
                  <a:gd name="connsiteX10" fmla="*/ 0 w 61981"/>
                  <a:gd name="connsiteY10" fmla="*/ 149484 h 149483"/>
                  <a:gd name="connsiteX11" fmla="*/ 0 w 61981"/>
                  <a:gd name="connsiteY11" fmla="*/ 148025 h 149483"/>
                  <a:gd name="connsiteX12" fmla="*/ 9115 w 61981"/>
                  <a:gd name="connsiteY12" fmla="*/ 145109 h 149483"/>
                  <a:gd name="connsiteX13" fmla="*/ 13125 w 61981"/>
                  <a:gd name="connsiteY13" fmla="*/ 131983 h 149483"/>
                  <a:gd name="connsiteX14" fmla="*/ 32814 w 61981"/>
                  <a:gd name="connsiteY14" fmla="*/ 18230 h 149483"/>
                  <a:gd name="connsiteX15" fmla="*/ 33543 w 61981"/>
                  <a:gd name="connsiteY15" fmla="*/ 4375 h 149483"/>
                  <a:gd name="connsiteX16" fmla="*/ 25886 w 61981"/>
                  <a:gd name="connsiteY16" fmla="*/ 1458 h 149483"/>
                  <a:gd name="connsiteX17" fmla="*/ 25886 w 61981"/>
                  <a:gd name="connsiteY17" fmla="*/ 0 h 149483"/>
                  <a:gd name="connsiteX18" fmla="*/ 61981 w 61981"/>
                  <a:gd name="connsiteY18" fmla="*/ 0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981" h="149483">
                    <a:moveTo>
                      <a:pt x="61252" y="0"/>
                    </a:moveTo>
                    <a:lnTo>
                      <a:pt x="61252" y="1458"/>
                    </a:lnTo>
                    <a:cubicBezTo>
                      <a:pt x="59064" y="1458"/>
                      <a:pt x="57241" y="1458"/>
                      <a:pt x="55054" y="2552"/>
                    </a:cubicBezTo>
                    <a:cubicBezTo>
                      <a:pt x="52866" y="3281"/>
                      <a:pt x="51408" y="4375"/>
                      <a:pt x="50679" y="6198"/>
                    </a:cubicBezTo>
                    <a:cubicBezTo>
                      <a:pt x="49949" y="7656"/>
                      <a:pt x="49220" y="11302"/>
                      <a:pt x="48126" y="17136"/>
                    </a:cubicBezTo>
                    <a:lnTo>
                      <a:pt x="28438" y="131983"/>
                    </a:lnTo>
                    <a:cubicBezTo>
                      <a:pt x="27345" y="138181"/>
                      <a:pt x="26980" y="142192"/>
                      <a:pt x="26980" y="143286"/>
                    </a:cubicBezTo>
                    <a:cubicBezTo>
                      <a:pt x="26980" y="144744"/>
                      <a:pt x="28074" y="145838"/>
                      <a:pt x="29168" y="146567"/>
                    </a:cubicBezTo>
                    <a:cubicBezTo>
                      <a:pt x="30261" y="147661"/>
                      <a:pt x="32449" y="148025"/>
                      <a:pt x="36095" y="148025"/>
                    </a:cubicBezTo>
                    <a:lnTo>
                      <a:pt x="36095" y="149484"/>
                    </a:lnTo>
                    <a:lnTo>
                      <a:pt x="0" y="149484"/>
                    </a:lnTo>
                    <a:lnTo>
                      <a:pt x="0" y="148025"/>
                    </a:lnTo>
                    <a:cubicBezTo>
                      <a:pt x="4740" y="148025"/>
                      <a:pt x="7657" y="146932"/>
                      <a:pt x="9115" y="145109"/>
                    </a:cubicBezTo>
                    <a:cubicBezTo>
                      <a:pt x="10573" y="143286"/>
                      <a:pt x="12032" y="138911"/>
                      <a:pt x="13125" y="131983"/>
                    </a:cubicBezTo>
                    <a:lnTo>
                      <a:pt x="32814" y="18230"/>
                    </a:lnTo>
                    <a:cubicBezTo>
                      <a:pt x="33907" y="10938"/>
                      <a:pt x="34272" y="6563"/>
                      <a:pt x="33543" y="4375"/>
                    </a:cubicBezTo>
                    <a:cubicBezTo>
                      <a:pt x="32814" y="2188"/>
                      <a:pt x="30261" y="1094"/>
                      <a:pt x="25886" y="1458"/>
                    </a:cubicBezTo>
                    <a:lnTo>
                      <a:pt x="25886" y="0"/>
                    </a:lnTo>
                    <a:lnTo>
                      <a:pt x="61981"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D49F6FD9-92C8-469D-9389-EA0C3D9EB9C2}"/>
                  </a:ext>
                </a:extLst>
              </p:cNvPr>
              <p:cNvSpPr/>
              <p:nvPr/>
            </p:nvSpPr>
            <p:spPr>
              <a:xfrm>
                <a:off x="6941700" y="3592771"/>
                <a:ext cx="158234" cy="151306"/>
              </a:xfrm>
              <a:custGeom>
                <a:avLst/>
                <a:gdLst>
                  <a:gd name="connsiteX0" fmla="*/ 135265 w 158234"/>
                  <a:gd name="connsiteY0" fmla="*/ 0 h 151306"/>
                  <a:gd name="connsiteX1" fmla="*/ 158234 w 158234"/>
                  <a:gd name="connsiteY1" fmla="*/ 0 h 151306"/>
                  <a:gd name="connsiteX2" fmla="*/ 158234 w 158234"/>
                  <a:gd name="connsiteY2" fmla="*/ 1458 h 151306"/>
                  <a:gd name="connsiteX3" fmla="*/ 153130 w 158234"/>
                  <a:gd name="connsiteY3" fmla="*/ 4011 h 151306"/>
                  <a:gd name="connsiteX4" fmla="*/ 151307 w 158234"/>
                  <a:gd name="connsiteY4" fmla="*/ 16771 h 151306"/>
                  <a:gd name="connsiteX5" fmla="*/ 121775 w 158234"/>
                  <a:gd name="connsiteY5" fmla="*/ 151307 h 151306"/>
                  <a:gd name="connsiteX6" fmla="*/ 36095 w 158234"/>
                  <a:gd name="connsiteY6" fmla="*/ 24063 h 151306"/>
                  <a:gd name="connsiteX7" fmla="*/ 17136 w 158234"/>
                  <a:gd name="connsiteY7" fmla="*/ 134900 h 151306"/>
                  <a:gd name="connsiteX8" fmla="*/ 16407 w 158234"/>
                  <a:gd name="connsiteY8" fmla="*/ 142921 h 151306"/>
                  <a:gd name="connsiteX9" fmla="*/ 20782 w 158234"/>
                  <a:gd name="connsiteY9" fmla="*/ 148025 h 151306"/>
                  <a:gd name="connsiteX10" fmla="*/ 20782 w 158234"/>
                  <a:gd name="connsiteY10" fmla="*/ 149484 h 151306"/>
                  <a:gd name="connsiteX11" fmla="*/ 0 w 158234"/>
                  <a:gd name="connsiteY11" fmla="*/ 149484 h 151306"/>
                  <a:gd name="connsiteX12" fmla="*/ 0 w 158234"/>
                  <a:gd name="connsiteY12" fmla="*/ 148025 h 151306"/>
                  <a:gd name="connsiteX13" fmla="*/ 8021 w 158234"/>
                  <a:gd name="connsiteY13" fmla="*/ 132348 h 151306"/>
                  <a:gd name="connsiteX14" fmla="*/ 24428 w 158234"/>
                  <a:gd name="connsiteY14" fmla="*/ 23334 h 151306"/>
                  <a:gd name="connsiteX15" fmla="*/ 22969 w 158234"/>
                  <a:gd name="connsiteY15" fmla="*/ 1458 h 151306"/>
                  <a:gd name="connsiteX16" fmla="*/ 22969 w 158234"/>
                  <a:gd name="connsiteY16" fmla="*/ 0 h 151306"/>
                  <a:gd name="connsiteX17" fmla="*/ 39012 w 158234"/>
                  <a:gd name="connsiteY17" fmla="*/ 0 h 151306"/>
                  <a:gd name="connsiteX18" fmla="*/ 119587 w 158234"/>
                  <a:gd name="connsiteY18" fmla="*/ 122139 h 151306"/>
                  <a:gd name="connsiteX19" fmla="*/ 139640 w 158234"/>
                  <a:gd name="connsiteY19" fmla="*/ 13855 h 151306"/>
                  <a:gd name="connsiteX20" fmla="*/ 134900 w 158234"/>
                  <a:gd name="connsiteY20" fmla="*/ 1458 h 151306"/>
                  <a:gd name="connsiteX21" fmla="*/ 134900 w 158234"/>
                  <a:gd name="connsiteY21" fmla="*/ 0 h 151306"/>
                  <a:gd name="connsiteX22" fmla="*/ 134900 w 158234"/>
                  <a:gd name="connsiteY22" fmla="*/ 0 h 15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234" h="151306">
                    <a:moveTo>
                      <a:pt x="135265" y="0"/>
                    </a:moveTo>
                    <a:lnTo>
                      <a:pt x="158234" y="0"/>
                    </a:lnTo>
                    <a:lnTo>
                      <a:pt x="158234" y="1458"/>
                    </a:lnTo>
                    <a:cubicBezTo>
                      <a:pt x="153859" y="1458"/>
                      <a:pt x="154953" y="2552"/>
                      <a:pt x="153130" y="4011"/>
                    </a:cubicBezTo>
                    <a:cubicBezTo>
                      <a:pt x="151307" y="5834"/>
                      <a:pt x="152401" y="10938"/>
                      <a:pt x="151307" y="16771"/>
                    </a:cubicBezTo>
                    <a:lnTo>
                      <a:pt x="121775" y="151307"/>
                    </a:lnTo>
                    <a:lnTo>
                      <a:pt x="36095" y="24063"/>
                    </a:lnTo>
                    <a:lnTo>
                      <a:pt x="17136" y="134900"/>
                    </a:lnTo>
                    <a:cubicBezTo>
                      <a:pt x="16407" y="138546"/>
                      <a:pt x="16407" y="141098"/>
                      <a:pt x="16407" y="142921"/>
                    </a:cubicBezTo>
                    <a:cubicBezTo>
                      <a:pt x="16407" y="144744"/>
                      <a:pt x="17136" y="147661"/>
                      <a:pt x="20782" y="148025"/>
                    </a:cubicBezTo>
                    <a:lnTo>
                      <a:pt x="20782" y="149484"/>
                    </a:lnTo>
                    <a:lnTo>
                      <a:pt x="0" y="149484"/>
                    </a:lnTo>
                    <a:lnTo>
                      <a:pt x="0" y="148025"/>
                    </a:lnTo>
                    <a:cubicBezTo>
                      <a:pt x="5469" y="147661"/>
                      <a:pt x="6927" y="138546"/>
                      <a:pt x="8021" y="132348"/>
                    </a:cubicBezTo>
                    <a:lnTo>
                      <a:pt x="24428" y="23334"/>
                    </a:lnTo>
                    <a:cubicBezTo>
                      <a:pt x="25157" y="13855"/>
                      <a:pt x="28803" y="3646"/>
                      <a:pt x="22969" y="1458"/>
                    </a:cubicBezTo>
                    <a:lnTo>
                      <a:pt x="22969" y="0"/>
                    </a:lnTo>
                    <a:lnTo>
                      <a:pt x="39012" y="0"/>
                    </a:lnTo>
                    <a:lnTo>
                      <a:pt x="119587" y="122139"/>
                    </a:lnTo>
                    <a:lnTo>
                      <a:pt x="139640" y="13855"/>
                    </a:lnTo>
                    <a:cubicBezTo>
                      <a:pt x="140734" y="8021"/>
                      <a:pt x="137817" y="1458"/>
                      <a:pt x="134900" y="1458"/>
                    </a:cubicBezTo>
                    <a:lnTo>
                      <a:pt x="134900" y="0"/>
                    </a:lnTo>
                    <a:lnTo>
                      <a:pt x="134900"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4AC5B543-2BAF-4C89-8616-62FFDC7E4EC1}"/>
                  </a:ext>
                </a:extLst>
              </p:cNvPr>
              <p:cNvSpPr/>
              <p:nvPr/>
            </p:nvSpPr>
            <p:spPr>
              <a:xfrm>
                <a:off x="6944981" y="3594594"/>
                <a:ext cx="28438" cy="145837"/>
              </a:xfrm>
              <a:custGeom>
                <a:avLst/>
                <a:gdLst>
                  <a:gd name="connsiteX0" fmla="*/ 23699 w 28438"/>
                  <a:gd name="connsiteY0" fmla="*/ 0 h 145837"/>
                  <a:gd name="connsiteX1" fmla="*/ 0 w 28438"/>
                  <a:gd name="connsiteY1" fmla="*/ 145838 h 145837"/>
                  <a:gd name="connsiteX2" fmla="*/ 3646 w 28438"/>
                  <a:gd name="connsiteY2" fmla="*/ 145838 h 145837"/>
                  <a:gd name="connsiteX3" fmla="*/ 28438 w 28438"/>
                  <a:gd name="connsiteY3" fmla="*/ 4740 h 145837"/>
                  <a:gd name="connsiteX4" fmla="*/ 23699 w 28438"/>
                  <a:gd name="connsiteY4" fmla="*/ 0 h 145837"/>
                  <a:gd name="connsiteX5" fmla="*/ 23699 w 28438"/>
                  <a:gd name="connsiteY5" fmla="*/ 0 h 14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8" h="145837">
                    <a:moveTo>
                      <a:pt x="23699" y="0"/>
                    </a:moveTo>
                    <a:lnTo>
                      <a:pt x="0" y="145838"/>
                    </a:lnTo>
                    <a:lnTo>
                      <a:pt x="3646" y="145838"/>
                    </a:lnTo>
                    <a:lnTo>
                      <a:pt x="28438" y="4740"/>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1A85461E-27C9-4819-8034-3BD34952482F}"/>
                  </a:ext>
                </a:extLst>
              </p:cNvPr>
              <p:cNvSpPr/>
              <p:nvPr/>
            </p:nvSpPr>
            <p:spPr>
              <a:xfrm>
                <a:off x="7063474" y="3593500"/>
                <a:ext cx="32813" cy="150577"/>
              </a:xfrm>
              <a:custGeom>
                <a:avLst/>
                <a:gdLst>
                  <a:gd name="connsiteX0" fmla="*/ 23699 w 32813"/>
                  <a:gd name="connsiteY0" fmla="*/ 0 h 150577"/>
                  <a:gd name="connsiteX1" fmla="*/ 0 w 32813"/>
                  <a:gd name="connsiteY1" fmla="*/ 150578 h 150577"/>
                  <a:gd name="connsiteX2" fmla="*/ 3646 w 32813"/>
                  <a:gd name="connsiteY2" fmla="*/ 150578 h 150577"/>
                  <a:gd name="connsiteX3" fmla="*/ 32814 w 32813"/>
                  <a:gd name="connsiteY3" fmla="*/ 0 h 150577"/>
                  <a:gd name="connsiteX4" fmla="*/ 23699 w 32813"/>
                  <a:gd name="connsiteY4" fmla="*/ 0 h 150577"/>
                  <a:gd name="connsiteX5" fmla="*/ 23699 w 32813"/>
                  <a:gd name="connsiteY5" fmla="*/ 0 h 1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3" h="150577">
                    <a:moveTo>
                      <a:pt x="23699" y="0"/>
                    </a:moveTo>
                    <a:lnTo>
                      <a:pt x="0" y="150578"/>
                    </a:lnTo>
                    <a:lnTo>
                      <a:pt x="3646" y="150578"/>
                    </a:lnTo>
                    <a:lnTo>
                      <a:pt x="32814" y="0"/>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AE80FD0D-79CB-4769-88B8-2A39A1D559F0}"/>
                  </a:ext>
                </a:extLst>
              </p:cNvPr>
              <p:cNvSpPr/>
              <p:nvPr/>
            </p:nvSpPr>
            <p:spPr>
              <a:xfrm>
                <a:off x="6472098" y="3595539"/>
                <a:ext cx="130164" cy="143799"/>
              </a:xfrm>
              <a:custGeom>
                <a:avLst/>
                <a:gdLst>
                  <a:gd name="connsiteX0" fmla="*/ 125789 w 130164"/>
                  <a:gd name="connsiteY0" fmla="*/ 23483 h 143799"/>
                  <a:gd name="connsiteX1" fmla="*/ 103184 w 130164"/>
                  <a:gd name="connsiteY1" fmla="*/ 6347 h 143799"/>
                  <a:gd name="connsiteX2" fmla="*/ 16046 w 130164"/>
                  <a:gd name="connsiteY2" fmla="*/ 50098 h 143799"/>
                  <a:gd name="connsiteX3" fmla="*/ 92976 w 130164"/>
                  <a:gd name="connsiteY3" fmla="*/ 139789 h 143799"/>
                  <a:gd name="connsiteX4" fmla="*/ 90423 w 130164"/>
                  <a:gd name="connsiteY4" fmla="*/ 143799 h 143799"/>
                  <a:gd name="connsiteX5" fmla="*/ 44120 w 130164"/>
                  <a:gd name="connsiteY5" fmla="*/ 143799 h 143799"/>
                  <a:gd name="connsiteX6" fmla="*/ 4 w 130164"/>
                  <a:gd name="connsiteY6" fmla="*/ 87652 h 143799"/>
                  <a:gd name="connsiteX7" fmla="*/ 24432 w 130164"/>
                  <a:gd name="connsiteY7" fmla="*/ 24941 h 143799"/>
                  <a:gd name="connsiteX8" fmla="*/ 62350 w 130164"/>
                  <a:gd name="connsiteY8" fmla="*/ 149 h 143799"/>
                  <a:gd name="connsiteX9" fmla="*/ 108653 w 130164"/>
                  <a:gd name="connsiteY9" fmla="*/ 1607 h 143799"/>
                  <a:gd name="connsiteX10" fmla="*/ 130164 w 130164"/>
                  <a:gd name="connsiteY10" fmla="*/ 11451 h 143799"/>
                  <a:gd name="connsiteX11" fmla="*/ 126154 w 130164"/>
                  <a:gd name="connsiteY11" fmla="*/ 23847 h 143799"/>
                  <a:gd name="connsiteX12" fmla="*/ 126154 w 130164"/>
                  <a:gd name="connsiteY12" fmla="*/ 23847 h 14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164" h="143799">
                    <a:moveTo>
                      <a:pt x="125789" y="23483"/>
                    </a:moveTo>
                    <a:cubicBezTo>
                      <a:pt x="119591" y="16556"/>
                      <a:pt x="111935" y="9993"/>
                      <a:pt x="103184" y="6347"/>
                    </a:cubicBezTo>
                    <a:cubicBezTo>
                      <a:pt x="68912" y="-7872"/>
                      <a:pt x="29536" y="11087"/>
                      <a:pt x="16046" y="50098"/>
                    </a:cubicBezTo>
                    <a:cubicBezTo>
                      <a:pt x="4" y="97131"/>
                      <a:pt x="21150" y="151456"/>
                      <a:pt x="92976" y="139789"/>
                    </a:cubicBezTo>
                    <a:lnTo>
                      <a:pt x="90423" y="143799"/>
                    </a:lnTo>
                    <a:lnTo>
                      <a:pt x="44120" y="143799"/>
                    </a:lnTo>
                    <a:cubicBezTo>
                      <a:pt x="4" y="131403"/>
                      <a:pt x="4" y="87652"/>
                      <a:pt x="4" y="87652"/>
                    </a:cubicBezTo>
                    <a:cubicBezTo>
                      <a:pt x="-361" y="54109"/>
                      <a:pt x="24432" y="24941"/>
                      <a:pt x="24432" y="24941"/>
                    </a:cubicBezTo>
                    <a:cubicBezTo>
                      <a:pt x="36828" y="4524"/>
                      <a:pt x="62350" y="149"/>
                      <a:pt x="62350" y="149"/>
                    </a:cubicBezTo>
                    <a:cubicBezTo>
                      <a:pt x="77298" y="-580"/>
                      <a:pt x="108653" y="1607"/>
                      <a:pt x="108653" y="1607"/>
                    </a:cubicBezTo>
                    <a:lnTo>
                      <a:pt x="130164" y="11451"/>
                    </a:lnTo>
                    <a:lnTo>
                      <a:pt x="126154" y="23847"/>
                    </a:lnTo>
                    <a:lnTo>
                      <a:pt x="126154" y="23847"/>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94DFEA24-C409-4A0A-B19D-C39DBF054377}"/>
                  </a:ext>
                </a:extLst>
              </p:cNvPr>
              <p:cNvSpPr/>
              <p:nvPr/>
            </p:nvSpPr>
            <p:spPr>
              <a:xfrm>
                <a:off x="7096131" y="3592771"/>
                <a:ext cx="137973" cy="152035"/>
              </a:xfrm>
              <a:custGeom>
                <a:avLst/>
                <a:gdLst>
                  <a:gd name="connsiteX0" fmla="*/ 111358 w 137973"/>
                  <a:gd name="connsiteY0" fmla="*/ 152036 h 152035"/>
                  <a:gd name="connsiteX1" fmla="*/ 66513 w 137973"/>
                  <a:gd name="connsiteY1" fmla="*/ 152036 h 152035"/>
                  <a:gd name="connsiteX2" fmla="*/ 39897 w 137973"/>
                  <a:gd name="connsiteY2" fmla="*/ 148390 h 152035"/>
                  <a:gd name="connsiteX3" fmla="*/ 18386 w 137973"/>
                  <a:gd name="connsiteY3" fmla="*/ 134171 h 152035"/>
                  <a:gd name="connsiteX4" fmla="*/ 3073 w 137973"/>
                  <a:gd name="connsiteY4" fmla="*/ 107920 h 152035"/>
                  <a:gd name="connsiteX5" fmla="*/ 1250 w 137973"/>
                  <a:gd name="connsiteY5" fmla="*/ 75836 h 152035"/>
                  <a:gd name="connsiteX6" fmla="*/ 16928 w 137973"/>
                  <a:gd name="connsiteY6" fmla="*/ 40105 h 152035"/>
                  <a:gd name="connsiteX7" fmla="*/ 49012 w 137973"/>
                  <a:gd name="connsiteY7" fmla="*/ 11302 h 152035"/>
                  <a:gd name="connsiteX8" fmla="*/ 90576 w 137973"/>
                  <a:gd name="connsiteY8" fmla="*/ 0 h 152035"/>
                  <a:gd name="connsiteX9" fmla="*/ 137973 w 137973"/>
                  <a:gd name="connsiteY9" fmla="*/ 13125 h 152035"/>
                  <a:gd name="connsiteX10" fmla="*/ 133234 w 137973"/>
                  <a:gd name="connsiteY10" fmla="*/ 26980 h 152035"/>
                  <a:gd name="connsiteX11" fmla="*/ 131775 w 137973"/>
                  <a:gd name="connsiteY11" fmla="*/ 26980 h 152035"/>
                  <a:gd name="connsiteX12" fmla="*/ 114639 w 137973"/>
                  <a:gd name="connsiteY12" fmla="*/ 10938 h 152035"/>
                  <a:gd name="connsiteX13" fmla="*/ 88024 w 137973"/>
                  <a:gd name="connsiteY13" fmla="*/ 5834 h 152035"/>
                  <a:gd name="connsiteX14" fmla="*/ 42814 w 137973"/>
                  <a:gd name="connsiteY14" fmla="*/ 25522 h 152035"/>
                  <a:gd name="connsiteX15" fmla="*/ 16928 w 137973"/>
                  <a:gd name="connsiteY15" fmla="*/ 79482 h 152035"/>
                  <a:gd name="connsiteX16" fmla="*/ 15470 w 137973"/>
                  <a:gd name="connsiteY16" fmla="*/ 103545 h 152035"/>
                  <a:gd name="connsiteX17" fmla="*/ 22032 w 137973"/>
                  <a:gd name="connsiteY17" fmla="*/ 124327 h 152035"/>
                  <a:gd name="connsiteX18" fmla="*/ 35522 w 137973"/>
                  <a:gd name="connsiteY18" fmla="*/ 139275 h 152035"/>
                  <a:gd name="connsiteX19" fmla="*/ 53752 w 137973"/>
                  <a:gd name="connsiteY19" fmla="*/ 145838 h 152035"/>
                  <a:gd name="connsiteX20" fmla="*/ 70523 w 137973"/>
                  <a:gd name="connsiteY20" fmla="*/ 147661 h 152035"/>
                  <a:gd name="connsiteX21" fmla="*/ 77815 w 137973"/>
                  <a:gd name="connsiteY21" fmla="*/ 147661 h 152035"/>
                  <a:gd name="connsiteX22" fmla="*/ 93493 w 137973"/>
                  <a:gd name="connsiteY22" fmla="*/ 144744 h 152035"/>
                  <a:gd name="connsiteX23" fmla="*/ 98233 w 137973"/>
                  <a:gd name="connsiteY23" fmla="*/ 134535 h 152035"/>
                  <a:gd name="connsiteX24" fmla="*/ 102243 w 137973"/>
                  <a:gd name="connsiteY24" fmla="*/ 111931 h 152035"/>
                  <a:gd name="connsiteX25" fmla="*/ 101514 w 137973"/>
                  <a:gd name="connsiteY25" fmla="*/ 83857 h 152035"/>
                  <a:gd name="connsiteX26" fmla="*/ 101514 w 137973"/>
                  <a:gd name="connsiteY26" fmla="*/ 82398 h 152035"/>
                  <a:gd name="connsiteX27" fmla="*/ 128129 w 137973"/>
                  <a:gd name="connsiteY27" fmla="*/ 82398 h 152035"/>
                  <a:gd name="connsiteX28" fmla="*/ 128129 w 137973"/>
                  <a:gd name="connsiteY28" fmla="*/ 83857 h 152035"/>
                  <a:gd name="connsiteX29" fmla="*/ 117556 w 137973"/>
                  <a:gd name="connsiteY29" fmla="*/ 113389 h 152035"/>
                  <a:gd name="connsiteX30" fmla="*/ 113546 w 137973"/>
                  <a:gd name="connsiteY30" fmla="*/ 137088 h 152035"/>
                  <a:gd name="connsiteX31" fmla="*/ 111358 w 137973"/>
                  <a:gd name="connsiteY31" fmla="*/ 152036 h 15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7973" h="152035">
                    <a:moveTo>
                      <a:pt x="111358" y="152036"/>
                    </a:moveTo>
                    <a:lnTo>
                      <a:pt x="66513" y="152036"/>
                    </a:lnTo>
                    <a:cubicBezTo>
                      <a:pt x="55940" y="152036"/>
                      <a:pt x="47189" y="150942"/>
                      <a:pt x="39897" y="148390"/>
                    </a:cubicBezTo>
                    <a:cubicBezTo>
                      <a:pt x="32605" y="145838"/>
                      <a:pt x="25314" y="141098"/>
                      <a:pt x="18386" y="134171"/>
                    </a:cubicBezTo>
                    <a:cubicBezTo>
                      <a:pt x="11459" y="127244"/>
                      <a:pt x="6355" y="118493"/>
                      <a:pt x="3073" y="107920"/>
                    </a:cubicBezTo>
                    <a:cubicBezTo>
                      <a:pt x="-208" y="97347"/>
                      <a:pt x="-937" y="86774"/>
                      <a:pt x="1250" y="75836"/>
                    </a:cubicBezTo>
                    <a:cubicBezTo>
                      <a:pt x="3438" y="63804"/>
                      <a:pt x="8542" y="52137"/>
                      <a:pt x="16928" y="40105"/>
                    </a:cubicBezTo>
                    <a:cubicBezTo>
                      <a:pt x="25314" y="28438"/>
                      <a:pt x="35887" y="18594"/>
                      <a:pt x="49012" y="11302"/>
                    </a:cubicBezTo>
                    <a:cubicBezTo>
                      <a:pt x="61773" y="4011"/>
                      <a:pt x="75628" y="0"/>
                      <a:pt x="90576" y="0"/>
                    </a:cubicBezTo>
                    <a:cubicBezTo>
                      <a:pt x="103701" y="0"/>
                      <a:pt x="121567" y="2188"/>
                      <a:pt x="137973" y="13125"/>
                    </a:cubicBezTo>
                    <a:lnTo>
                      <a:pt x="133234" y="26980"/>
                    </a:lnTo>
                    <a:lnTo>
                      <a:pt x="131775" y="26980"/>
                    </a:lnTo>
                    <a:cubicBezTo>
                      <a:pt x="128129" y="20417"/>
                      <a:pt x="122296" y="15313"/>
                      <a:pt x="114639" y="10938"/>
                    </a:cubicBezTo>
                    <a:cubicBezTo>
                      <a:pt x="106618" y="6198"/>
                      <a:pt x="97868" y="5834"/>
                      <a:pt x="88024" y="5834"/>
                    </a:cubicBezTo>
                    <a:cubicBezTo>
                      <a:pt x="70523" y="5834"/>
                      <a:pt x="56304" y="10938"/>
                      <a:pt x="42814" y="25522"/>
                    </a:cubicBezTo>
                    <a:cubicBezTo>
                      <a:pt x="29324" y="40105"/>
                      <a:pt x="20574" y="57971"/>
                      <a:pt x="16928" y="79482"/>
                    </a:cubicBezTo>
                    <a:cubicBezTo>
                      <a:pt x="15470" y="88596"/>
                      <a:pt x="15105" y="96253"/>
                      <a:pt x="15470" y="103545"/>
                    </a:cubicBezTo>
                    <a:cubicBezTo>
                      <a:pt x="16199" y="110472"/>
                      <a:pt x="18386" y="117399"/>
                      <a:pt x="22032" y="124327"/>
                    </a:cubicBezTo>
                    <a:cubicBezTo>
                      <a:pt x="26043" y="131254"/>
                      <a:pt x="30418" y="135994"/>
                      <a:pt x="35522" y="139275"/>
                    </a:cubicBezTo>
                    <a:cubicBezTo>
                      <a:pt x="40627" y="142557"/>
                      <a:pt x="46825" y="144744"/>
                      <a:pt x="53752" y="145838"/>
                    </a:cubicBezTo>
                    <a:cubicBezTo>
                      <a:pt x="60679" y="146932"/>
                      <a:pt x="66148" y="147661"/>
                      <a:pt x="70523" y="147661"/>
                    </a:cubicBezTo>
                    <a:lnTo>
                      <a:pt x="77815" y="147661"/>
                    </a:lnTo>
                    <a:cubicBezTo>
                      <a:pt x="86201" y="147296"/>
                      <a:pt x="91305" y="146202"/>
                      <a:pt x="93493" y="144744"/>
                    </a:cubicBezTo>
                    <a:cubicBezTo>
                      <a:pt x="95680" y="143286"/>
                      <a:pt x="97503" y="140004"/>
                      <a:pt x="98233" y="134535"/>
                    </a:cubicBezTo>
                    <a:lnTo>
                      <a:pt x="102243" y="111931"/>
                    </a:lnTo>
                    <a:cubicBezTo>
                      <a:pt x="102972" y="107555"/>
                      <a:pt x="105160" y="83492"/>
                      <a:pt x="101514" y="83857"/>
                    </a:cubicBezTo>
                    <a:lnTo>
                      <a:pt x="101514" y="82398"/>
                    </a:lnTo>
                    <a:lnTo>
                      <a:pt x="128129" y="82398"/>
                    </a:lnTo>
                    <a:lnTo>
                      <a:pt x="128129" y="83857"/>
                    </a:lnTo>
                    <a:cubicBezTo>
                      <a:pt x="124119" y="83857"/>
                      <a:pt x="118650" y="108649"/>
                      <a:pt x="117556" y="113389"/>
                    </a:cubicBezTo>
                    <a:lnTo>
                      <a:pt x="113546" y="137088"/>
                    </a:lnTo>
                    <a:cubicBezTo>
                      <a:pt x="112816" y="140369"/>
                      <a:pt x="112087" y="144015"/>
                      <a:pt x="111358" y="152036"/>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3" name="Freeform: Shape 392">
                <a:extLst>
                  <a:ext uri="{FF2B5EF4-FFF2-40B4-BE49-F238E27FC236}">
                    <a16:creationId xmlns:a16="http://schemas.microsoft.com/office/drawing/2014/main" id="{D01FF89F-B463-4A8B-AFB7-7875FC52B1E3}"/>
                  </a:ext>
                </a:extLst>
              </p:cNvPr>
              <p:cNvSpPr/>
              <p:nvPr/>
            </p:nvSpPr>
            <p:spPr>
              <a:xfrm>
                <a:off x="7102482" y="3598455"/>
                <a:ext cx="129799" cy="143799"/>
              </a:xfrm>
              <a:custGeom>
                <a:avLst/>
                <a:gdLst>
                  <a:gd name="connsiteX0" fmla="*/ 126154 w 129799"/>
                  <a:gd name="connsiteY0" fmla="*/ 23118 h 143799"/>
                  <a:gd name="connsiteX1" fmla="*/ 103549 w 129799"/>
                  <a:gd name="connsiteY1" fmla="*/ 5982 h 143799"/>
                  <a:gd name="connsiteX2" fmla="*/ 16411 w 129799"/>
                  <a:gd name="connsiteY2" fmla="*/ 49734 h 143799"/>
                  <a:gd name="connsiteX3" fmla="*/ 92976 w 129799"/>
                  <a:gd name="connsiteY3" fmla="*/ 139789 h 143799"/>
                  <a:gd name="connsiteX4" fmla="*/ 90423 w 129799"/>
                  <a:gd name="connsiteY4" fmla="*/ 143799 h 143799"/>
                  <a:gd name="connsiteX5" fmla="*/ 44120 w 129799"/>
                  <a:gd name="connsiteY5" fmla="*/ 143799 h 143799"/>
                  <a:gd name="connsiteX6" fmla="*/ 4 w 129799"/>
                  <a:gd name="connsiteY6" fmla="*/ 87652 h 143799"/>
                  <a:gd name="connsiteX7" fmla="*/ 24432 w 129799"/>
                  <a:gd name="connsiteY7" fmla="*/ 24941 h 143799"/>
                  <a:gd name="connsiteX8" fmla="*/ 62350 w 129799"/>
                  <a:gd name="connsiteY8" fmla="*/ 149 h 143799"/>
                  <a:gd name="connsiteX9" fmla="*/ 108288 w 129799"/>
                  <a:gd name="connsiteY9" fmla="*/ 1607 h 143799"/>
                  <a:gd name="connsiteX10" fmla="*/ 129800 w 129799"/>
                  <a:gd name="connsiteY10" fmla="*/ 11451 h 143799"/>
                  <a:gd name="connsiteX11" fmla="*/ 125789 w 129799"/>
                  <a:gd name="connsiteY11" fmla="*/ 23847 h 143799"/>
                  <a:gd name="connsiteX12" fmla="*/ 125789 w 129799"/>
                  <a:gd name="connsiteY12" fmla="*/ 23847 h 14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799" h="143799">
                    <a:moveTo>
                      <a:pt x="126154" y="23118"/>
                    </a:moveTo>
                    <a:cubicBezTo>
                      <a:pt x="119956" y="16191"/>
                      <a:pt x="112299" y="9628"/>
                      <a:pt x="103549" y="5982"/>
                    </a:cubicBezTo>
                    <a:cubicBezTo>
                      <a:pt x="69277" y="-8237"/>
                      <a:pt x="29901" y="10722"/>
                      <a:pt x="16411" y="49734"/>
                    </a:cubicBezTo>
                    <a:cubicBezTo>
                      <a:pt x="369" y="96766"/>
                      <a:pt x="21515" y="151091"/>
                      <a:pt x="92976" y="139789"/>
                    </a:cubicBezTo>
                    <a:lnTo>
                      <a:pt x="90423" y="143799"/>
                    </a:lnTo>
                    <a:lnTo>
                      <a:pt x="44120" y="143799"/>
                    </a:lnTo>
                    <a:cubicBezTo>
                      <a:pt x="-361" y="131403"/>
                      <a:pt x="4" y="87652"/>
                      <a:pt x="4" y="87652"/>
                    </a:cubicBezTo>
                    <a:cubicBezTo>
                      <a:pt x="-361" y="54109"/>
                      <a:pt x="24432" y="24941"/>
                      <a:pt x="24432" y="24941"/>
                    </a:cubicBezTo>
                    <a:cubicBezTo>
                      <a:pt x="36828" y="4524"/>
                      <a:pt x="62350" y="149"/>
                      <a:pt x="62350" y="149"/>
                    </a:cubicBezTo>
                    <a:cubicBezTo>
                      <a:pt x="77298" y="-580"/>
                      <a:pt x="108288" y="1607"/>
                      <a:pt x="108288" y="1607"/>
                    </a:cubicBezTo>
                    <a:lnTo>
                      <a:pt x="129800" y="11451"/>
                    </a:lnTo>
                    <a:lnTo>
                      <a:pt x="125789" y="23847"/>
                    </a:lnTo>
                    <a:lnTo>
                      <a:pt x="125789" y="23847"/>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7" name="Group 6">
            <a:extLst>
              <a:ext uri="{FF2B5EF4-FFF2-40B4-BE49-F238E27FC236}">
                <a16:creationId xmlns:a16="http://schemas.microsoft.com/office/drawing/2014/main" id="{B46435F8-546F-4C8E-AD70-10EA3D67EED7}"/>
              </a:ext>
            </a:extLst>
          </p:cNvPr>
          <p:cNvGrpSpPr/>
          <p:nvPr userDrawn="1"/>
        </p:nvGrpSpPr>
        <p:grpSpPr>
          <a:xfrm>
            <a:off x="3339354" y="2238445"/>
            <a:ext cx="7746123" cy="269337"/>
            <a:chOff x="3339354" y="2288371"/>
            <a:chExt cx="7746123" cy="269337"/>
          </a:xfrm>
        </p:grpSpPr>
        <p:grpSp>
          <p:nvGrpSpPr>
            <p:cNvPr id="396" name="Group 395">
              <a:extLst>
                <a:ext uri="{FF2B5EF4-FFF2-40B4-BE49-F238E27FC236}">
                  <a16:creationId xmlns:a16="http://schemas.microsoft.com/office/drawing/2014/main" id="{86FDEF3D-6E96-4352-A4E2-5AAE5920B685}"/>
                </a:ext>
              </a:extLst>
            </p:cNvPr>
            <p:cNvGrpSpPr/>
            <p:nvPr userDrawn="1"/>
          </p:nvGrpSpPr>
          <p:grpSpPr>
            <a:xfrm>
              <a:off x="3339354" y="2290307"/>
              <a:ext cx="804722" cy="265464"/>
              <a:chOff x="7596669" y="3709755"/>
              <a:chExt cx="635222" cy="209549"/>
            </a:xfrm>
          </p:grpSpPr>
          <p:grpSp>
            <p:nvGrpSpPr>
              <p:cNvPr id="397" name="Graphic 1126">
                <a:extLst>
                  <a:ext uri="{FF2B5EF4-FFF2-40B4-BE49-F238E27FC236}">
                    <a16:creationId xmlns:a16="http://schemas.microsoft.com/office/drawing/2014/main" id="{FEDE3BEA-0405-49D5-A615-0F6636917B3A}"/>
                  </a:ext>
                </a:extLst>
              </p:cNvPr>
              <p:cNvGrpSpPr/>
              <p:nvPr/>
            </p:nvGrpSpPr>
            <p:grpSpPr>
              <a:xfrm>
                <a:off x="7596954" y="3709755"/>
                <a:ext cx="605694" cy="126777"/>
                <a:chOff x="7596954" y="3709755"/>
                <a:chExt cx="605694" cy="126777"/>
              </a:xfrm>
              <a:noFill/>
            </p:grpSpPr>
            <p:sp>
              <p:nvSpPr>
                <p:cNvPr id="412" name="Freeform: Shape 411">
                  <a:extLst>
                    <a:ext uri="{FF2B5EF4-FFF2-40B4-BE49-F238E27FC236}">
                      <a16:creationId xmlns:a16="http://schemas.microsoft.com/office/drawing/2014/main" id="{45ECC3B9-EB2A-4A0A-803E-9616E20D7663}"/>
                    </a:ext>
                  </a:extLst>
                </p:cNvPr>
                <p:cNvSpPr/>
                <p:nvPr/>
              </p:nvSpPr>
              <p:spPr>
                <a:xfrm>
                  <a:off x="7596954" y="3836532"/>
                  <a:ext cx="605694" cy="9525"/>
                </a:xfrm>
                <a:custGeom>
                  <a:avLst/>
                  <a:gdLst>
                    <a:gd name="connsiteX0" fmla="*/ 0 w 605694"/>
                    <a:gd name="connsiteY0" fmla="*/ 0 h 9525"/>
                    <a:gd name="connsiteX1" fmla="*/ 605695 w 605694"/>
                    <a:gd name="connsiteY1" fmla="*/ 0 h 9525"/>
                  </a:gdLst>
                  <a:ahLst/>
                  <a:cxnLst>
                    <a:cxn ang="0">
                      <a:pos x="connsiteX0" y="connsiteY0"/>
                    </a:cxn>
                    <a:cxn ang="0">
                      <a:pos x="connsiteX1" y="connsiteY1"/>
                    </a:cxn>
                  </a:cxnLst>
                  <a:rect l="l" t="t" r="r" b="b"/>
                  <a:pathLst>
                    <a:path w="605694" h="9525">
                      <a:moveTo>
                        <a:pt x="0" y="0"/>
                      </a:moveTo>
                      <a:lnTo>
                        <a:pt x="605695" y="0"/>
                      </a:lnTo>
                    </a:path>
                  </a:pathLst>
                </a:custGeom>
                <a:ln w="1905" cap="flat">
                  <a:solidFill>
                    <a:srgbClr val="A1ABB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3" name="Freeform: Shape 412">
                  <a:extLst>
                    <a:ext uri="{FF2B5EF4-FFF2-40B4-BE49-F238E27FC236}">
                      <a16:creationId xmlns:a16="http://schemas.microsoft.com/office/drawing/2014/main" id="{0CA3C5FA-E01F-44B9-BF46-D8A692F4FB09}"/>
                    </a:ext>
                  </a:extLst>
                </p:cNvPr>
                <p:cNvSpPr/>
                <p:nvPr/>
              </p:nvSpPr>
              <p:spPr>
                <a:xfrm>
                  <a:off x="7827840" y="3709755"/>
                  <a:ext cx="136302" cy="117348"/>
                </a:xfrm>
                <a:custGeom>
                  <a:avLst/>
                  <a:gdLst>
                    <a:gd name="connsiteX0" fmla="*/ 0 w 136302"/>
                    <a:gd name="connsiteY0" fmla="*/ 117348 h 117348"/>
                    <a:gd name="connsiteX1" fmla="*/ 136303 w 136302"/>
                    <a:gd name="connsiteY1" fmla="*/ 117348 h 117348"/>
                    <a:gd name="connsiteX2" fmla="*/ 66770 w 136302"/>
                    <a:gd name="connsiteY2" fmla="*/ 0 h 117348"/>
                    <a:gd name="connsiteX3" fmla="*/ 0 w 136302"/>
                    <a:gd name="connsiteY3" fmla="*/ 117348 h 117348"/>
                    <a:gd name="connsiteX4" fmla="*/ 0 w 136302"/>
                    <a:gd name="connsiteY4" fmla="*/ 117348 h 117348"/>
                    <a:gd name="connsiteX5" fmla="*/ 0 w 136302"/>
                    <a:gd name="connsiteY5" fmla="*/ 117348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302" h="117348">
                      <a:moveTo>
                        <a:pt x="0" y="117348"/>
                      </a:moveTo>
                      <a:lnTo>
                        <a:pt x="136303" y="117348"/>
                      </a:lnTo>
                      <a:lnTo>
                        <a:pt x="66770" y="0"/>
                      </a:lnTo>
                      <a:lnTo>
                        <a:pt x="0" y="117348"/>
                      </a:lnTo>
                      <a:lnTo>
                        <a:pt x="0" y="117348"/>
                      </a:lnTo>
                      <a:lnTo>
                        <a:pt x="0" y="117348"/>
                      </a:lnTo>
                      <a:close/>
                    </a:path>
                  </a:pathLst>
                </a:custGeom>
                <a:noFill/>
                <a:ln w="1905" cap="flat">
                  <a:solidFill>
                    <a:srgbClr val="A1ABB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98" name="Freeform: Shape 397">
                <a:extLst>
                  <a:ext uri="{FF2B5EF4-FFF2-40B4-BE49-F238E27FC236}">
                    <a16:creationId xmlns:a16="http://schemas.microsoft.com/office/drawing/2014/main" id="{005D64BB-7300-4591-9F40-4576D230A51E}"/>
                  </a:ext>
                </a:extLst>
              </p:cNvPr>
              <p:cNvSpPr/>
              <p:nvPr/>
            </p:nvSpPr>
            <p:spPr>
              <a:xfrm>
                <a:off x="7836413" y="3712136"/>
                <a:ext cx="90868" cy="113537"/>
              </a:xfrm>
              <a:custGeom>
                <a:avLst/>
                <a:gdLst>
                  <a:gd name="connsiteX0" fmla="*/ 84201 w 90868"/>
                  <a:gd name="connsiteY0" fmla="*/ 0 h 113537"/>
                  <a:gd name="connsiteX1" fmla="*/ 90868 w 90868"/>
                  <a:gd name="connsiteY1" fmla="*/ 9906 h 113537"/>
                  <a:gd name="connsiteX2" fmla="*/ 22193 w 90868"/>
                  <a:gd name="connsiteY2" fmla="*/ 113538 h 113537"/>
                  <a:gd name="connsiteX3" fmla="*/ 0 w 90868"/>
                  <a:gd name="connsiteY3" fmla="*/ 70009 h 113537"/>
                  <a:gd name="connsiteX4" fmla="*/ 23146 w 90868"/>
                  <a:gd name="connsiteY4" fmla="*/ 105061 h 113537"/>
                  <a:gd name="connsiteX5" fmla="*/ 84201 w 90868"/>
                  <a:gd name="connsiteY5" fmla="*/ 0 h 113537"/>
                  <a:gd name="connsiteX6" fmla="*/ 84201 w 90868"/>
                  <a:gd name="connsiteY6" fmla="*/ 0 h 113537"/>
                  <a:gd name="connsiteX7" fmla="*/ 84201 w 90868"/>
                  <a:gd name="connsiteY7" fmla="*/ 0 h 11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113537">
                    <a:moveTo>
                      <a:pt x="84201" y="0"/>
                    </a:moveTo>
                    <a:lnTo>
                      <a:pt x="90868" y="9906"/>
                    </a:lnTo>
                    <a:lnTo>
                      <a:pt x="22193" y="113538"/>
                    </a:lnTo>
                    <a:lnTo>
                      <a:pt x="0" y="70009"/>
                    </a:lnTo>
                    <a:lnTo>
                      <a:pt x="23146" y="105061"/>
                    </a:lnTo>
                    <a:lnTo>
                      <a:pt x="84201" y="0"/>
                    </a:lnTo>
                    <a:lnTo>
                      <a:pt x="84201" y="0"/>
                    </a:lnTo>
                    <a:lnTo>
                      <a:pt x="84201"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D2607E9A-C449-4E70-8CE2-7D807593E738}"/>
                  </a:ext>
                </a:extLst>
              </p:cNvPr>
              <p:cNvSpPr/>
              <p:nvPr/>
            </p:nvSpPr>
            <p:spPr>
              <a:xfrm>
                <a:off x="7847271" y="3733377"/>
                <a:ext cx="92297" cy="92297"/>
              </a:xfrm>
              <a:custGeom>
                <a:avLst/>
                <a:gdLst>
                  <a:gd name="connsiteX0" fmla="*/ 86106 w 92297"/>
                  <a:gd name="connsiteY0" fmla="*/ 0 h 92297"/>
                  <a:gd name="connsiteX1" fmla="*/ 92297 w 92297"/>
                  <a:gd name="connsiteY1" fmla="*/ 10001 h 92297"/>
                  <a:gd name="connsiteX2" fmla="*/ 36005 w 92297"/>
                  <a:gd name="connsiteY2" fmla="*/ 92297 h 92297"/>
                  <a:gd name="connsiteX3" fmla="*/ 0 w 92297"/>
                  <a:gd name="connsiteY3" fmla="*/ 26956 h 92297"/>
                  <a:gd name="connsiteX4" fmla="*/ 36957 w 92297"/>
                  <a:gd name="connsiteY4" fmla="*/ 83820 h 92297"/>
                  <a:gd name="connsiteX5" fmla="*/ 86106 w 92297"/>
                  <a:gd name="connsiteY5" fmla="*/ 0 h 92297"/>
                  <a:gd name="connsiteX6" fmla="*/ 86106 w 92297"/>
                  <a:gd name="connsiteY6" fmla="*/ 0 h 92297"/>
                  <a:gd name="connsiteX7" fmla="*/ 86106 w 92297"/>
                  <a:gd name="connsiteY7" fmla="*/ 0 h 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97" h="92297">
                    <a:moveTo>
                      <a:pt x="86106" y="0"/>
                    </a:moveTo>
                    <a:lnTo>
                      <a:pt x="92297" y="10001"/>
                    </a:lnTo>
                    <a:lnTo>
                      <a:pt x="36005" y="92297"/>
                    </a:lnTo>
                    <a:lnTo>
                      <a:pt x="0" y="26956"/>
                    </a:lnTo>
                    <a:lnTo>
                      <a:pt x="36957" y="83820"/>
                    </a:lnTo>
                    <a:lnTo>
                      <a:pt x="86106" y="0"/>
                    </a:lnTo>
                    <a:lnTo>
                      <a:pt x="86106" y="0"/>
                    </a:lnTo>
                    <a:lnTo>
                      <a:pt x="8610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CA04A5F3-0596-4F53-BB39-335521A8FE9F}"/>
                  </a:ext>
                </a:extLst>
              </p:cNvPr>
              <p:cNvSpPr/>
              <p:nvPr/>
            </p:nvSpPr>
            <p:spPr>
              <a:xfrm>
                <a:off x="7862892" y="3744235"/>
                <a:ext cx="88772" cy="81438"/>
              </a:xfrm>
              <a:custGeom>
                <a:avLst/>
                <a:gdLst>
                  <a:gd name="connsiteX0" fmla="*/ 83344 w 88772"/>
                  <a:gd name="connsiteY0" fmla="*/ 9525 h 81438"/>
                  <a:gd name="connsiteX1" fmla="*/ 88773 w 88772"/>
                  <a:gd name="connsiteY1" fmla="*/ 19907 h 81438"/>
                  <a:gd name="connsiteX2" fmla="*/ 44958 w 88772"/>
                  <a:gd name="connsiteY2" fmla="*/ 81439 h 81438"/>
                  <a:gd name="connsiteX3" fmla="*/ 0 w 88772"/>
                  <a:gd name="connsiteY3" fmla="*/ 0 h 81438"/>
                  <a:gd name="connsiteX4" fmla="*/ 45910 w 88772"/>
                  <a:gd name="connsiteY4" fmla="*/ 72962 h 81438"/>
                  <a:gd name="connsiteX5" fmla="*/ 83344 w 88772"/>
                  <a:gd name="connsiteY5" fmla="*/ 9525 h 81438"/>
                  <a:gd name="connsiteX6" fmla="*/ 83344 w 88772"/>
                  <a:gd name="connsiteY6" fmla="*/ 9525 h 81438"/>
                  <a:gd name="connsiteX7" fmla="*/ 83344 w 88772"/>
                  <a:gd name="connsiteY7" fmla="*/ 9525 h 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72" h="81438">
                    <a:moveTo>
                      <a:pt x="83344" y="9525"/>
                    </a:moveTo>
                    <a:lnTo>
                      <a:pt x="88773" y="19907"/>
                    </a:lnTo>
                    <a:lnTo>
                      <a:pt x="44958" y="81439"/>
                    </a:lnTo>
                    <a:lnTo>
                      <a:pt x="0" y="0"/>
                    </a:lnTo>
                    <a:lnTo>
                      <a:pt x="45910" y="72962"/>
                    </a:lnTo>
                    <a:lnTo>
                      <a:pt x="83344" y="9525"/>
                    </a:lnTo>
                    <a:lnTo>
                      <a:pt x="83344" y="9525"/>
                    </a:lnTo>
                    <a:lnTo>
                      <a:pt x="83344" y="952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1878609C-CF4B-4FB7-9363-5D6E67918699}"/>
                  </a:ext>
                </a:extLst>
              </p:cNvPr>
              <p:cNvSpPr/>
              <p:nvPr/>
            </p:nvSpPr>
            <p:spPr>
              <a:xfrm>
                <a:off x="7874703" y="3724423"/>
                <a:ext cx="88963" cy="100774"/>
              </a:xfrm>
              <a:custGeom>
                <a:avLst/>
                <a:gdLst>
                  <a:gd name="connsiteX0" fmla="*/ 83820 w 88963"/>
                  <a:gd name="connsiteY0" fmla="*/ 50578 h 100774"/>
                  <a:gd name="connsiteX1" fmla="*/ 88963 w 88963"/>
                  <a:gd name="connsiteY1" fmla="*/ 60579 h 100774"/>
                  <a:gd name="connsiteX2" fmla="*/ 58198 w 88963"/>
                  <a:gd name="connsiteY2" fmla="*/ 100775 h 100774"/>
                  <a:gd name="connsiteX3" fmla="*/ 0 w 88963"/>
                  <a:gd name="connsiteY3" fmla="*/ 0 h 100774"/>
                  <a:gd name="connsiteX4" fmla="*/ 59627 w 88963"/>
                  <a:gd name="connsiteY4" fmla="*/ 92773 h 100774"/>
                  <a:gd name="connsiteX5" fmla="*/ 83820 w 88963"/>
                  <a:gd name="connsiteY5" fmla="*/ 50578 h 100774"/>
                  <a:gd name="connsiteX6" fmla="*/ 83820 w 88963"/>
                  <a:gd name="connsiteY6" fmla="*/ 50578 h 100774"/>
                  <a:gd name="connsiteX7" fmla="*/ 83820 w 88963"/>
                  <a:gd name="connsiteY7" fmla="*/ 50578 h 10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63" h="100774">
                    <a:moveTo>
                      <a:pt x="83820" y="50578"/>
                    </a:moveTo>
                    <a:lnTo>
                      <a:pt x="88963" y="60579"/>
                    </a:lnTo>
                    <a:lnTo>
                      <a:pt x="58198" y="100775"/>
                    </a:lnTo>
                    <a:lnTo>
                      <a:pt x="0" y="0"/>
                    </a:lnTo>
                    <a:lnTo>
                      <a:pt x="59627" y="92773"/>
                    </a:lnTo>
                    <a:lnTo>
                      <a:pt x="83820" y="50578"/>
                    </a:lnTo>
                    <a:lnTo>
                      <a:pt x="83820" y="50578"/>
                    </a:lnTo>
                    <a:lnTo>
                      <a:pt x="83820" y="5057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1455AF2C-CDAE-451A-926E-6F7292E4FE8F}"/>
                  </a:ext>
                </a:extLst>
              </p:cNvPr>
              <p:cNvSpPr/>
              <p:nvPr/>
            </p:nvSpPr>
            <p:spPr>
              <a:xfrm>
                <a:off x="8155024" y="3844914"/>
                <a:ext cx="50006" cy="73247"/>
              </a:xfrm>
              <a:custGeom>
                <a:avLst/>
                <a:gdLst>
                  <a:gd name="connsiteX0" fmla="*/ 0 w 50006"/>
                  <a:gd name="connsiteY0" fmla="*/ 73247 h 73247"/>
                  <a:gd name="connsiteX1" fmla="*/ 50006 w 50006"/>
                  <a:gd name="connsiteY1" fmla="*/ 73247 h 73247"/>
                  <a:gd name="connsiteX2" fmla="*/ 50006 w 50006"/>
                  <a:gd name="connsiteY2" fmla="*/ 53245 h 73247"/>
                  <a:gd name="connsiteX3" fmla="*/ 26765 w 50006"/>
                  <a:gd name="connsiteY3" fmla="*/ 53245 h 73247"/>
                  <a:gd name="connsiteX4" fmla="*/ 26765 w 50006"/>
                  <a:gd name="connsiteY4" fmla="*/ 46101 h 73247"/>
                  <a:gd name="connsiteX5" fmla="*/ 47339 w 50006"/>
                  <a:gd name="connsiteY5" fmla="*/ 46101 h 73247"/>
                  <a:gd name="connsiteX6" fmla="*/ 47339 w 50006"/>
                  <a:gd name="connsiteY6" fmla="*/ 27051 h 73247"/>
                  <a:gd name="connsiteX7" fmla="*/ 26765 w 50006"/>
                  <a:gd name="connsiteY7" fmla="*/ 27051 h 73247"/>
                  <a:gd name="connsiteX8" fmla="*/ 26765 w 50006"/>
                  <a:gd name="connsiteY8" fmla="*/ 20002 h 73247"/>
                  <a:gd name="connsiteX9" fmla="*/ 49244 w 50006"/>
                  <a:gd name="connsiteY9" fmla="*/ 20002 h 73247"/>
                  <a:gd name="connsiteX10" fmla="*/ 49244 w 50006"/>
                  <a:gd name="connsiteY10" fmla="*/ 0 h 73247"/>
                  <a:gd name="connsiteX11" fmla="*/ 0 w 50006"/>
                  <a:gd name="connsiteY11" fmla="*/ 0 h 73247"/>
                  <a:gd name="connsiteX12" fmla="*/ 0 w 50006"/>
                  <a:gd name="connsiteY12" fmla="*/ 73247 h 73247"/>
                  <a:gd name="connsiteX13" fmla="*/ 0 w 50006"/>
                  <a:gd name="connsiteY13" fmla="*/ 73247 h 73247"/>
                  <a:gd name="connsiteX14" fmla="*/ 0 w 50006"/>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006" h="73247">
                    <a:moveTo>
                      <a:pt x="0" y="73247"/>
                    </a:moveTo>
                    <a:lnTo>
                      <a:pt x="50006" y="73247"/>
                    </a:lnTo>
                    <a:lnTo>
                      <a:pt x="50006" y="53245"/>
                    </a:lnTo>
                    <a:lnTo>
                      <a:pt x="26765" y="53245"/>
                    </a:lnTo>
                    <a:lnTo>
                      <a:pt x="26765" y="46101"/>
                    </a:lnTo>
                    <a:lnTo>
                      <a:pt x="47339" y="46101"/>
                    </a:lnTo>
                    <a:lnTo>
                      <a:pt x="47339" y="27051"/>
                    </a:lnTo>
                    <a:lnTo>
                      <a:pt x="26765" y="27051"/>
                    </a:lnTo>
                    <a:lnTo>
                      <a:pt x="26765" y="20002"/>
                    </a:lnTo>
                    <a:lnTo>
                      <a:pt x="49244" y="20002"/>
                    </a:lnTo>
                    <a:lnTo>
                      <a:pt x="49244"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09C51896-27E9-4987-AAB4-538CFD00FCD0}"/>
                  </a:ext>
                </a:extLst>
              </p:cNvPr>
              <p:cNvSpPr/>
              <p:nvPr/>
            </p:nvSpPr>
            <p:spPr>
              <a:xfrm>
                <a:off x="8078729" y="3844819"/>
                <a:ext cx="73437" cy="73342"/>
              </a:xfrm>
              <a:custGeom>
                <a:avLst/>
                <a:gdLst>
                  <a:gd name="connsiteX0" fmla="*/ 0 w 73437"/>
                  <a:gd name="connsiteY0" fmla="*/ 73343 h 73342"/>
                  <a:gd name="connsiteX1" fmla="*/ 25432 w 73437"/>
                  <a:gd name="connsiteY1" fmla="*/ 73343 h 73342"/>
                  <a:gd name="connsiteX2" fmla="*/ 25432 w 73437"/>
                  <a:gd name="connsiteY2" fmla="*/ 49530 h 73342"/>
                  <a:gd name="connsiteX3" fmla="*/ 23813 w 73437"/>
                  <a:gd name="connsiteY3" fmla="*/ 34862 h 73342"/>
                  <a:gd name="connsiteX4" fmla="*/ 24574 w 73437"/>
                  <a:gd name="connsiteY4" fmla="*/ 34862 h 73342"/>
                  <a:gd name="connsiteX5" fmla="*/ 48006 w 73437"/>
                  <a:gd name="connsiteY5" fmla="*/ 73343 h 73342"/>
                  <a:gd name="connsiteX6" fmla="*/ 73438 w 73437"/>
                  <a:gd name="connsiteY6" fmla="*/ 73343 h 73342"/>
                  <a:gd name="connsiteX7" fmla="*/ 73438 w 73437"/>
                  <a:gd name="connsiteY7" fmla="*/ 0 h 73342"/>
                  <a:gd name="connsiteX8" fmla="*/ 48006 w 73437"/>
                  <a:gd name="connsiteY8" fmla="*/ 0 h 73342"/>
                  <a:gd name="connsiteX9" fmla="*/ 48006 w 73437"/>
                  <a:gd name="connsiteY9" fmla="*/ 22003 h 73342"/>
                  <a:gd name="connsiteX10" fmla="*/ 50197 w 73437"/>
                  <a:gd name="connsiteY10" fmla="*/ 40672 h 73342"/>
                  <a:gd name="connsiteX11" fmla="*/ 49435 w 73437"/>
                  <a:gd name="connsiteY11" fmla="*/ 40672 h 73342"/>
                  <a:gd name="connsiteX12" fmla="*/ 25527 w 73437"/>
                  <a:gd name="connsiteY12" fmla="*/ 0 h 73342"/>
                  <a:gd name="connsiteX13" fmla="*/ 0 w 73437"/>
                  <a:gd name="connsiteY13" fmla="*/ 0 h 73342"/>
                  <a:gd name="connsiteX14" fmla="*/ 0 w 73437"/>
                  <a:gd name="connsiteY14" fmla="*/ 73343 h 73342"/>
                  <a:gd name="connsiteX15" fmla="*/ 0 w 73437"/>
                  <a:gd name="connsiteY15" fmla="*/ 73343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437" h="73342">
                    <a:moveTo>
                      <a:pt x="0" y="73343"/>
                    </a:moveTo>
                    <a:lnTo>
                      <a:pt x="25432" y="73343"/>
                    </a:lnTo>
                    <a:lnTo>
                      <a:pt x="25432" y="49530"/>
                    </a:lnTo>
                    <a:cubicBezTo>
                      <a:pt x="25432" y="44672"/>
                      <a:pt x="24670" y="39910"/>
                      <a:pt x="23813" y="34862"/>
                    </a:cubicBezTo>
                    <a:lnTo>
                      <a:pt x="24574" y="34862"/>
                    </a:lnTo>
                    <a:lnTo>
                      <a:pt x="48006" y="73343"/>
                    </a:lnTo>
                    <a:lnTo>
                      <a:pt x="73438" y="73343"/>
                    </a:lnTo>
                    <a:lnTo>
                      <a:pt x="73438" y="0"/>
                    </a:lnTo>
                    <a:lnTo>
                      <a:pt x="48006" y="0"/>
                    </a:lnTo>
                    <a:lnTo>
                      <a:pt x="48006" y="22003"/>
                    </a:lnTo>
                    <a:cubicBezTo>
                      <a:pt x="48006" y="28194"/>
                      <a:pt x="49149" y="34576"/>
                      <a:pt x="50197" y="40672"/>
                    </a:cubicBezTo>
                    <a:lnTo>
                      <a:pt x="49435" y="40672"/>
                    </a:lnTo>
                    <a:lnTo>
                      <a:pt x="25527" y="0"/>
                    </a:lnTo>
                    <a:lnTo>
                      <a:pt x="0" y="0"/>
                    </a:lnTo>
                    <a:lnTo>
                      <a:pt x="0" y="73343"/>
                    </a:lnTo>
                    <a:lnTo>
                      <a:pt x="0" y="7334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C21E028F-93C3-468D-AD5F-0257D7CBECF7}"/>
                  </a:ext>
                </a:extLst>
              </p:cNvPr>
              <p:cNvSpPr/>
              <p:nvPr/>
            </p:nvSpPr>
            <p:spPr>
              <a:xfrm>
                <a:off x="7936521" y="3844914"/>
                <a:ext cx="67627" cy="73247"/>
              </a:xfrm>
              <a:custGeom>
                <a:avLst/>
                <a:gdLst>
                  <a:gd name="connsiteX0" fmla="*/ 0 w 67627"/>
                  <a:gd name="connsiteY0" fmla="*/ 73247 h 73247"/>
                  <a:gd name="connsiteX1" fmla="*/ 25718 w 67627"/>
                  <a:gd name="connsiteY1" fmla="*/ 73247 h 73247"/>
                  <a:gd name="connsiteX2" fmla="*/ 25718 w 67627"/>
                  <a:gd name="connsiteY2" fmla="*/ 47815 h 73247"/>
                  <a:gd name="connsiteX3" fmla="*/ 42005 w 67627"/>
                  <a:gd name="connsiteY3" fmla="*/ 47815 h 73247"/>
                  <a:gd name="connsiteX4" fmla="*/ 42005 w 67627"/>
                  <a:gd name="connsiteY4" fmla="*/ 73247 h 73247"/>
                  <a:gd name="connsiteX5" fmla="*/ 67627 w 67627"/>
                  <a:gd name="connsiteY5" fmla="*/ 73247 h 73247"/>
                  <a:gd name="connsiteX6" fmla="*/ 67627 w 67627"/>
                  <a:gd name="connsiteY6" fmla="*/ 0 h 73247"/>
                  <a:gd name="connsiteX7" fmla="*/ 42005 w 67627"/>
                  <a:gd name="connsiteY7" fmla="*/ 0 h 73247"/>
                  <a:gd name="connsiteX8" fmla="*/ 42005 w 67627"/>
                  <a:gd name="connsiteY8" fmla="*/ 24670 h 73247"/>
                  <a:gd name="connsiteX9" fmla="*/ 25718 w 67627"/>
                  <a:gd name="connsiteY9" fmla="*/ 24670 h 73247"/>
                  <a:gd name="connsiteX10" fmla="*/ 25718 w 67627"/>
                  <a:gd name="connsiteY10" fmla="*/ 0 h 73247"/>
                  <a:gd name="connsiteX11" fmla="*/ 0 w 67627"/>
                  <a:gd name="connsiteY11" fmla="*/ 0 h 73247"/>
                  <a:gd name="connsiteX12" fmla="*/ 0 w 67627"/>
                  <a:gd name="connsiteY12" fmla="*/ 73247 h 73247"/>
                  <a:gd name="connsiteX13" fmla="*/ 0 w 67627"/>
                  <a:gd name="connsiteY13" fmla="*/ 73247 h 73247"/>
                  <a:gd name="connsiteX14" fmla="*/ 0 w 67627"/>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 h="73247">
                    <a:moveTo>
                      <a:pt x="0" y="73247"/>
                    </a:moveTo>
                    <a:lnTo>
                      <a:pt x="25718" y="73247"/>
                    </a:lnTo>
                    <a:lnTo>
                      <a:pt x="25718" y="47815"/>
                    </a:lnTo>
                    <a:lnTo>
                      <a:pt x="42005" y="47815"/>
                    </a:lnTo>
                    <a:lnTo>
                      <a:pt x="42005" y="73247"/>
                    </a:lnTo>
                    <a:lnTo>
                      <a:pt x="67627" y="73247"/>
                    </a:lnTo>
                    <a:lnTo>
                      <a:pt x="67627" y="0"/>
                    </a:lnTo>
                    <a:lnTo>
                      <a:pt x="42005" y="0"/>
                    </a:lnTo>
                    <a:lnTo>
                      <a:pt x="42005" y="24670"/>
                    </a:lnTo>
                    <a:lnTo>
                      <a:pt x="25718" y="24670"/>
                    </a:lnTo>
                    <a:lnTo>
                      <a:pt x="25718"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EA24575D-F5CE-4491-B828-097ADD27814E}"/>
                  </a:ext>
                </a:extLst>
              </p:cNvPr>
              <p:cNvSpPr/>
              <p:nvPr/>
            </p:nvSpPr>
            <p:spPr>
              <a:xfrm>
                <a:off x="7747164" y="3844914"/>
                <a:ext cx="48958" cy="73247"/>
              </a:xfrm>
              <a:custGeom>
                <a:avLst/>
                <a:gdLst>
                  <a:gd name="connsiteX0" fmla="*/ 0 w 48958"/>
                  <a:gd name="connsiteY0" fmla="*/ 73247 h 73247"/>
                  <a:gd name="connsiteX1" fmla="*/ 48959 w 48958"/>
                  <a:gd name="connsiteY1" fmla="*/ 73247 h 73247"/>
                  <a:gd name="connsiteX2" fmla="*/ 48959 w 48958"/>
                  <a:gd name="connsiteY2" fmla="*/ 49721 h 73247"/>
                  <a:gd name="connsiteX3" fmla="*/ 26575 w 48958"/>
                  <a:gd name="connsiteY3" fmla="*/ 49721 h 73247"/>
                  <a:gd name="connsiteX4" fmla="*/ 26575 w 48958"/>
                  <a:gd name="connsiteY4" fmla="*/ 0 h 73247"/>
                  <a:gd name="connsiteX5" fmla="*/ 0 w 48958"/>
                  <a:gd name="connsiteY5" fmla="*/ 0 h 73247"/>
                  <a:gd name="connsiteX6" fmla="*/ 0 w 48958"/>
                  <a:gd name="connsiteY6" fmla="*/ 73247 h 73247"/>
                  <a:gd name="connsiteX7" fmla="*/ 0 w 48958"/>
                  <a:gd name="connsiteY7" fmla="*/ 73247 h 73247"/>
                  <a:gd name="connsiteX8" fmla="*/ 0 w 48958"/>
                  <a:gd name="connsiteY8"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58" h="73247">
                    <a:moveTo>
                      <a:pt x="0" y="73247"/>
                    </a:moveTo>
                    <a:lnTo>
                      <a:pt x="48959" y="73247"/>
                    </a:lnTo>
                    <a:lnTo>
                      <a:pt x="48959" y="49721"/>
                    </a:lnTo>
                    <a:lnTo>
                      <a:pt x="26575" y="49721"/>
                    </a:lnTo>
                    <a:lnTo>
                      <a:pt x="26575"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6" name="Freeform: Shape 405">
                <a:extLst>
                  <a:ext uri="{FF2B5EF4-FFF2-40B4-BE49-F238E27FC236}">
                    <a16:creationId xmlns:a16="http://schemas.microsoft.com/office/drawing/2014/main" id="{60B49137-522A-4655-936E-0FCC3E8ABE71}"/>
                  </a:ext>
                </a:extLst>
              </p:cNvPr>
              <p:cNvSpPr/>
              <p:nvPr/>
            </p:nvSpPr>
            <p:spPr>
              <a:xfrm>
                <a:off x="7596669" y="3844914"/>
                <a:ext cx="67627" cy="73247"/>
              </a:xfrm>
              <a:custGeom>
                <a:avLst/>
                <a:gdLst>
                  <a:gd name="connsiteX0" fmla="*/ 0 w 67627"/>
                  <a:gd name="connsiteY0" fmla="*/ 73247 h 73247"/>
                  <a:gd name="connsiteX1" fmla="*/ 25622 w 67627"/>
                  <a:gd name="connsiteY1" fmla="*/ 73247 h 73247"/>
                  <a:gd name="connsiteX2" fmla="*/ 25622 w 67627"/>
                  <a:gd name="connsiteY2" fmla="*/ 47815 h 73247"/>
                  <a:gd name="connsiteX3" fmla="*/ 42005 w 67627"/>
                  <a:gd name="connsiteY3" fmla="*/ 47815 h 73247"/>
                  <a:gd name="connsiteX4" fmla="*/ 42005 w 67627"/>
                  <a:gd name="connsiteY4" fmla="*/ 73247 h 73247"/>
                  <a:gd name="connsiteX5" fmla="*/ 67628 w 67627"/>
                  <a:gd name="connsiteY5" fmla="*/ 73247 h 73247"/>
                  <a:gd name="connsiteX6" fmla="*/ 67628 w 67627"/>
                  <a:gd name="connsiteY6" fmla="*/ 0 h 73247"/>
                  <a:gd name="connsiteX7" fmla="*/ 42005 w 67627"/>
                  <a:gd name="connsiteY7" fmla="*/ 0 h 73247"/>
                  <a:gd name="connsiteX8" fmla="*/ 42005 w 67627"/>
                  <a:gd name="connsiteY8" fmla="*/ 24670 h 73247"/>
                  <a:gd name="connsiteX9" fmla="*/ 25622 w 67627"/>
                  <a:gd name="connsiteY9" fmla="*/ 24670 h 73247"/>
                  <a:gd name="connsiteX10" fmla="*/ 25622 w 67627"/>
                  <a:gd name="connsiteY10" fmla="*/ 0 h 73247"/>
                  <a:gd name="connsiteX11" fmla="*/ 0 w 67627"/>
                  <a:gd name="connsiteY11" fmla="*/ 0 h 73247"/>
                  <a:gd name="connsiteX12" fmla="*/ 0 w 67627"/>
                  <a:gd name="connsiteY12" fmla="*/ 73247 h 73247"/>
                  <a:gd name="connsiteX13" fmla="*/ 0 w 67627"/>
                  <a:gd name="connsiteY13" fmla="*/ 73247 h 73247"/>
                  <a:gd name="connsiteX14" fmla="*/ 0 w 67627"/>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 h="73247">
                    <a:moveTo>
                      <a:pt x="0" y="73247"/>
                    </a:moveTo>
                    <a:lnTo>
                      <a:pt x="25622" y="73247"/>
                    </a:lnTo>
                    <a:lnTo>
                      <a:pt x="25622" y="47815"/>
                    </a:lnTo>
                    <a:lnTo>
                      <a:pt x="42005" y="47815"/>
                    </a:lnTo>
                    <a:lnTo>
                      <a:pt x="42005" y="73247"/>
                    </a:lnTo>
                    <a:lnTo>
                      <a:pt x="67628" y="73247"/>
                    </a:lnTo>
                    <a:lnTo>
                      <a:pt x="67628" y="0"/>
                    </a:lnTo>
                    <a:lnTo>
                      <a:pt x="42005" y="0"/>
                    </a:lnTo>
                    <a:lnTo>
                      <a:pt x="42005" y="24670"/>
                    </a:lnTo>
                    <a:lnTo>
                      <a:pt x="25622" y="24670"/>
                    </a:lnTo>
                    <a:lnTo>
                      <a:pt x="25622"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7" name="Freeform: Shape 406">
                <a:extLst>
                  <a:ext uri="{FF2B5EF4-FFF2-40B4-BE49-F238E27FC236}">
                    <a16:creationId xmlns:a16="http://schemas.microsoft.com/office/drawing/2014/main" id="{4A07F896-C3B7-4CFD-8EC1-8689DDD74803}"/>
                  </a:ext>
                </a:extLst>
              </p:cNvPr>
              <p:cNvSpPr/>
              <p:nvPr/>
            </p:nvSpPr>
            <p:spPr>
              <a:xfrm>
                <a:off x="7665153" y="3843676"/>
                <a:ext cx="81152" cy="75628"/>
              </a:xfrm>
              <a:custGeom>
                <a:avLst/>
                <a:gdLst>
                  <a:gd name="connsiteX0" fmla="*/ 40576 w 81152"/>
                  <a:gd name="connsiteY0" fmla="*/ 0 h 75628"/>
                  <a:gd name="connsiteX1" fmla="*/ 0 w 81152"/>
                  <a:gd name="connsiteY1" fmla="*/ 38005 h 75628"/>
                  <a:gd name="connsiteX2" fmla="*/ 40576 w 81152"/>
                  <a:gd name="connsiteY2" fmla="*/ 75629 h 75628"/>
                  <a:gd name="connsiteX3" fmla="*/ 81153 w 81152"/>
                  <a:gd name="connsiteY3" fmla="*/ 38005 h 75628"/>
                  <a:gd name="connsiteX4" fmla="*/ 40576 w 81152"/>
                  <a:gd name="connsiteY4" fmla="*/ 0 h 75628"/>
                  <a:gd name="connsiteX5" fmla="*/ 40576 w 81152"/>
                  <a:gd name="connsiteY5" fmla="*/ 0 h 75628"/>
                  <a:gd name="connsiteX6" fmla="*/ 40576 w 81152"/>
                  <a:gd name="connsiteY6" fmla="*/ 24098 h 75628"/>
                  <a:gd name="connsiteX7" fmla="*/ 54293 w 81152"/>
                  <a:gd name="connsiteY7" fmla="*/ 38386 h 75628"/>
                  <a:gd name="connsiteX8" fmla="*/ 40576 w 81152"/>
                  <a:gd name="connsiteY8" fmla="*/ 52483 h 75628"/>
                  <a:gd name="connsiteX9" fmla="*/ 26861 w 81152"/>
                  <a:gd name="connsiteY9" fmla="*/ 38386 h 75628"/>
                  <a:gd name="connsiteX10" fmla="*/ 40576 w 81152"/>
                  <a:gd name="connsiteY10" fmla="*/ 24098 h 75628"/>
                  <a:gd name="connsiteX11" fmla="*/ 40576 w 81152"/>
                  <a:gd name="connsiteY11" fmla="*/ 24098 h 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152" h="75628">
                    <a:moveTo>
                      <a:pt x="40576" y="0"/>
                    </a:moveTo>
                    <a:cubicBezTo>
                      <a:pt x="18288" y="0"/>
                      <a:pt x="0" y="14954"/>
                      <a:pt x="0" y="38005"/>
                    </a:cubicBezTo>
                    <a:cubicBezTo>
                      <a:pt x="0" y="61055"/>
                      <a:pt x="18193" y="75629"/>
                      <a:pt x="40576" y="75629"/>
                    </a:cubicBezTo>
                    <a:cubicBezTo>
                      <a:pt x="62960" y="75629"/>
                      <a:pt x="81153" y="61531"/>
                      <a:pt x="81153" y="38005"/>
                    </a:cubicBezTo>
                    <a:cubicBezTo>
                      <a:pt x="81153" y="14478"/>
                      <a:pt x="62865" y="0"/>
                      <a:pt x="40576" y="0"/>
                    </a:cubicBezTo>
                    <a:lnTo>
                      <a:pt x="40576" y="0"/>
                    </a:lnTo>
                    <a:close/>
                    <a:moveTo>
                      <a:pt x="40576" y="24098"/>
                    </a:moveTo>
                    <a:cubicBezTo>
                      <a:pt x="49054" y="24098"/>
                      <a:pt x="54293" y="30575"/>
                      <a:pt x="54293" y="38386"/>
                    </a:cubicBezTo>
                    <a:cubicBezTo>
                      <a:pt x="54293" y="46768"/>
                      <a:pt x="48673" y="52483"/>
                      <a:pt x="40576" y="52483"/>
                    </a:cubicBezTo>
                    <a:cubicBezTo>
                      <a:pt x="32480" y="52483"/>
                      <a:pt x="26861" y="46768"/>
                      <a:pt x="26861" y="38386"/>
                    </a:cubicBezTo>
                    <a:cubicBezTo>
                      <a:pt x="26861" y="30575"/>
                      <a:pt x="32099" y="24098"/>
                      <a:pt x="40576" y="24098"/>
                    </a:cubicBezTo>
                    <a:lnTo>
                      <a:pt x="40576" y="2409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8" name="Freeform: Shape 407">
                <a:extLst>
                  <a:ext uri="{FF2B5EF4-FFF2-40B4-BE49-F238E27FC236}">
                    <a16:creationId xmlns:a16="http://schemas.microsoft.com/office/drawing/2014/main" id="{565657A0-BB0D-4F4E-971F-8A2D1054D631}"/>
                  </a:ext>
                </a:extLst>
              </p:cNvPr>
              <p:cNvSpPr/>
              <p:nvPr/>
            </p:nvSpPr>
            <p:spPr>
              <a:xfrm>
                <a:off x="7792217" y="3843676"/>
                <a:ext cx="81152" cy="75628"/>
              </a:xfrm>
              <a:custGeom>
                <a:avLst/>
                <a:gdLst>
                  <a:gd name="connsiteX0" fmla="*/ 40577 w 81152"/>
                  <a:gd name="connsiteY0" fmla="*/ 0 h 75628"/>
                  <a:gd name="connsiteX1" fmla="*/ 0 w 81152"/>
                  <a:gd name="connsiteY1" fmla="*/ 38005 h 75628"/>
                  <a:gd name="connsiteX2" fmla="*/ 40577 w 81152"/>
                  <a:gd name="connsiteY2" fmla="*/ 75629 h 75628"/>
                  <a:gd name="connsiteX3" fmla="*/ 81153 w 81152"/>
                  <a:gd name="connsiteY3" fmla="*/ 38005 h 75628"/>
                  <a:gd name="connsiteX4" fmla="*/ 40577 w 81152"/>
                  <a:gd name="connsiteY4" fmla="*/ 0 h 75628"/>
                  <a:gd name="connsiteX5" fmla="*/ 40577 w 81152"/>
                  <a:gd name="connsiteY5" fmla="*/ 0 h 75628"/>
                  <a:gd name="connsiteX6" fmla="*/ 40577 w 81152"/>
                  <a:gd name="connsiteY6" fmla="*/ 24098 h 75628"/>
                  <a:gd name="connsiteX7" fmla="*/ 54292 w 81152"/>
                  <a:gd name="connsiteY7" fmla="*/ 38386 h 75628"/>
                  <a:gd name="connsiteX8" fmla="*/ 40577 w 81152"/>
                  <a:gd name="connsiteY8" fmla="*/ 52483 h 75628"/>
                  <a:gd name="connsiteX9" fmla="*/ 26860 w 81152"/>
                  <a:gd name="connsiteY9" fmla="*/ 38386 h 75628"/>
                  <a:gd name="connsiteX10" fmla="*/ 40577 w 81152"/>
                  <a:gd name="connsiteY10" fmla="*/ 24098 h 75628"/>
                  <a:gd name="connsiteX11" fmla="*/ 40577 w 81152"/>
                  <a:gd name="connsiteY11" fmla="*/ 24098 h 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152" h="75628">
                    <a:moveTo>
                      <a:pt x="40577" y="0"/>
                    </a:moveTo>
                    <a:cubicBezTo>
                      <a:pt x="18288" y="0"/>
                      <a:pt x="0" y="14954"/>
                      <a:pt x="0" y="38005"/>
                    </a:cubicBezTo>
                    <a:cubicBezTo>
                      <a:pt x="0" y="61055"/>
                      <a:pt x="18193" y="75629"/>
                      <a:pt x="40577" y="75629"/>
                    </a:cubicBezTo>
                    <a:cubicBezTo>
                      <a:pt x="62960" y="75629"/>
                      <a:pt x="81153" y="61531"/>
                      <a:pt x="81153" y="38005"/>
                    </a:cubicBezTo>
                    <a:cubicBezTo>
                      <a:pt x="81153" y="14478"/>
                      <a:pt x="62865" y="0"/>
                      <a:pt x="40577" y="0"/>
                    </a:cubicBezTo>
                    <a:lnTo>
                      <a:pt x="40577" y="0"/>
                    </a:lnTo>
                    <a:close/>
                    <a:moveTo>
                      <a:pt x="40577" y="24098"/>
                    </a:moveTo>
                    <a:cubicBezTo>
                      <a:pt x="49054" y="24098"/>
                      <a:pt x="54292" y="30575"/>
                      <a:pt x="54292" y="38386"/>
                    </a:cubicBezTo>
                    <a:cubicBezTo>
                      <a:pt x="54292" y="46768"/>
                      <a:pt x="48673" y="52483"/>
                      <a:pt x="40577" y="52483"/>
                    </a:cubicBezTo>
                    <a:cubicBezTo>
                      <a:pt x="32480" y="52483"/>
                      <a:pt x="26860" y="46768"/>
                      <a:pt x="26860" y="38386"/>
                    </a:cubicBezTo>
                    <a:cubicBezTo>
                      <a:pt x="26860" y="30575"/>
                      <a:pt x="32099" y="24098"/>
                      <a:pt x="40577" y="24098"/>
                    </a:cubicBezTo>
                    <a:lnTo>
                      <a:pt x="40577" y="2409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9" name="Freeform: Shape 408">
                <a:extLst>
                  <a:ext uri="{FF2B5EF4-FFF2-40B4-BE49-F238E27FC236}">
                    <a16:creationId xmlns:a16="http://schemas.microsoft.com/office/drawing/2014/main" id="{A490E273-E642-4E3D-AF36-12D3070A00CB}"/>
                  </a:ext>
                </a:extLst>
              </p:cNvPr>
              <p:cNvSpPr/>
              <p:nvPr/>
            </p:nvSpPr>
            <p:spPr>
              <a:xfrm>
                <a:off x="7874227" y="3844819"/>
                <a:ext cx="63436" cy="73342"/>
              </a:xfrm>
              <a:custGeom>
                <a:avLst/>
                <a:gdLst>
                  <a:gd name="connsiteX0" fmla="*/ 0 w 63436"/>
                  <a:gd name="connsiteY0" fmla="*/ 73343 h 73342"/>
                  <a:gd name="connsiteX1" fmla="*/ 25622 w 63436"/>
                  <a:gd name="connsiteY1" fmla="*/ 73343 h 73342"/>
                  <a:gd name="connsiteX2" fmla="*/ 25622 w 63436"/>
                  <a:gd name="connsiteY2" fmla="*/ 51245 h 73342"/>
                  <a:gd name="connsiteX3" fmla="*/ 39243 w 63436"/>
                  <a:gd name="connsiteY3" fmla="*/ 51245 h 73342"/>
                  <a:gd name="connsiteX4" fmla="*/ 63437 w 63436"/>
                  <a:gd name="connsiteY4" fmla="*/ 26956 h 73342"/>
                  <a:gd name="connsiteX5" fmla="*/ 33719 w 63436"/>
                  <a:gd name="connsiteY5" fmla="*/ 0 h 73342"/>
                  <a:gd name="connsiteX6" fmla="*/ 0 w 63436"/>
                  <a:gd name="connsiteY6" fmla="*/ 0 h 73342"/>
                  <a:gd name="connsiteX7" fmla="*/ 0 w 63436"/>
                  <a:gd name="connsiteY7" fmla="*/ 73343 h 73342"/>
                  <a:gd name="connsiteX8" fmla="*/ 0 w 63436"/>
                  <a:gd name="connsiteY8" fmla="*/ 73343 h 73342"/>
                  <a:gd name="connsiteX9" fmla="*/ 25622 w 63436"/>
                  <a:gd name="connsiteY9" fmla="*/ 20098 h 73342"/>
                  <a:gd name="connsiteX10" fmla="*/ 28099 w 63436"/>
                  <a:gd name="connsiteY10" fmla="*/ 20098 h 73342"/>
                  <a:gd name="connsiteX11" fmla="*/ 37909 w 63436"/>
                  <a:gd name="connsiteY11" fmla="*/ 26099 h 73342"/>
                  <a:gd name="connsiteX12" fmla="*/ 28194 w 63436"/>
                  <a:gd name="connsiteY12" fmla="*/ 32766 h 73342"/>
                  <a:gd name="connsiteX13" fmla="*/ 25527 w 63436"/>
                  <a:gd name="connsiteY13" fmla="*/ 32766 h 73342"/>
                  <a:gd name="connsiteX14" fmla="*/ 25527 w 63436"/>
                  <a:gd name="connsiteY14" fmla="*/ 20002 h 73342"/>
                  <a:gd name="connsiteX15" fmla="*/ 25527 w 63436"/>
                  <a:gd name="connsiteY15" fmla="*/ 20002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436" h="73342">
                    <a:moveTo>
                      <a:pt x="0" y="73343"/>
                    </a:moveTo>
                    <a:lnTo>
                      <a:pt x="25622" y="73343"/>
                    </a:lnTo>
                    <a:lnTo>
                      <a:pt x="25622" y="51245"/>
                    </a:lnTo>
                    <a:lnTo>
                      <a:pt x="39243" y="51245"/>
                    </a:lnTo>
                    <a:cubicBezTo>
                      <a:pt x="54102" y="51245"/>
                      <a:pt x="63437" y="41910"/>
                      <a:pt x="63437" y="26956"/>
                    </a:cubicBezTo>
                    <a:cubicBezTo>
                      <a:pt x="63437" y="8763"/>
                      <a:pt x="50768" y="0"/>
                      <a:pt x="33719" y="0"/>
                    </a:cubicBezTo>
                    <a:lnTo>
                      <a:pt x="0" y="0"/>
                    </a:lnTo>
                    <a:lnTo>
                      <a:pt x="0" y="73343"/>
                    </a:lnTo>
                    <a:lnTo>
                      <a:pt x="0" y="73343"/>
                    </a:lnTo>
                    <a:close/>
                    <a:moveTo>
                      <a:pt x="25622" y="20098"/>
                    </a:moveTo>
                    <a:lnTo>
                      <a:pt x="28099" y="20098"/>
                    </a:lnTo>
                    <a:cubicBezTo>
                      <a:pt x="32480" y="20098"/>
                      <a:pt x="37909" y="20384"/>
                      <a:pt x="37909" y="26099"/>
                    </a:cubicBezTo>
                    <a:cubicBezTo>
                      <a:pt x="37909" y="31813"/>
                      <a:pt x="32861" y="32766"/>
                      <a:pt x="28194" y="32766"/>
                    </a:cubicBezTo>
                    <a:lnTo>
                      <a:pt x="25527" y="32766"/>
                    </a:lnTo>
                    <a:lnTo>
                      <a:pt x="25527" y="20002"/>
                    </a:lnTo>
                    <a:lnTo>
                      <a:pt x="25527" y="2000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0" name="Freeform: Shape 409">
                <a:extLst>
                  <a:ext uri="{FF2B5EF4-FFF2-40B4-BE49-F238E27FC236}">
                    <a16:creationId xmlns:a16="http://schemas.microsoft.com/office/drawing/2014/main" id="{F7889EC9-A1F2-4236-B6C6-F3457B2371E4}"/>
                  </a:ext>
                </a:extLst>
              </p:cNvPr>
              <p:cNvSpPr/>
              <p:nvPr/>
            </p:nvSpPr>
            <p:spPr>
              <a:xfrm>
                <a:off x="8001005" y="3844819"/>
                <a:ext cx="81057" cy="73342"/>
              </a:xfrm>
              <a:custGeom>
                <a:avLst/>
                <a:gdLst>
                  <a:gd name="connsiteX0" fmla="*/ 30385 w 81057"/>
                  <a:gd name="connsiteY0" fmla="*/ 64199 h 73342"/>
                  <a:gd name="connsiteX1" fmla="*/ 50482 w 81057"/>
                  <a:gd name="connsiteY1" fmla="*/ 64199 h 73342"/>
                  <a:gd name="connsiteX2" fmla="*/ 52864 w 81057"/>
                  <a:gd name="connsiteY2" fmla="*/ 73343 h 73342"/>
                  <a:gd name="connsiteX3" fmla="*/ 81058 w 81057"/>
                  <a:gd name="connsiteY3" fmla="*/ 73343 h 73342"/>
                  <a:gd name="connsiteX4" fmla="*/ 54864 w 81057"/>
                  <a:gd name="connsiteY4" fmla="*/ 0 h 73342"/>
                  <a:gd name="connsiteX5" fmla="*/ 25432 w 81057"/>
                  <a:gd name="connsiteY5" fmla="*/ 0 h 73342"/>
                  <a:gd name="connsiteX6" fmla="*/ 0 w 81057"/>
                  <a:gd name="connsiteY6" fmla="*/ 73343 h 73342"/>
                  <a:gd name="connsiteX7" fmla="*/ 28194 w 81057"/>
                  <a:gd name="connsiteY7" fmla="*/ 73343 h 73342"/>
                  <a:gd name="connsiteX8" fmla="*/ 30290 w 81057"/>
                  <a:gd name="connsiteY8" fmla="*/ 64199 h 73342"/>
                  <a:gd name="connsiteX9" fmla="*/ 30290 w 81057"/>
                  <a:gd name="connsiteY9" fmla="*/ 64199 h 73342"/>
                  <a:gd name="connsiteX10" fmla="*/ 35147 w 81057"/>
                  <a:gd name="connsiteY10" fmla="*/ 46768 h 73342"/>
                  <a:gd name="connsiteX11" fmla="*/ 40005 w 81057"/>
                  <a:gd name="connsiteY11" fmla="*/ 24384 h 73342"/>
                  <a:gd name="connsiteX12" fmla="*/ 40957 w 81057"/>
                  <a:gd name="connsiteY12" fmla="*/ 24384 h 73342"/>
                  <a:gd name="connsiteX13" fmla="*/ 42672 w 81057"/>
                  <a:gd name="connsiteY13" fmla="*/ 33814 h 73342"/>
                  <a:gd name="connsiteX14" fmla="*/ 45815 w 81057"/>
                  <a:gd name="connsiteY14" fmla="*/ 46768 h 73342"/>
                  <a:gd name="connsiteX15" fmla="*/ 35147 w 81057"/>
                  <a:gd name="connsiteY15" fmla="*/ 46768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057" h="73342">
                    <a:moveTo>
                      <a:pt x="30385" y="64199"/>
                    </a:moveTo>
                    <a:lnTo>
                      <a:pt x="50482" y="64199"/>
                    </a:lnTo>
                    <a:lnTo>
                      <a:pt x="52864" y="73343"/>
                    </a:lnTo>
                    <a:lnTo>
                      <a:pt x="81058" y="73343"/>
                    </a:lnTo>
                    <a:lnTo>
                      <a:pt x="54864" y="0"/>
                    </a:lnTo>
                    <a:lnTo>
                      <a:pt x="25432" y="0"/>
                    </a:lnTo>
                    <a:lnTo>
                      <a:pt x="0" y="73343"/>
                    </a:lnTo>
                    <a:lnTo>
                      <a:pt x="28194" y="73343"/>
                    </a:lnTo>
                    <a:lnTo>
                      <a:pt x="30290" y="64199"/>
                    </a:lnTo>
                    <a:lnTo>
                      <a:pt x="30290" y="64199"/>
                    </a:lnTo>
                    <a:close/>
                    <a:moveTo>
                      <a:pt x="35147" y="46768"/>
                    </a:moveTo>
                    <a:lnTo>
                      <a:pt x="40005" y="24384"/>
                    </a:lnTo>
                    <a:lnTo>
                      <a:pt x="40957" y="24384"/>
                    </a:lnTo>
                    <a:cubicBezTo>
                      <a:pt x="41434" y="27527"/>
                      <a:pt x="41910" y="30671"/>
                      <a:pt x="42672" y="33814"/>
                    </a:cubicBezTo>
                    <a:lnTo>
                      <a:pt x="45815" y="46768"/>
                    </a:lnTo>
                    <a:lnTo>
                      <a:pt x="35147" y="4676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1" name="Freeform: Shape 410">
                <a:extLst>
                  <a:ext uri="{FF2B5EF4-FFF2-40B4-BE49-F238E27FC236}">
                    <a16:creationId xmlns:a16="http://schemas.microsoft.com/office/drawing/2014/main" id="{C0B503C2-6131-4146-B955-336E9624A7A0}"/>
                  </a:ext>
                </a:extLst>
              </p:cNvPr>
              <p:cNvSpPr/>
              <p:nvPr/>
            </p:nvSpPr>
            <p:spPr>
              <a:xfrm>
                <a:off x="8211317" y="3844914"/>
                <a:ext cx="20574" cy="20478"/>
              </a:xfrm>
              <a:custGeom>
                <a:avLst/>
                <a:gdLst>
                  <a:gd name="connsiteX0" fmla="*/ 10001 w 20574"/>
                  <a:gd name="connsiteY0" fmla="*/ 4477 h 20478"/>
                  <a:gd name="connsiteX1" fmla="*/ 13049 w 20574"/>
                  <a:gd name="connsiteY1" fmla="*/ 4858 h 20478"/>
                  <a:gd name="connsiteX2" fmla="*/ 14764 w 20574"/>
                  <a:gd name="connsiteY2" fmla="*/ 7715 h 20478"/>
                  <a:gd name="connsiteX3" fmla="*/ 13621 w 20574"/>
                  <a:gd name="connsiteY3" fmla="*/ 9906 h 20478"/>
                  <a:gd name="connsiteX4" fmla="*/ 12002 w 20574"/>
                  <a:gd name="connsiteY4" fmla="*/ 10477 h 20478"/>
                  <a:gd name="connsiteX5" fmla="*/ 13906 w 20574"/>
                  <a:gd name="connsiteY5" fmla="*/ 11620 h 20478"/>
                  <a:gd name="connsiteX6" fmla="*/ 14573 w 20574"/>
                  <a:gd name="connsiteY6" fmla="*/ 13335 h 20478"/>
                  <a:gd name="connsiteX7" fmla="*/ 14573 w 20574"/>
                  <a:gd name="connsiteY7" fmla="*/ 14192 h 20478"/>
                  <a:gd name="connsiteX8" fmla="*/ 14573 w 20574"/>
                  <a:gd name="connsiteY8" fmla="*/ 15049 h 20478"/>
                  <a:gd name="connsiteX9" fmla="*/ 14573 w 20574"/>
                  <a:gd name="connsiteY9" fmla="*/ 15621 h 20478"/>
                  <a:gd name="connsiteX10" fmla="*/ 12764 w 20574"/>
                  <a:gd name="connsiteY10" fmla="*/ 15621 h 20478"/>
                  <a:gd name="connsiteX11" fmla="*/ 12764 w 20574"/>
                  <a:gd name="connsiteY11" fmla="*/ 14288 h 20478"/>
                  <a:gd name="connsiteX12" fmla="*/ 11621 w 20574"/>
                  <a:gd name="connsiteY12" fmla="*/ 11716 h 20478"/>
                  <a:gd name="connsiteX13" fmla="*/ 9430 w 20574"/>
                  <a:gd name="connsiteY13" fmla="*/ 11335 h 20478"/>
                  <a:gd name="connsiteX14" fmla="*/ 7906 w 20574"/>
                  <a:gd name="connsiteY14" fmla="*/ 11335 h 20478"/>
                  <a:gd name="connsiteX15" fmla="*/ 7906 w 20574"/>
                  <a:gd name="connsiteY15" fmla="*/ 15811 h 20478"/>
                  <a:gd name="connsiteX16" fmla="*/ 5906 w 20574"/>
                  <a:gd name="connsiteY16" fmla="*/ 15811 h 20478"/>
                  <a:gd name="connsiteX17" fmla="*/ 5906 w 20574"/>
                  <a:gd name="connsiteY17" fmla="*/ 4572 h 20478"/>
                  <a:gd name="connsiteX18" fmla="*/ 9811 w 20574"/>
                  <a:gd name="connsiteY18" fmla="*/ 4572 h 20478"/>
                  <a:gd name="connsiteX19" fmla="*/ 12097 w 20574"/>
                  <a:gd name="connsiteY19" fmla="*/ 6286 h 20478"/>
                  <a:gd name="connsiteX20" fmla="*/ 9716 w 20574"/>
                  <a:gd name="connsiteY20" fmla="*/ 5905 h 20478"/>
                  <a:gd name="connsiteX21" fmla="*/ 8001 w 20574"/>
                  <a:gd name="connsiteY21" fmla="*/ 5905 h 20478"/>
                  <a:gd name="connsiteX22" fmla="*/ 8001 w 20574"/>
                  <a:gd name="connsiteY22" fmla="*/ 10001 h 20478"/>
                  <a:gd name="connsiteX23" fmla="*/ 9811 w 20574"/>
                  <a:gd name="connsiteY23" fmla="*/ 10001 h 20478"/>
                  <a:gd name="connsiteX24" fmla="*/ 11716 w 20574"/>
                  <a:gd name="connsiteY24" fmla="*/ 9715 h 20478"/>
                  <a:gd name="connsiteX25" fmla="*/ 12859 w 20574"/>
                  <a:gd name="connsiteY25" fmla="*/ 7906 h 20478"/>
                  <a:gd name="connsiteX26" fmla="*/ 12097 w 20574"/>
                  <a:gd name="connsiteY26" fmla="*/ 6286 h 20478"/>
                  <a:gd name="connsiteX27" fmla="*/ 12097 w 20574"/>
                  <a:gd name="connsiteY27" fmla="*/ 6286 h 20478"/>
                  <a:gd name="connsiteX28" fmla="*/ 17431 w 20574"/>
                  <a:gd name="connsiteY28" fmla="*/ 17431 h 20478"/>
                  <a:gd name="connsiteX29" fmla="*/ 10192 w 20574"/>
                  <a:gd name="connsiteY29" fmla="*/ 20479 h 20478"/>
                  <a:gd name="connsiteX30" fmla="*/ 2953 w 20574"/>
                  <a:gd name="connsiteY30" fmla="*/ 17431 h 20478"/>
                  <a:gd name="connsiteX31" fmla="*/ 0 w 20574"/>
                  <a:gd name="connsiteY31" fmla="*/ 10192 h 20478"/>
                  <a:gd name="connsiteX32" fmla="*/ 3048 w 20574"/>
                  <a:gd name="connsiteY32" fmla="*/ 2953 h 20478"/>
                  <a:gd name="connsiteX33" fmla="*/ 10287 w 20574"/>
                  <a:gd name="connsiteY33" fmla="*/ 0 h 20478"/>
                  <a:gd name="connsiteX34" fmla="*/ 17526 w 20574"/>
                  <a:gd name="connsiteY34" fmla="*/ 2953 h 20478"/>
                  <a:gd name="connsiteX35" fmla="*/ 20574 w 20574"/>
                  <a:gd name="connsiteY35" fmla="*/ 10192 h 20478"/>
                  <a:gd name="connsiteX36" fmla="*/ 17526 w 20574"/>
                  <a:gd name="connsiteY36" fmla="*/ 17431 h 20478"/>
                  <a:gd name="connsiteX37" fmla="*/ 17526 w 20574"/>
                  <a:gd name="connsiteY37" fmla="*/ 17431 h 20478"/>
                  <a:gd name="connsiteX38" fmla="*/ 3905 w 20574"/>
                  <a:gd name="connsiteY38" fmla="*/ 3905 h 20478"/>
                  <a:gd name="connsiteX39" fmla="*/ 1333 w 20574"/>
                  <a:gd name="connsiteY39" fmla="*/ 10192 h 20478"/>
                  <a:gd name="connsiteX40" fmla="*/ 3905 w 20574"/>
                  <a:gd name="connsiteY40" fmla="*/ 16478 h 20478"/>
                  <a:gd name="connsiteX41" fmla="*/ 10192 w 20574"/>
                  <a:gd name="connsiteY41" fmla="*/ 19050 h 20478"/>
                  <a:gd name="connsiteX42" fmla="*/ 16478 w 20574"/>
                  <a:gd name="connsiteY42" fmla="*/ 16478 h 20478"/>
                  <a:gd name="connsiteX43" fmla="*/ 19050 w 20574"/>
                  <a:gd name="connsiteY43" fmla="*/ 10192 h 20478"/>
                  <a:gd name="connsiteX44" fmla="*/ 16478 w 20574"/>
                  <a:gd name="connsiteY44" fmla="*/ 3905 h 20478"/>
                  <a:gd name="connsiteX45" fmla="*/ 10192 w 20574"/>
                  <a:gd name="connsiteY45" fmla="*/ 1333 h 20478"/>
                  <a:gd name="connsiteX46" fmla="*/ 3905 w 20574"/>
                  <a:gd name="connsiteY46" fmla="*/ 3905 h 20478"/>
                  <a:gd name="connsiteX47" fmla="*/ 3905 w 20574"/>
                  <a:gd name="connsiteY47" fmla="*/ 3905 h 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574" h="20478">
                    <a:moveTo>
                      <a:pt x="10001" y="4477"/>
                    </a:moveTo>
                    <a:cubicBezTo>
                      <a:pt x="11430" y="4477"/>
                      <a:pt x="12383" y="4572"/>
                      <a:pt x="13049" y="4858"/>
                    </a:cubicBezTo>
                    <a:cubicBezTo>
                      <a:pt x="14192" y="5334"/>
                      <a:pt x="14764" y="6286"/>
                      <a:pt x="14764" y="7715"/>
                    </a:cubicBezTo>
                    <a:cubicBezTo>
                      <a:pt x="14764" y="8763"/>
                      <a:pt x="14383" y="9430"/>
                      <a:pt x="13621" y="9906"/>
                    </a:cubicBezTo>
                    <a:cubicBezTo>
                      <a:pt x="13240" y="10192"/>
                      <a:pt x="12668" y="10382"/>
                      <a:pt x="12002" y="10477"/>
                    </a:cubicBezTo>
                    <a:cubicBezTo>
                      <a:pt x="12859" y="10573"/>
                      <a:pt x="13525" y="10954"/>
                      <a:pt x="13906" y="11620"/>
                    </a:cubicBezTo>
                    <a:cubicBezTo>
                      <a:pt x="14288" y="12192"/>
                      <a:pt x="14573" y="12763"/>
                      <a:pt x="14573" y="13335"/>
                    </a:cubicBezTo>
                    <a:lnTo>
                      <a:pt x="14573" y="14192"/>
                    </a:lnTo>
                    <a:cubicBezTo>
                      <a:pt x="14573" y="14192"/>
                      <a:pt x="14573" y="14764"/>
                      <a:pt x="14573" y="15049"/>
                    </a:cubicBezTo>
                    <a:cubicBezTo>
                      <a:pt x="14573" y="15335"/>
                      <a:pt x="14573" y="15526"/>
                      <a:pt x="14573" y="15621"/>
                    </a:cubicBezTo>
                    <a:lnTo>
                      <a:pt x="12764" y="15621"/>
                    </a:lnTo>
                    <a:lnTo>
                      <a:pt x="12764" y="14288"/>
                    </a:lnTo>
                    <a:cubicBezTo>
                      <a:pt x="12764" y="12954"/>
                      <a:pt x="12383" y="12097"/>
                      <a:pt x="11621" y="11716"/>
                    </a:cubicBezTo>
                    <a:cubicBezTo>
                      <a:pt x="11240" y="11430"/>
                      <a:pt x="10477" y="11335"/>
                      <a:pt x="9430" y="11335"/>
                    </a:cubicBezTo>
                    <a:lnTo>
                      <a:pt x="7906" y="11335"/>
                    </a:lnTo>
                    <a:lnTo>
                      <a:pt x="7906" y="15811"/>
                    </a:lnTo>
                    <a:lnTo>
                      <a:pt x="5906" y="15811"/>
                    </a:lnTo>
                    <a:lnTo>
                      <a:pt x="5906" y="4572"/>
                    </a:lnTo>
                    <a:lnTo>
                      <a:pt x="9811" y="4572"/>
                    </a:lnTo>
                    <a:close/>
                    <a:moveTo>
                      <a:pt x="12097" y="6286"/>
                    </a:moveTo>
                    <a:cubicBezTo>
                      <a:pt x="11621" y="6001"/>
                      <a:pt x="10763" y="5905"/>
                      <a:pt x="9716" y="5905"/>
                    </a:cubicBezTo>
                    <a:lnTo>
                      <a:pt x="8001" y="5905"/>
                    </a:lnTo>
                    <a:lnTo>
                      <a:pt x="8001" y="10001"/>
                    </a:lnTo>
                    <a:lnTo>
                      <a:pt x="9811" y="10001"/>
                    </a:lnTo>
                    <a:cubicBezTo>
                      <a:pt x="10668" y="10001"/>
                      <a:pt x="11240" y="10001"/>
                      <a:pt x="11716" y="9715"/>
                    </a:cubicBezTo>
                    <a:cubicBezTo>
                      <a:pt x="12478" y="9430"/>
                      <a:pt x="12859" y="8858"/>
                      <a:pt x="12859" y="7906"/>
                    </a:cubicBezTo>
                    <a:cubicBezTo>
                      <a:pt x="12859" y="7048"/>
                      <a:pt x="12573" y="6572"/>
                      <a:pt x="12097" y="6286"/>
                    </a:cubicBezTo>
                    <a:lnTo>
                      <a:pt x="12097" y="6286"/>
                    </a:lnTo>
                    <a:close/>
                    <a:moveTo>
                      <a:pt x="17431" y="17431"/>
                    </a:moveTo>
                    <a:cubicBezTo>
                      <a:pt x="15431" y="19431"/>
                      <a:pt x="13049" y="20479"/>
                      <a:pt x="10192" y="20479"/>
                    </a:cubicBezTo>
                    <a:cubicBezTo>
                      <a:pt x="7334" y="20479"/>
                      <a:pt x="4953" y="19431"/>
                      <a:pt x="2953" y="17431"/>
                    </a:cubicBezTo>
                    <a:cubicBezTo>
                      <a:pt x="952" y="15430"/>
                      <a:pt x="0" y="13049"/>
                      <a:pt x="0" y="10192"/>
                    </a:cubicBezTo>
                    <a:cubicBezTo>
                      <a:pt x="0" y="7334"/>
                      <a:pt x="1048" y="4953"/>
                      <a:pt x="3048" y="2953"/>
                    </a:cubicBezTo>
                    <a:cubicBezTo>
                      <a:pt x="5048" y="952"/>
                      <a:pt x="7429" y="0"/>
                      <a:pt x="10287" y="0"/>
                    </a:cubicBezTo>
                    <a:cubicBezTo>
                      <a:pt x="13145" y="0"/>
                      <a:pt x="15526" y="1048"/>
                      <a:pt x="17526" y="2953"/>
                    </a:cubicBezTo>
                    <a:cubicBezTo>
                      <a:pt x="19526" y="4953"/>
                      <a:pt x="20574" y="7334"/>
                      <a:pt x="20574" y="10192"/>
                    </a:cubicBezTo>
                    <a:cubicBezTo>
                      <a:pt x="20574" y="13049"/>
                      <a:pt x="19526" y="15430"/>
                      <a:pt x="17526" y="17431"/>
                    </a:cubicBezTo>
                    <a:lnTo>
                      <a:pt x="17526" y="17431"/>
                    </a:lnTo>
                    <a:close/>
                    <a:moveTo>
                      <a:pt x="3905" y="3905"/>
                    </a:moveTo>
                    <a:cubicBezTo>
                      <a:pt x="2191" y="5620"/>
                      <a:pt x="1333" y="7715"/>
                      <a:pt x="1333" y="10192"/>
                    </a:cubicBezTo>
                    <a:cubicBezTo>
                      <a:pt x="1333" y="12668"/>
                      <a:pt x="2191" y="14764"/>
                      <a:pt x="3905" y="16478"/>
                    </a:cubicBezTo>
                    <a:cubicBezTo>
                      <a:pt x="5620" y="18193"/>
                      <a:pt x="7715" y="19050"/>
                      <a:pt x="10192" y="19050"/>
                    </a:cubicBezTo>
                    <a:cubicBezTo>
                      <a:pt x="12668" y="19050"/>
                      <a:pt x="14764" y="18193"/>
                      <a:pt x="16478" y="16478"/>
                    </a:cubicBezTo>
                    <a:cubicBezTo>
                      <a:pt x="18193" y="14764"/>
                      <a:pt x="19050" y="12668"/>
                      <a:pt x="19050" y="10192"/>
                    </a:cubicBezTo>
                    <a:cubicBezTo>
                      <a:pt x="19050" y="7715"/>
                      <a:pt x="18193" y="5620"/>
                      <a:pt x="16478" y="3905"/>
                    </a:cubicBezTo>
                    <a:cubicBezTo>
                      <a:pt x="14764" y="2191"/>
                      <a:pt x="12668" y="1333"/>
                      <a:pt x="10192" y="1333"/>
                    </a:cubicBezTo>
                    <a:cubicBezTo>
                      <a:pt x="7715" y="1333"/>
                      <a:pt x="5715" y="2191"/>
                      <a:pt x="3905" y="3905"/>
                    </a:cubicBezTo>
                    <a:lnTo>
                      <a:pt x="3905" y="390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14" name="Group 413">
              <a:extLst>
                <a:ext uri="{FF2B5EF4-FFF2-40B4-BE49-F238E27FC236}">
                  <a16:creationId xmlns:a16="http://schemas.microsoft.com/office/drawing/2014/main" id="{EE7FEB6B-8910-406C-AE04-C6FAFE7919C5}"/>
                </a:ext>
              </a:extLst>
            </p:cNvPr>
            <p:cNvGrpSpPr/>
            <p:nvPr userDrawn="1"/>
          </p:nvGrpSpPr>
          <p:grpSpPr>
            <a:xfrm>
              <a:off x="4524667" y="2319508"/>
              <a:ext cx="890736" cy="207062"/>
              <a:chOff x="3571179" y="4522842"/>
              <a:chExt cx="1995867" cy="463962"/>
            </a:xfrm>
          </p:grpSpPr>
          <p:sp>
            <p:nvSpPr>
              <p:cNvPr id="415" name="Freeform: Shape 414">
                <a:extLst>
                  <a:ext uri="{FF2B5EF4-FFF2-40B4-BE49-F238E27FC236}">
                    <a16:creationId xmlns:a16="http://schemas.microsoft.com/office/drawing/2014/main" id="{0FD9DFE4-1109-45CD-A8B6-4E49A9FE3A5E}"/>
                  </a:ext>
                </a:extLst>
              </p:cNvPr>
              <p:cNvSpPr/>
              <p:nvPr/>
            </p:nvSpPr>
            <p:spPr>
              <a:xfrm>
                <a:off x="3571179" y="4771063"/>
                <a:ext cx="430815" cy="215455"/>
              </a:xfrm>
              <a:custGeom>
                <a:avLst/>
                <a:gdLst>
                  <a:gd name="connsiteX0" fmla="*/ 0 w 430815"/>
                  <a:gd name="connsiteY0" fmla="*/ 0 h 215455"/>
                  <a:gd name="connsiteX1" fmla="*/ 215456 w 430815"/>
                  <a:gd name="connsiteY1" fmla="*/ 215456 h 215455"/>
                  <a:gd name="connsiteX2" fmla="*/ 430816 w 430815"/>
                  <a:gd name="connsiteY2" fmla="*/ 0 h 215455"/>
                  <a:gd name="connsiteX3" fmla="*/ 0 w 430815"/>
                  <a:gd name="connsiteY3" fmla="*/ 0 h 215455"/>
                </a:gdLst>
                <a:ahLst/>
                <a:cxnLst>
                  <a:cxn ang="0">
                    <a:pos x="connsiteX0" y="connsiteY0"/>
                  </a:cxn>
                  <a:cxn ang="0">
                    <a:pos x="connsiteX1" y="connsiteY1"/>
                  </a:cxn>
                  <a:cxn ang="0">
                    <a:pos x="connsiteX2" y="connsiteY2"/>
                  </a:cxn>
                  <a:cxn ang="0">
                    <a:pos x="connsiteX3" y="connsiteY3"/>
                  </a:cxn>
                </a:cxnLst>
                <a:rect l="l" t="t" r="r" b="b"/>
                <a:pathLst>
                  <a:path w="430815" h="215455">
                    <a:moveTo>
                      <a:pt x="0" y="0"/>
                    </a:moveTo>
                    <a:lnTo>
                      <a:pt x="215456" y="215456"/>
                    </a:lnTo>
                    <a:lnTo>
                      <a:pt x="430816" y="0"/>
                    </a:lnTo>
                    <a:lnTo>
                      <a:pt x="0" y="0"/>
                    </a:lnTo>
                    <a:close/>
                  </a:path>
                </a:pathLst>
              </a:custGeom>
              <a:solidFill>
                <a:srgbClr val="A1ABB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16" name="Graphic 1225">
                <a:extLst>
                  <a:ext uri="{FF2B5EF4-FFF2-40B4-BE49-F238E27FC236}">
                    <a16:creationId xmlns:a16="http://schemas.microsoft.com/office/drawing/2014/main" id="{D967E536-D0CA-4E1F-898A-F5E51F740C02}"/>
                  </a:ext>
                </a:extLst>
              </p:cNvPr>
              <p:cNvGrpSpPr/>
              <p:nvPr/>
            </p:nvGrpSpPr>
            <p:grpSpPr>
              <a:xfrm>
                <a:off x="3571179" y="4522842"/>
                <a:ext cx="430815" cy="215455"/>
                <a:chOff x="3571179" y="4522842"/>
                <a:chExt cx="430815" cy="215455"/>
              </a:xfrm>
              <a:solidFill>
                <a:srgbClr val="A1ABB2"/>
              </a:solidFill>
            </p:grpSpPr>
            <p:sp>
              <p:nvSpPr>
                <p:cNvPr id="424" name="Freeform: Shape 423">
                  <a:extLst>
                    <a:ext uri="{FF2B5EF4-FFF2-40B4-BE49-F238E27FC236}">
                      <a16:creationId xmlns:a16="http://schemas.microsoft.com/office/drawing/2014/main" id="{AA39C243-1DEA-43FB-B1CC-B86AE3928EFD}"/>
                    </a:ext>
                  </a:extLst>
                </p:cNvPr>
                <p:cNvSpPr/>
                <p:nvPr/>
              </p:nvSpPr>
              <p:spPr>
                <a:xfrm>
                  <a:off x="3753773" y="4597327"/>
                  <a:ext cx="125825" cy="140970"/>
                </a:xfrm>
                <a:custGeom>
                  <a:avLst/>
                  <a:gdLst>
                    <a:gd name="connsiteX0" fmla="*/ 0 w 125825"/>
                    <a:gd name="connsiteY0" fmla="*/ 140970 h 140970"/>
                    <a:gd name="connsiteX1" fmla="*/ 75533 w 125825"/>
                    <a:gd name="connsiteY1" fmla="*/ 140970 h 140970"/>
                    <a:gd name="connsiteX2" fmla="*/ 125825 w 125825"/>
                    <a:gd name="connsiteY2" fmla="*/ 18479 h 140970"/>
                    <a:gd name="connsiteX3" fmla="*/ 107347 w 125825"/>
                    <a:gd name="connsiteY3" fmla="*/ 0 h 140970"/>
                    <a:gd name="connsiteX4" fmla="*/ 0 w 125825"/>
                    <a:gd name="connsiteY4" fmla="*/ 140970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25" h="140970">
                      <a:moveTo>
                        <a:pt x="0" y="140970"/>
                      </a:moveTo>
                      <a:lnTo>
                        <a:pt x="75533" y="140970"/>
                      </a:lnTo>
                      <a:lnTo>
                        <a:pt x="125825" y="18479"/>
                      </a:lnTo>
                      <a:lnTo>
                        <a:pt x="107347" y="0"/>
                      </a:lnTo>
                      <a:lnTo>
                        <a:pt x="0" y="14097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5" name="Freeform: Shape 424">
                  <a:extLst>
                    <a:ext uri="{FF2B5EF4-FFF2-40B4-BE49-F238E27FC236}">
                      <a16:creationId xmlns:a16="http://schemas.microsoft.com/office/drawing/2014/main" id="{4CDFADE9-1240-4DB7-8782-BD507176B274}"/>
                    </a:ext>
                  </a:extLst>
                </p:cNvPr>
                <p:cNvSpPr/>
                <p:nvPr/>
              </p:nvSpPr>
              <p:spPr>
                <a:xfrm>
                  <a:off x="3862072" y="4658763"/>
                  <a:ext cx="78962" cy="79533"/>
                </a:xfrm>
                <a:custGeom>
                  <a:avLst/>
                  <a:gdLst>
                    <a:gd name="connsiteX0" fmla="*/ 78962 w 78962"/>
                    <a:gd name="connsiteY0" fmla="*/ 18574 h 79533"/>
                    <a:gd name="connsiteX1" fmla="*/ 60484 w 78962"/>
                    <a:gd name="connsiteY1" fmla="*/ 0 h 79533"/>
                    <a:gd name="connsiteX2" fmla="*/ 0 w 78962"/>
                    <a:gd name="connsiteY2" fmla="*/ 79534 h 79533"/>
                    <a:gd name="connsiteX3" fmla="*/ 55817 w 78962"/>
                    <a:gd name="connsiteY3" fmla="*/ 79534 h 79533"/>
                    <a:gd name="connsiteX4" fmla="*/ 78962 w 78962"/>
                    <a:gd name="connsiteY4" fmla="*/ 18574 h 79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62" h="79533">
                      <a:moveTo>
                        <a:pt x="78962" y="18574"/>
                      </a:moveTo>
                      <a:lnTo>
                        <a:pt x="60484" y="0"/>
                      </a:lnTo>
                      <a:lnTo>
                        <a:pt x="0" y="79534"/>
                      </a:lnTo>
                      <a:lnTo>
                        <a:pt x="55817" y="79534"/>
                      </a:lnTo>
                      <a:lnTo>
                        <a:pt x="78962" y="1857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6" name="Freeform: Shape 425">
                  <a:extLst>
                    <a:ext uri="{FF2B5EF4-FFF2-40B4-BE49-F238E27FC236}">
                      <a16:creationId xmlns:a16="http://schemas.microsoft.com/office/drawing/2014/main" id="{E62608D0-6777-4285-8010-DB39B08A212F}"/>
                    </a:ext>
                  </a:extLst>
                </p:cNvPr>
                <p:cNvSpPr/>
                <p:nvPr/>
              </p:nvSpPr>
              <p:spPr>
                <a:xfrm>
                  <a:off x="3950655" y="4709055"/>
                  <a:ext cx="51339" cy="29241"/>
                </a:xfrm>
                <a:custGeom>
                  <a:avLst/>
                  <a:gdLst>
                    <a:gd name="connsiteX0" fmla="*/ 22193 w 51339"/>
                    <a:gd name="connsiteY0" fmla="*/ 0 h 29241"/>
                    <a:gd name="connsiteX1" fmla="*/ 0 w 51339"/>
                    <a:gd name="connsiteY1" fmla="*/ 29242 h 29241"/>
                    <a:gd name="connsiteX2" fmla="*/ 51340 w 51339"/>
                    <a:gd name="connsiteY2" fmla="*/ 29242 h 29241"/>
                    <a:gd name="connsiteX3" fmla="*/ 22193 w 51339"/>
                    <a:gd name="connsiteY3" fmla="*/ 0 h 29241"/>
                  </a:gdLst>
                  <a:ahLst/>
                  <a:cxnLst>
                    <a:cxn ang="0">
                      <a:pos x="connsiteX0" y="connsiteY0"/>
                    </a:cxn>
                    <a:cxn ang="0">
                      <a:pos x="connsiteX1" y="connsiteY1"/>
                    </a:cxn>
                    <a:cxn ang="0">
                      <a:pos x="connsiteX2" y="connsiteY2"/>
                    </a:cxn>
                    <a:cxn ang="0">
                      <a:pos x="connsiteX3" y="connsiteY3"/>
                    </a:cxn>
                  </a:cxnLst>
                  <a:rect l="l" t="t" r="r" b="b"/>
                  <a:pathLst>
                    <a:path w="51339" h="29241">
                      <a:moveTo>
                        <a:pt x="22193" y="0"/>
                      </a:moveTo>
                      <a:lnTo>
                        <a:pt x="0" y="29242"/>
                      </a:lnTo>
                      <a:lnTo>
                        <a:pt x="51340" y="29242"/>
                      </a:lnTo>
                      <a:lnTo>
                        <a:pt x="22193"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7" name="Freeform: Shape 426">
                  <a:extLst>
                    <a:ext uri="{FF2B5EF4-FFF2-40B4-BE49-F238E27FC236}">
                      <a16:creationId xmlns:a16="http://schemas.microsoft.com/office/drawing/2014/main" id="{F201F149-090B-4DD1-9184-05F5D7CC25C4}"/>
                    </a:ext>
                  </a:extLst>
                </p:cNvPr>
                <p:cNvSpPr/>
                <p:nvPr/>
              </p:nvSpPr>
              <p:spPr>
                <a:xfrm>
                  <a:off x="3571179" y="4522842"/>
                  <a:ext cx="233933" cy="215455"/>
                </a:xfrm>
                <a:custGeom>
                  <a:avLst/>
                  <a:gdLst>
                    <a:gd name="connsiteX0" fmla="*/ 149828 w 233933"/>
                    <a:gd name="connsiteY0" fmla="*/ 215456 h 215455"/>
                    <a:gd name="connsiteX1" fmla="*/ 233934 w 233933"/>
                    <a:gd name="connsiteY1" fmla="*/ 18479 h 215455"/>
                    <a:gd name="connsiteX2" fmla="*/ 215456 w 233933"/>
                    <a:gd name="connsiteY2" fmla="*/ 0 h 215455"/>
                    <a:gd name="connsiteX3" fmla="*/ 0 w 233933"/>
                    <a:gd name="connsiteY3" fmla="*/ 215456 h 215455"/>
                    <a:gd name="connsiteX4" fmla="*/ 149828 w 233933"/>
                    <a:gd name="connsiteY4" fmla="*/ 215456 h 2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933" h="215455">
                      <a:moveTo>
                        <a:pt x="149828" y="215456"/>
                      </a:moveTo>
                      <a:lnTo>
                        <a:pt x="233934" y="18479"/>
                      </a:lnTo>
                      <a:lnTo>
                        <a:pt x="215456" y="0"/>
                      </a:lnTo>
                      <a:lnTo>
                        <a:pt x="0" y="215456"/>
                      </a:lnTo>
                      <a:lnTo>
                        <a:pt x="149828" y="21545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417" name="Freeform: Shape 416">
                <a:extLst>
                  <a:ext uri="{FF2B5EF4-FFF2-40B4-BE49-F238E27FC236}">
                    <a16:creationId xmlns:a16="http://schemas.microsoft.com/office/drawing/2014/main" id="{AE9A239C-8039-4CE8-B6E8-0001A50428A1}"/>
                  </a:ext>
                </a:extLst>
              </p:cNvPr>
              <p:cNvSpPr/>
              <p:nvPr/>
            </p:nvSpPr>
            <p:spPr>
              <a:xfrm>
                <a:off x="4036380" y="4770777"/>
                <a:ext cx="229457" cy="215931"/>
              </a:xfrm>
              <a:custGeom>
                <a:avLst/>
                <a:gdLst>
                  <a:gd name="connsiteX0" fmla="*/ 188976 w 229457"/>
                  <a:gd name="connsiteY0" fmla="*/ 215932 h 215931"/>
                  <a:gd name="connsiteX1" fmla="*/ 188976 w 229457"/>
                  <a:gd name="connsiteY1" fmla="*/ 123254 h 215931"/>
                  <a:gd name="connsiteX2" fmla="*/ 40481 w 229457"/>
                  <a:gd name="connsiteY2" fmla="*/ 123254 h 215931"/>
                  <a:gd name="connsiteX3" fmla="*/ 40481 w 229457"/>
                  <a:gd name="connsiteY3" fmla="*/ 215932 h 215931"/>
                  <a:gd name="connsiteX4" fmla="*/ 0 w 229457"/>
                  <a:gd name="connsiteY4" fmla="*/ 215932 h 215931"/>
                  <a:gd name="connsiteX5" fmla="*/ 0 w 229457"/>
                  <a:gd name="connsiteY5" fmla="*/ 0 h 215931"/>
                  <a:gd name="connsiteX6" fmla="*/ 40481 w 229457"/>
                  <a:gd name="connsiteY6" fmla="*/ 0 h 215931"/>
                  <a:gd name="connsiteX7" fmla="*/ 40481 w 229457"/>
                  <a:gd name="connsiteY7" fmla="*/ 91440 h 215931"/>
                  <a:gd name="connsiteX8" fmla="*/ 188976 w 229457"/>
                  <a:gd name="connsiteY8" fmla="*/ 91440 h 215931"/>
                  <a:gd name="connsiteX9" fmla="*/ 188976 w 229457"/>
                  <a:gd name="connsiteY9" fmla="*/ 0 h 215931"/>
                  <a:gd name="connsiteX10" fmla="*/ 229457 w 229457"/>
                  <a:gd name="connsiteY10" fmla="*/ 0 h 215931"/>
                  <a:gd name="connsiteX11" fmla="*/ 229457 w 229457"/>
                  <a:gd name="connsiteY11" fmla="*/ 215932 h 215931"/>
                  <a:gd name="connsiteX12" fmla="*/ 188976 w 229457"/>
                  <a:gd name="connsiteY12"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9457" h="215931">
                    <a:moveTo>
                      <a:pt x="188976" y="215932"/>
                    </a:moveTo>
                    <a:lnTo>
                      <a:pt x="188976" y="123254"/>
                    </a:lnTo>
                    <a:lnTo>
                      <a:pt x="40481" y="123254"/>
                    </a:lnTo>
                    <a:lnTo>
                      <a:pt x="40481" y="215932"/>
                    </a:lnTo>
                    <a:lnTo>
                      <a:pt x="0" y="215932"/>
                    </a:lnTo>
                    <a:lnTo>
                      <a:pt x="0" y="0"/>
                    </a:lnTo>
                    <a:lnTo>
                      <a:pt x="40481" y="0"/>
                    </a:lnTo>
                    <a:lnTo>
                      <a:pt x="40481" y="91440"/>
                    </a:lnTo>
                    <a:lnTo>
                      <a:pt x="188976" y="91440"/>
                    </a:lnTo>
                    <a:lnTo>
                      <a:pt x="188976" y="0"/>
                    </a:lnTo>
                    <a:lnTo>
                      <a:pt x="229457" y="0"/>
                    </a:lnTo>
                    <a:lnTo>
                      <a:pt x="229457" y="215932"/>
                    </a:lnTo>
                    <a:lnTo>
                      <a:pt x="188976"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4DDE5B25-42D2-43E1-A6EB-E54A0D05CAB9}"/>
                  </a:ext>
                </a:extLst>
              </p:cNvPr>
              <p:cNvSpPr/>
              <p:nvPr/>
            </p:nvSpPr>
            <p:spPr>
              <a:xfrm>
                <a:off x="4296031" y="4770777"/>
                <a:ext cx="257460" cy="215931"/>
              </a:xfrm>
              <a:custGeom>
                <a:avLst/>
                <a:gdLst>
                  <a:gd name="connsiteX0" fmla="*/ 149447 w 257460"/>
                  <a:gd name="connsiteY0" fmla="*/ 129731 h 215931"/>
                  <a:gd name="connsiteX1" fmla="*/ 149447 w 257460"/>
                  <a:gd name="connsiteY1" fmla="*/ 215932 h 215931"/>
                  <a:gd name="connsiteX2" fmla="*/ 108966 w 257460"/>
                  <a:gd name="connsiteY2" fmla="*/ 215932 h 215931"/>
                  <a:gd name="connsiteX3" fmla="*/ 108966 w 257460"/>
                  <a:gd name="connsiteY3" fmla="*/ 129064 h 215931"/>
                  <a:gd name="connsiteX4" fmla="*/ 0 w 257460"/>
                  <a:gd name="connsiteY4" fmla="*/ 0 h 215931"/>
                  <a:gd name="connsiteX5" fmla="*/ 48006 w 257460"/>
                  <a:gd name="connsiteY5" fmla="*/ 0 h 215931"/>
                  <a:gd name="connsiteX6" fmla="*/ 131350 w 257460"/>
                  <a:gd name="connsiteY6" fmla="*/ 100203 h 215931"/>
                  <a:gd name="connsiteX7" fmla="*/ 209455 w 257460"/>
                  <a:gd name="connsiteY7" fmla="*/ 0 h 215931"/>
                  <a:gd name="connsiteX8" fmla="*/ 257461 w 257460"/>
                  <a:gd name="connsiteY8" fmla="*/ 0 h 215931"/>
                  <a:gd name="connsiteX9" fmla="*/ 149543 w 257460"/>
                  <a:gd name="connsiteY9" fmla="*/ 129635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460" h="215931">
                    <a:moveTo>
                      <a:pt x="149447" y="129731"/>
                    </a:moveTo>
                    <a:lnTo>
                      <a:pt x="149447" y="215932"/>
                    </a:lnTo>
                    <a:lnTo>
                      <a:pt x="108966" y="215932"/>
                    </a:lnTo>
                    <a:lnTo>
                      <a:pt x="108966" y="129064"/>
                    </a:lnTo>
                    <a:lnTo>
                      <a:pt x="0" y="0"/>
                    </a:lnTo>
                    <a:lnTo>
                      <a:pt x="48006" y="0"/>
                    </a:lnTo>
                    <a:lnTo>
                      <a:pt x="131350" y="100203"/>
                    </a:lnTo>
                    <a:lnTo>
                      <a:pt x="209455" y="0"/>
                    </a:lnTo>
                    <a:lnTo>
                      <a:pt x="257461" y="0"/>
                    </a:lnTo>
                    <a:lnTo>
                      <a:pt x="149543" y="1296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9" name="Freeform: Shape 418">
                <a:extLst>
                  <a:ext uri="{FF2B5EF4-FFF2-40B4-BE49-F238E27FC236}">
                    <a16:creationId xmlns:a16="http://schemas.microsoft.com/office/drawing/2014/main" id="{FD2727F2-2FBC-4CC3-B59E-EF039DCE6FE3}"/>
                  </a:ext>
                </a:extLst>
              </p:cNvPr>
              <p:cNvSpPr/>
              <p:nvPr/>
            </p:nvSpPr>
            <p:spPr>
              <a:xfrm>
                <a:off x="4583591" y="4770777"/>
                <a:ext cx="235743" cy="215931"/>
              </a:xfrm>
              <a:custGeom>
                <a:avLst/>
                <a:gdLst>
                  <a:gd name="connsiteX0" fmla="*/ 110585 w 235743"/>
                  <a:gd name="connsiteY0" fmla="*/ 215932 h 215931"/>
                  <a:gd name="connsiteX1" fmla="*/ 0 w 235743"/>
                  <a:gd name="connsiteY1" fmla="*/ 215932 h 215931"/>
                  <a:gd name="connsiteX2" fmla="*/ 0 w 235743"/>
                  <a:gd name="connsiteY2" fmla="*/ 0 h 215931"/>
                  <a:gd name="connsiteX3" fmla="*/ 110585 w 235743"/>
                  <a:gd name="connsiteY3" fmla="*/ 0 h 215931"/>
                  <a:gd name="connsiteX4" fmla="*/ 235744 w 235743"/>
                  <a:gd name="connsiteY4" fmla="*/ 104680 h 215931"/>
                  <a:gd name="connsiteX5" fmla="*/ 235744 w 235743"/>
                  <a:gd name="connsiteY5" fmla="*/ 111824 h 215931"/>
                  <a:gd name="connsiteX6" fmla="*/ 110585 w 235743"/>
                  <a:gd name="connsiteY6" fmla="*/ 215836 h 215931"/>
                  <a:gd name="connsiteX7" fmla="*/ 195167 w 235743"/>
                  <a:gd name="connsiteY7" fmla="*/ 105346 h 215931"/>
                  <a:gd name="connsiteX8" fmla="*/ 109538 w 235743"/>
                  <a:gd name="connsiteY8" fmla="*/ 33718 h 215931"/>
                  <a:gd name="connsiteX9" fmla="*/ 40481 w 235743"/>
                  <a:gd name="connsiteY9" fmla="*/ 33718 h 215931"/>
                  <a:gd name="connsiteX10" fmla="*/ 40481 w 235743"/>
                  <a:gd name="connsiteY10" fmla="*/ 182880 h 215931"/>
                  <a:gd name="connsiteX11" fmla="*/ 109538 w 235743"/>
                  <a:gd name="connsiteY11" fmla="*/ 182880 h 215931"/>
                  <a:gd name="connsiteX12" fmla="*/ 195167 w 235743"/>
                  <a:gd name="connsiteY12" fmla="*/ 110585 h 215931"/>
                  <a:gd name="connsiteX13" fmla="*/ 195167 w 235743"/>
                  <a:gd name="connsiteY13" fmla="*/ 10544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743" h="215931">
                    <a:moveTo>
                      <a:pt x="110585" y="215932"/>
                    </a:moveTo>
                    <a:lnTo>
                      <a:pt x="0" y="215932"/>
                    </a:lnTo>
                    <a:lnTo>
                      <a:pt x="0" y="0"/>
                    </a:lnTo>
                    <a:lnTo>
                      <a:pt x="110585" y="0"/>
                    </a:lnTo>
                    <a:cubicBezTo>
                      <a:pt x="187071" y="0"/>
                      <a:pt x="235744" y="46387"/>
                      <a:pt x="235744" y="104680"/>
                    </a:cubicBezTo>
                    <a:lnTo>
                      <a:pt x="235744" y="111824"/>
                    </a:lnTo>
                    <a:cubicBezTo>
                      <a:pt x="235744" y="169164"/>
                      <a:pt x="187071" y="215836"/>
                      <a:pt x="110585" y="215836"/>
                    </a:cubicBezTo>
                    <a:close/>
                    <a:moveTo>
                      <a:pt x="195167" y="105346"/>
                    </a:moveTo>
                    <a:cubicBezTo>
                      <a:pt x="195167" y="63532"/>
                      <a:pt x="162401" y="33718"/>
                      <a:pt x="109538" y="33718"/>
                    </a:cubicBezTo>
                    <a:lnTo>
                      <a:pt x="40481" y="33718"/>
                    </a:lnTo>
                    <a:lnTo>
                      <a:pt x="40481" y="182880"/>
                    </a:lnTo>
                    <a:lnTo>
                      <a:pt x="109538" y="182880"/>
                    </a:lnTo>
                    <a:cubicBezTo>
                      <a:pt x="162401" y="182880"/>
                      <a:pt x="195167" y="152400"/>
                      <a:pt x="195167" y="110585"/>
                    </a:cubicBezTo>
                    <a:lnTo>
                      <a:pt x="195167" y="10544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0" name="Freeform: Shape 419">
                <a:extLst>
                  <a:ext uri="{FF2B5EF4-FFF2-40B4-BE49-F238E27FC236}">
                    <a16:creationId xmlns:a16="http://schemas.microsoft.com/office/drawing/2014/main" id="{EED5EBD1-960F-4B2D-B198-8D3811128044}"/>
                  </a:ext>
                </a:extLst>
              </p:cNvPr>
              <p:cNvSpPr/>
              <p:nvPr/>
            </p:nvSpPr>
            <p:spPr>
              <a:xfrm>
                <a:off x="5118420" y="4770777"/>
                <a:ext cx="196119" cy="215931"/>
              </a:xfrm>
              <a:custGeom>
                <a:avLst/>
                <a:gdLst>
                  <a:gd name="connsiteX0" fmla="*/ 0 w 196119"/>
                  <a:gd name="connsiteY0" fmla="*/ 215932 h 215931"/>
                  <a:gd name="connsiteX1" fmla="*/ 0 w 196119"/>
                  <a:gd name="connsiteY1" fmla="*/ 0 h 215931"/>
                  <a:gd name="connsiteX2" fmla="*/ 196120 w 196119"/>
                  <a:gd name="connsiteY2" fmla="*/ 0 h 215931"/>
                  <a:gd name="connsiteX3" fmla="*/ 196120 w 196119"/>
                  <a:gd name="connsiteY3" fmla="*/ 33718 h 215931"/>
                  <a:gd name="connsiteX4" fmla="*/ 40481 w 196119"/>
                  <a:gd name="connsiteY4" fmla="*/ 33718 h 215931"/>
                  <a:gd name="connsiteX5" fmla="*/ 40481 w 196119"/>
                  <a:gd name="connsiteY5" fmla="*/ 89154 h 215931"/>
                  <a:gd name="connsiteX6" fmla="*/ 160115 w 196119"/>
                  <a:gd name="connsiteY6" fmla="*/ 89154 h 215931"/>
                  <a:gd name="connsiteX7" fmla="*/ 160115 w 196119"/>
                  <a:gd name="connsiteY7" fmla="*/ 121920 h 215931"/>
                  <a:gd name="connsiteX8" fmla="*/ 40481 w 196119"/>
                  <a:gd name="connsiteY8" fmla="*/ 121920 h 215931"/>
                  <a:gd name="connsiteX9" fmla="*/ 40481 w 196119"/>
                  <a:gd name="connsiteY9" fmla="*/ 182213 h 215931"/>
                  <a:gd name="connsiteX10" fmla="*/ 196120 w 196119"/>
                  <a:gd name="connsiteY10" fmla="*/ 182213 h 215931"/>
                  <a:gd name="connsiteX11" fmla="*/ 196120 w 196119"/>
                  <a:gd name="connsiteY11" fmla="*/ 215932 h 215931"/>
                  <a:gd name="connsiteX12" fmla="*/ 0 w 196119"/>
                  <a:gd name="connsiteY12"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119" h="215931">
                    <a:moveTo>
                      <a:pt x="0" y="215932"/>
                    </a:moveTo>
                    <a:lnTo>
                      <a:pt x="0" y="0"/>
                    </a:lnTo>
                    <a:lnTo>
                      <a:pt x="196120" y="0"/>
                    </a:lnTo>
                    <a:lnTo>
                      <a:pt x="196120" y="33718"/>
                    </a:lnTo>
                    <a:lnTo>
                      <a:pt x="40481" y="33718"/>
                    </a:lnTo>
                    <a:lnTo>
                      <a:pt x="40481" y="89154"/>
                    </a:lnTo>
                    <a:lnTo>
                      <a:pt x="160115" y="89154"/>
                    </a:lnTo>
                    <a:lnTo>
                      <a:pt x="160115" y="121920"/>
                    </a:lnTo>
                    <a:lnTo>
                      <a:pt x="40481" y="121920"/>
                    </a:lnTo>
                    <a:lnTo>
                      <a:pt x="40481" y="182213"/>
                    </a:lnTo>
                    <a:lnTo>
                      <a:pt x="196120" y="182213"/>
                    </a:lnTo>
                    <a:lnTo>
                      <a:pt x="196120" y="215932"/>
                    </a:lnTo>
                    <a:lnTo>
                      <a:pt x="0"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1" name="Freeform: Shape 420">
                <a:extLst>
                  <a:ext uri="{FF2B5EF4-FFF2-40B4-BE49-F238E27FC236}">
                    <a16:creationId xmlns:a16="http://schemas.microsoft.com/office/drawing/2014/main" id="{87F8332A-0F21-4CF8-923E-555DF4DC60D6}"/>
                  </a:ext>
                </a:extLst>
              </p:cNvPr>
              <p:cNvSpPr/>
              <p:nvPr/>
            </p:nvSpPr>
            <p:spPr>
              <a:xfrm>
                <a:off x="5357592" y="4770777"/>
                <a:ext cx="209454" cy="215931"/>
              </a:xfrm>
              <a:custGeom>
                <a:avLst/>
                <a:gdLst>
                  <a:gd name="connsiteX0" fmla="*/ 95 w 209454"/>
                  <a:gd name="connsiteY0" fmla="*/ 215932 h 215931"/>
                  <a:gd name="connsiteX1" fmla="*/ 95 w 209454"/>
                  <a:gd name="connsiteY1" fmla="*/ 0 h 215931"/>
                  <a:gd name="connsiteX2" fmla="*/ 40576 w 209454"/>
                  <a:gd name="connsiteY2" fmla="*/ 0 h 215931"/>
                  <a:gd name="connsiteX3" fmla="*/ 40576 w 209454"/>
                  <a:gd name="connsiteY3" fmla="*/ 182213 h 215931"/>
                  <a:gd name="connsiteX4" fmla="*/ 209455 w 209454"/>
                  <a:gd name="connsiteY4" fmla="*/ 182213 h 215931"/>
                  <a:gd name="connsiteX5" fmla="*/ 209455 w 209454"/>
                  <a:gd name="connsiteY5" fmla="*/ 215932 h 215931"/>
                  <a:gd name="connsiteX6" fmla="*/ 0 w 209454"/>
                  <a:gd name="connsiteY6"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54" h="215931">
                    <a:moveTo>
                      <a:pt x="95" y="215932"/>
                    </a:moveTo>
                    <a:lnTo>
                      <a:pt x="95" y="0"/>
                    </a:lnTo>
                    <a:lnTo>
                      <a:pt x="40576" y="0"/>
                    </a:lnTo>
                    <a:lnTo>
                      <a:pt x="40576" y="182213"/>
                    </a:lnTo>
                    <a:lnTo>
                      <a:pt x="209455" y="182213"/>
                    </a:lnTo>
                    <a:lnTo>
                      <a:pt x="209455" y="215932"/>
                    </a:lnTo>
                    <a:lnTo>
                      <a:pt x="0"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2" name="Freeform: Shape 421">
                <a:extLst>
                  <a:ext uri="{FF2B5EF4-FFF2-40B4-BE49-F238E27FC236}">
                    <a16:creationId xmlns:a16="http://schemas.microsoft.com/office/drawing/2014/main" id="{2DF17A57-ED1A-4C47-A712-8D0F3BA9E093}"/>
                  </a:ext>
                </a:extLst>
              </p:cNvPr>
              <p:cNvSpPr/>
              <p:nvPr/>
            </p:nvSpPr>
            <p:spPr>
              <a:xfrm>
                <a:off x="4862483" y="4770873"/>
                <a:ext cx="212788" cy="215931"/>
              </a:xfrm>
              <a:custGeom>
                <a:avLst/>
                <a:gdLst>
                  <a:gd name="connsiteX0" fmla="*/ 212788 w 212788"/>
                  <a:gd name="connsiteY0" fmla="*/ 66103 h 215931"/>
                  <a:gd name="connsiteX1" fmla="*/ 117729 w 212788"/>
                  <a:gd name="connsiteY1" fmla="*/ 0 h 215931"/>
                  <a:gd name="connsiteX2" fmla="*/ 0 w 212788"/>
                  <a:gd name="connsiteY2" fmla="*/ 0 h 215931"/>
                  <a:gd name="connsiteX3" fmla="*/ 0 w 212788"/>
                  <a:gd name="connsiteY3" fmla="*/ 215932 h 215931"/>
                  <a:gd name="connsiteX4" fmla="*/ 40481 w 212788"/>
                  <a:gd name="connsiteY4" fmla="*/ 215932 h 215931"/>
                  <a:gd name="connsiteX5" fmla="*/ 40481 w 212788"/>
                  <a:gd name="connsiteY5" fmla="*/ 132302 h 215931"/>
                  <a:gd name="connsiteX6" fmla="*/ 103441 w 212788"/>
                  <a:gd name="connsiteY6" fmla="*/ 132302 h 215931"/>
                  <a:gd name="connsiteX7" fmla="*/ 166973 w 212788"/>
                  <a:gd name="connsiteY7" fmla="*/ 212693 h 215931"/>
                  <a:gd name="connsiteX8" fmla="*/ 212693 w 212788"/>
                  <a:gd name="connsiteY8" fmla="*/ 212693 h 215931"/>
                  <a:gd name="connsiteX9" fmla="*/ 148114 w 212788"/>
                  <a:gd name="connsiteY9" fmla="*/ 129445 h 215931"/>
                  <a:gd name="connsiteX10" fmla="*/ 212693 w 212788"/>
                  <a:gd name="connsiteY10" fmla="*/ 66103 h 215931"/>
                  <a:gd name="connsiteX11" fmla="*/ 40481 w 212788"/>
                  <a:gd name="connsiteY11" fmla="*/ 66103 h 215931"/>
                  <a:gd name="connsiteX12" fmla="*/ 40481 w 212788"/>
                  <a:gd name="connsiteY12" fmla="*/ 33718 h 215931"/>
                  <a:gd name="connsiteX13" fmla="*/ 123444 w 212788"/>
                  <a:gd name="connsiteY13" fmla="*/ 33718 h 215931"/>
                  <a:gd name="connsiteX14" fmla="*/ 170783 w 212788"/>
                  <a:gd name="connsiteY14" fmla="*/ 64484 h 215931"/>
                  <a:gd name="connsiteX15" fmla="*/ 170783 w 212788"/>
                  <a:gd name="connsiteY15" fmla="*/ 67723 h 215931"/>
                  <a:gd name="connsiteX16" fmla="*/ 123444 w 212788"/>
                  <a:gd name="connsiteY16" fmla="*/ 98489 h 215931"/>
                  <a:gd name="connsiteX17" fmla="*/ 40481 w 212788"/>
                  <a:gd name="connsiteY17" fmla="*/ 98489 h 215931"/>
                  <a:gd name="connsiteX18" fmla="*/ 40481 w 212788"/>
                  <a:gd name="connsiteY18" fmla="*/ 66103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88" h="215931">
                    <a:moveTo>
                      <a:pt x="212788" y="66103"/>
                    </a:moveTo>
                    <a:cubicBezTo>
                      <a:pt x="212788" y="32671"/>
                      <a:pt x="182499" y="0"/>
                      <a:pt x="117729" y="0"/>
                    </a:cubicBezTo>
                    <a:lnTo>
                      <a:pt x="0" y="0"/>
                    </a:lnTo>
                    <a:lnTo>
                      <a:pt x="0" y="215932"/>
                    </a:lnTo>
                    <a:lnTo>
                      <a:pt x="40481" y="215932"/>
                    </a:lnTo>
                    <a:lnTo>
                      <a:pt x="40481" y="132302"/>
                    </a:lnTo>
                    <a:lnTo>
                      <a:pt x="103441" y="132302"/>
                    </a:lnTo>
                    <a:lnTo>
                      <a:pt x="166973" y="212693"/>
                    </a:lnTo>
                    <a:lnTo>
                      <a:pt x="212693" y="212693"/>
                    </a:lnTo>
                    <a:lnTo>
                      <a:pt x="148114" y="129445"/>
                    </a:lnTo>
                    <a:cubicBezTo>
                      <a:pt x="191929" y="120872"/>
                      <a:pt x="212693" y="93726"/>
                      <a:pt x="212693" y="66103"/>
                    </a:cubicBezTo>
                    <a:close/>
                    <a:moveTo>
                      <a:pt x="40481" y="66103"/>
                    </a:moveTo>
                    <a:lnTo>
                      <a:pt x="40481" y="33718"/>
                    </a:lnTo>
                    <a:lnTo>
                      <a:pt x="123444" y="33718"/>
                    </a:lnTo>
                    <a:cubicBezTo>
                      <a:pt x="158115" y="33718"/>
                      <a:pt x="170783" y="48958"/>
                      <a:pt x="170783" y="64484"/>
                    </a:cubicBezTo>
                    <a:lnTo>
                      <a:pt x="170783" y="67723"/>
                    </a:lnTo>
                    <a:cubicBezTo>
                      <a:pt x="170783" y="83248"/>
                      <a:pt x="158115" y="98489"/>
                      <a:pt x="123444" y="98489"/>
                    </a:cubicBezTo>
                    <a:lnTo>
                      <a:pt x="40481" y="98489"/>
                    </a:lnTo>
                    <a:lnTo>
                      <a:pt x="40481" y="661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3" name="Freeform: Shape 422">
                <a:extLst>
                  <a:ext uri="{FF2B5EF4-FFF2-40B4-BE49-F238E27FC236}">
                    <a16:creationId xmlns:a16="http://schemas.microsoft.com/office/drawing/2014/main" id="{AD3AA3FE-7B48-41E4-BD94-1EE871CD632C}"/>
                  </a:ext>
                </a:extLst>
              </p:cNvPr>
              <p:cNvSpPr/>
              <p:nvPr/>
            </p:nvSpPr>
            <p:spPr>
              <a:xfrm>
                <a:off x="5524566" y="4772682"/>
                <a:ext cx="18383" cy="18002"/>
              </a:xfrm>
              <a:custGeom>
                <a:avLst/>
                <a:gdLst>
                  <a:gd name="connsiteX0" fmla="*/ 18383 w 18383"/>
                  <a:gd name="connsiteY0" fmla="*/ 8954 h 18002"/>
                  <a:gd name="connsiteX1" fmla="*/ 9239 w 18383"/>
                  <a:gd name="connsiteY1" fmla="*/ 18002 h 18002"/>
                  <a:gd name="connsiteX2" fmla="*/ 0 w 18383"/>
                  <a:gd name="connsiteY2" fmla="*/ 8954 h 18002"/>
                  <a:gd name="connsiteX3" fmla="*/ 9239 w 18383"/>
                  <a:gd name="connsiteY3" fmla="*/ 0 h 18002"/>
                  <a:gd name="connsiteX4" fmla="*/ 18383 w 18383"/>
                  <a:gd name="connsiteY4" fmla="*/ 8954 h 18002"/>
                  <a:gd name="connsiteX5" fmla="*/ 2286 w 18383"/>
                  <a:gd name="connsiteY5" fmla="*/ 8954 h 18002"/>
                  <a:gd name="connsiteX6" fmla="*/ 9239 w 18383"/>
                  <a:gd name="connsiteY6" fmla="*/ 16097 h 18002"/>
                  <a:gd name="connsiteX7" fmla="*/ 16097 w 18383"/>
                  <a:gd name="connsiteY7" fmla="*/ 9049 h 18002"/>
                  <a:gd name="connsiteX8" fmla="*/ 9239 w 18383"/>
                  <a:gd name="connsiteY8" fmla="*/ 1905 h 18002"/>
                  <a:gd name="connsiteX9" fmla="*/ 2286 w 18383"/>
                  <a:gd name="connsiteY9" fmla="*/ 9049 h 18002"/>
                  <a:gd name="connsiteX10" fmla="*/ 7810 w 18383"/>
                  <a:gd name="connsiteY10" fmla="*/ 13621 h 18002"/>
                  <a:gd name="connsiteX11" fmla="*/ 5715 w 18383"/>
                  <a:gd name="connsiteY11" fmla="*/ 13621 h 18002"/>
                  <a:gd name="connsiteX12" fmla="*/ 5715 w 18383"/>
                  <a:gd name="connsiteY12" fmla="*/ 4667 h 18002"/>
                  <a:gd name="connsiteX13" fmla="*/ 9144 w 18383"/>
                  <a:gd name="connsiteY13" fmla="*/ 4382 h 18002"/>
                  <a:gd name="connsiteX14" fmla="*/ 12287 w 18383"/>
                  <a:gd name="connsiteY14" fmla="*/ 5048 h 18002"/>
                  <a:gd name="connsiteX15" fmla="*/ 13145 w 18383"/>
                  <a:gd name="connsiteY15" fmla="*/ 7048 h 18002"/>
                  <a:gd name="connsiteX16" fmla="*/ 11335 w 18383"/>
                  <a:gd name="connsiteY16" fmla="*/ 9144 h 18002"/>
                  <a:gd name="connsiteX17" fmla="*/ 11335 w 18383"/>
                  <a:gd name="connsiteY17" fmla="*/ 9144 h 18002"/>
                  <a:gd name="connsiteX18" fmla="*/ 12954 w 18383"/>
                  <a:gd name="connsiteY18" fmla="*/ 11430 h 18002"/>
                  <a:gd name="connsiteX19" fmla="*/ 13621 w 18383"/>
                  <a:gd name="connsiteY19" fmla="*/ 13621 h 18002"/>
                  <a:gd name="connsiteX20" fmla="*/ 11430 w 18383"/>
                  <a:gd name="connsiteY20" fmla="*/ 13621 h 18002"/>
                  <a:gd name="connsiteX21" fmla="*/ 10763 w 18383"/>
                  <a:gd name="connsiteY21" fmla="*/ 11430 h 18002"/>
                  <a:gd name="connsiteX22" fmla="*/ 8954 w 18383"/>
                  <a:gd name="connsiteY22" fmla="*/ 10001 h 18002"/>
                  <a:gd name="connsiteX23" fmla="*/ 8001 w 18383"/>
                  <a:gd name="connsiteY23" fmla="*/ 10001 h 18002"/>
                  <a:gd name="connsiteX24" fmla="*/ 8001 w 18383"/>
                  <a:gd name="connsiteY24" fmla="*/ 13621 h 18002"/>
                  <a:gd name="connsiteX25" fmla="*/ 7810 w 18383"/>
                  <a:gd name="connsiteY25" fmla="*/ 8572 h 18002"/>
                  <a:gd name="connsiteX26" fmla="*/ 8763 w 18383"/>
                  <a:gd name="connsiteY26" fmla="*/ 8572 h 18002"/>
                  <a:gd name="connsiteX27" fmla="*/ 10858 w 18383"/>
                  <a:gd name="connsiteY27" fmla="*/ 7239 h 18002"/>
                  <a:gd name="connsiteX28" fmla="*/ 8954 w 18383"/>
                  <a:gd name="connsiteY28" fmla="*/ 5906 h 18002"/>
                  <a:gd name="connsiteX29" fmla="*/ 7810 w 18383"/>
                  <a:gd name="connsiteY29" fmla="*/ 6001 h 18002"/>
                  <a:gd name="connsiteX30" fmla="*/ 7810 w 18383"/>
                  <a:gd name="connsiteY30" fmla="*/ 8572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383" h="18002">
                    <a:moveTo>
                      <a:pt x="18383" y="8954"/>
                    </a:moveTo>
                    <a:cubicBezTo>
                      <a:pt x="18383" y="14002"/>
                      <a:pt x="14383" y="18002"/>
                      <a:pt x="9239" y="18002"/>
                    </a:cubicBezTo>
                    <a:cubicBezTo>
                      <a:pt x="4096" y="18002"/>
                      <a:pt x="0" y="14002"/>
                      <a:pt x="0" y="8954"/>
                    </a:cubicBezTo>
                    <a:cubicBezTo>
                      <a:pt x="0" y="3905"/>
                      <a:pt x="4096" y="0"/>
                      <a:pt x="9239" y="0"/>
                    </a:cubicBezTo>
                    <a:cubicBezTo>
                      <a:pt x="14383" y="0"/>
                      <a:pt x="18383" y="4001"/>
                      <a:pt x="18383" y="8954"/>
                    </a:cubicBezTo>
                    <a:close/>
                    <a:moveTo>
                      <a:pt x="2286" y="8954"/>
                    </a:moveTo>
                    <a:cubicBezTo>
                      <a:pt x="2286" y="12954"/>
                      <a:pt x="5239" y="16097"/>
                      <a:pt x="9239" y="16097"/>
                    </a:cubicBezTo>
                    <a:cubicBezTo>
                      <a:pt x="13240" y="16097"/>
                      <a:pt x="16097" y="12954"/>
                      <a:pt x="16097" y="9049"/>
                    </a:cubicBezTo>
                    <a:cubicBezTo>
                      <a:pt x="16097" y="5144"/>
                      <a:pt x="13240" y="1905"/>
                      <a:pt x="9239" y="1905"/>
                    </a:cubicBezTo>
                    <a:cubicBezTo>
                      <a:pt x="5239" y="1905"/>
                      <a:pt x="2286" y="5144"/>
                      <a:pt x="2286" y="9049"/>
                    </a:cubicBezTo>
                    <a:close/>
                    <a:moveTo>
                      <a:pt x="7810" y="13621"/>
                    </a:moveTo>
                    <a:lnTo>
                      <a:pt x="5715" y="13621"/>
                    </a:lnTo>
                    <a:lnTo>
                      <a:pt x="5715" y="4667"/>
                    </a:lnTo>
                    <a:cubicBezTo>
                      <a:pt x="6572" y="4477"/>
                      <a:pt x="7715" y="4382"/>
                      <a:pt x="9144" y="4382"/>
                    </a:cubicBezTo>
                    <a:cubicBezTo>
                      <a:pt x="10858" y="4382"/>
                      <a:pt x="11621" y="4667"/>
                      <a:pt x="12287" y="5048"/>
                    </a:cubicBezTo>
                    <a:cubicBezTo>
                      <a:pt x="12763" y="5429"/>
                      <a:pt x="13145" y="6096"/>
                      <a:pt x="13145" y="7048"/>
                    </a:cubicBezTo>
                    <a:cubicBezTo>
                      <a:pt x="13145" y="8001"/>
                      <a:pt x="12383" y="8763"/>
                      <a:pt x="11335" y="9144"/>
                    </a:cubicBezTo>
                    <a:lnTo>
                      <a:pt x="11335" y="9144"/>
                    </a:lnTo>
                    <a:cubicBezTo>
                      <a:pt x="12192" y="9620"/>
                      <a:pt x="12668" y="10192"/>
                      <a:pt x="12954" y="11430"/>
                    </a:cubicBezTo>
                    <a:cubicBezTo>
                      <a:pt x="13240" y="12764"/>
                      <a:pt x="13430" y="13335"/>
                      <a:pt x="13621" y="13621"/>
                    </a:cubicBezTo>
                    <a:lnTo>
                      <a:pt x="11430" y="13621"/>
                    </a:lnTo>
                    <a:cubicBezTo>
                      <a:pt x="11430" y="13621"/>
                      <a:pt x="10954" y="12478"/>
                      <a:pt x="10763" y="11430"/>
                    </a:cubicBezTo>
                    <a:cubicBezTo>
                      <a:pt x="10573" y="10478"/>
                      <a:pt x="10096" y="10001"/>
                      <a:pt x="8954" y="10001"/>
                    </a:cubicBezTo>
                    <a:lnTo>
                      <a:pt x="8001" y="10001"/>
                    </a:lnTo>
                    <a:lnTo>
                      <a:pt x="8001" y="13621"/>
                    </a:lnTo>
                    <a:close/>
                    <a:moveTo>
                      <a:pt x="7810" y="8572"/>
                    </a:moveTo>
                    <a:lnTo>
                      <a:pt x="8763" y="8572"/>
                    </a:lnTo>
                    <a:cubicBezTo>
                      <a:pt x="9906" y="8572"/>
                      <a:pt x="10858" y="8192"/>
                      <a:pt x="10858" y="7239"/>
                    </a:cubicBezTo>
                    <a:cubicBezTo>
                      <a:pt x="10858" y="6382"/>
                      <a:pt x="10287" y="5906"/>
                      <a:pt x="8954" y="5906"/>
                    </a:cubicBezTo>
                    <a:cubicBezTo>
                      <a:pt x="8382" y="5906"/>
                      <a:pt x="8001" y="5906"/>
                      <a:pt x="7810" y="6001"/>
                    </a:cubicBezTo>
                    <a:lnTo>
                      <a:pt x="7810" y="857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28" name="Group 427">
              <a:extLst>
                <a:ext uri="{FF2B5EF4-FFF2-40B4-BE49-F238E27FC236}">
                  <a16:creationId xmlns:a16="http://schemas.microsoft.com/office/drawing/2014/main" id="{7814FB11-D602-4C53-8B51-01521484D0F7}"/>
                </a:ext>
              </a:extLst>
            </p:cNvPr>
            <p:cNvGrpSpPr/>
            <p:nvPr userDrawn="1"/>
          </p:nvGrpSpPr>
          <p:grpSpPr>
            <a:xfrm>
              <a:off x="5795994" y="2288371"/>
              <a:ext cx="450552" cy="269337"/>
              <a:chOff x="5429272" y="3033696"/>
              <a:chExt cx="1329762" cy="794922"/>
            </a:xfrm>
          </p:grpSpPr>
          <p:sp>
            <p:nvSpPr>
              <p:cNvPr id="429" name="Freeform: Shape 428">
                <a:extLst>
                  <a:ext uri="{FF2B5EF4-FFF2-40B4-BE49-F238E27FC236}">
                    <a16:creationId xmlns:a16="http://schemas.microsoft.com/office/drawing/2014/main" id="{1D608091-06CD-4651-801D-80C7B0FC5F4D}"/>
                  </a:ext>
                </a:extLst>
              </p:cNvPr>
              <p:cNvSpPr/>
              <p:nvPr/>
            </p:nvSpPr>
            <p:spPr>
              <a:xfrm>
                <a:off x="6706457" y="3250596"/>
                <a:ext cx="22479" cy="27717"/>
              </a:xfrm>
              <a:custGeom>
                <a:avLst/>
                <a:gdLst>
                  <a:gd name="connsiteX0" fmla="*/ 0 w 22479"/>
                  <a:gd name="connsiteY0" fmla="*/ 4858 h 27717"/>
                  <a:gd name="connsiteX1" fmla="*/ 8382 w 22479"/>
                  <a:gd name="connsiteY1" fmla="*/ 4858 h 27717"/>
                  <a:gd name="connsiteX2" fmla="*/ 8382 w 22479"/>
                  <a:gd name="connsiteY2" fmla="*/ 27718 h 27717"/>
                  <a:gd name="connsiteX3" fmla="*/ 14097 w 22479"/>
                  <a:gd name="connsiteY3" fmla="*/ 27718 h 27717"/>
                  <a:gd name="connsiteX4" fmla="*/ 14097 w 22479"/>
                  <a:gd name="connsiteY4" fmla="*/ 4858 h 27717"/>
                  <a:gd name="connsiteX5" fmla="*/ 22479 w 22479"/>
                  <a:gd name="connsiteY5" fmla="*/ 4858 h 27717"/>
                  <a:gd name="connsiteX6" fmla="*/ 22479 w 22479"/>
                  <a:gd name="connsiteY6" fmla="*/ 0 h 27717"/>
                  <a:gd name="connsiteX7" fmla="*/ 0 w 22479"/>
                  <a:gd name="connsiteY7" fmla="*/ 0 h 27717"/>
                  <a:gd name="connsiteX8" fmla="*/ 0 w 22479"/>
                  <a:gd name="connsiteY8" fmla="*/ 4858 h 27717"/>
                  <a:gd name="connsiteX9" fmla="*/ 0 w 22479"/>
                  <a:gd name="connsiteY9" fmla="*/ 4858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9" h="27717">
                    <a:moveTo>
                      <a:pt x="0" y="4858"/>
                    </a:moveTo>
                    <a:lnTo>
                      <a:pt x="8382" y="4858"/>
                    </a:lnTo>
                    <a:lnTo>
                      <a:pt x="8382" y="27718"/>
                    </a:lnTo>
                    <a:lnTo>
                      <a:pt x="14097" y="27718"/>
                    </a:lnTo>
                    <a:lnTo>
                      <a:pt x="14097" y="4858"/>
                    </a:lnTo>
                    <a:lnTo>
                      <a:pt x="22479" y="4858"/>
                    </a:lnTo>
                    <a:lnTo>
                      <a:pt x="22479" y="0"/>
                    </a:lnTo>
                    <a:lnTo>
                      <a:pt x="0" y="0"/>
                    </a:lnTo>
                    <a:lnTo>
                      <a:pt x="0" y="4858"/>
                    </a:lnTo>
                    <a:lnTo>
                      <a:pt x="0" y="485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0" name="Freeform: Shape 429">
                <a:extLst>
                  <a:ext uri="{FF2B5EF4-FFF2-40B4-BE49-F238E27FC236}">
                    <a16:creationId xmlns:a16="http://schemas.microsoft.com/office/drawing/2014/main" id="{01BC09E7-631B-4C18-9A47-2CA68B726989}"/>
                  </a:ext>
                </a:extLst>
              </p:cNvPr>
              <p:cNvSpPr/>
              <p:nvPr/>
            </p:nvSpPr>
            <p:spPr>
              <a:xfrm>
                <a:off x="6732174" y="3250596"/>
                <a:ext cx="26860" cy="27717"/>
              </a:xfrm>
              <a:custGeom>
                <a:avLst/>
                <a:gdLst>
                  <a:gd name="connsiteX0" fmla="*/ 18479 w 26860"/>
                  <a:gd name="connsiteY0" fmla="*/ 0 h 27717"/>
                  <a:gd name="connsiteX1" fmla="*/ 13526 w 26860"/>
                  <a:gd name="connsiteY1" fmla="*/ 21812 h 27717"/>
                  <a:gd name="connsiteX2" fmla="*/ 13430 w 26860"/>
                  <a:gd name="connsiteY2" fmla="*/ 21812 h 27717"/>
                  <a:gd name="connsiteX3" fmla="*/ 8382 w 26860"/>
                  <a:gd name="connsiteY3" fmla="*/ 0 h 27717"/>
                  <a:gd name="connsiteX4" fmla="*/ 0 w 26860"/>
                  <a:gd name="connsiteY4" fmla="*/ 0 h 27717"/>
                  <a:gd name="connsiteX5" fmla="*/ 0 w 26860"/>
                  <a:gd name="connsiteY5" fmla="*/ 27718 h 27717"/>
                  <a:gd name="connsiteX6" fmla="*/ 5334 w 26860"/>
                  <a:gd name="connsiteY6" fmla="*/ 27718 h 27717"/>
                  <a:gd name="connsiteX7" fmla="*/ 5334 w 26860"/>
                  <a:gd name="connsiteY7" fmla="*/ 4572 h 27717"/>
                  <a:gd name="connsiteX8" fmla="*/ 5429 w 26860"/>
                  <a:gd name="connsiteY8" fmla="*/ 4572 h 27717"/>
                  <a:gd name="connsiteX9" fmla="*/ 10478 w 26860"/>
                  <a:gd name="connsiteY9" fmla="*/ 27718 h 27717"/>
                  <a:gd name="connsiteX10" fmla="*/ 16193 w 26860"/>
                  <a:gd name="connsiteY10" fmla="*/ 27718 h 27717"/>
                  <a:gd name="connsiteX11" fmla="*/ 21336 w 26860"/>
                  <a:gd name="connsiteY11" fmla="*/ 4572 h 27717"/>
                  <a:gd name="connsiteX12" fmla="*/ 21431 w 26860"/>
                  <a:gd name="connsiteY12" fmla="*/ 4572 h 27717"/>
                  <a:gd name="connsiteX13" fmla="*/ 21431 w 26860"/>
                  <a:gd name="connsiteY13" fmla="*/ 27718 h 27717"/>
                  <a:gd name="connsiteX14" fmla="*/ 26861 w 26860"/>
                  <a:gd name="connsiteY14" fmla="*/ 27718 h 27717"/>
                  <a:gd name="connsiteX15" fmla="*/ 26861 w 26860"/>
                  <a:gd name="connsiteY15" fmla="*/ 0 h 27717"/>
                  <a:gd name="connsiteX16" fmla="*/ 18479 w 26860"/>
                  <a:gd name="connsiteY16" fmla="*/ 0 h 27717"/>
                  <a:gd name="connsiteX17" fmla="*/ 18479 w 26860"/>
                  <a:gd name="connsiteY17" fmla="*/ 0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60" h="27717">
                    <a:moveTo>
                      <a:pt x="18479" y="0"/>
                    </a:moveTo>
                    <a:lnTo>
                      <a:pt x="13526" y="21812"/>
                    </a:lnTo>
                    <a:lnTo>
                      <a:pt x="13430" y="21812"/>
                    </a:lnTo>
                    <a:lnTo>
                      <a:pt x="8382" y="0"/>
                    </a:lnTo>
                    <a:lnTo>
                      <a:pt x="0" y="0"/>
                    </a:lnTo>
                    <a:lnTo>
                      <a:pt x="0" y="27718"/>
                    </a:lnTo>
                    <a:lnTo>
                      <a:pt x="5334" y="27718"/>
                    </a:lnTo>
                    <a:lnTo>
                      <a:pt x="5334" y="4572"/>
                    </a:lnTo>
                    <a:lnTo>
                      <a:pt x="5429" y="4572"/>
                    </a:lnTo>
                    <a:lnTo>
                      <a:pt x="10478" y="27718"/>
                    </a:lnTo>
                    <a:lnTo>
                      <a:pt x="16193" y="27718"/>
                    </a:lnTo>
                    <a:lnTo>
                      <a:pt x="21336" y="4572"/>
                    </a:lnTo>
                    <a:lnTo>
                      <a:pt x="21431" y="4572"/>
                    </a:lnTo>
                    <a:lnTo>
                      <a:pt x="21431" y="27718"/>
                    </a:lnTo>
                    <a:lnTo>
                      <a:pt x="26861" y="27718"/>
                    </a:lnTo>
                    <a:lnTo>
                      <a:pt x="26861" y="0"/>
                    </a:lnTo>
                    <a:lnTo>
                      <a:pt x="18479" y="0"/>
                    </a:lnTo>
                    <a:lnTo>
                      <a:pt x="1847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31" name="Graphic 407">
                <a:extLst>
                  <a:ext uri="{FF2B5EF4-FFF2-40B4-BE49-F238E27FC236}">
                    <a16:creationId xmlns:a16="http://schemas.microsoft.com/office/drawing/2014/main" id="{587EADAC-10C7-48F3-A1F4-14B275CDA569}"/>
                  </a:ext>
                </a:extLst>
              </p:cNvPr>
              <p:cNvGrpSpPr/>
              <p:nvPr/>
            </p:nvGrpSpPr>
            <p:grpSpPr>
              <a:xfrm>
                <a:off x="5506688" y="3250377"/>
                <a:ext cx="1174880" cy="578241"/>
                <a:chOff x="5506688" y="3250377"/>
                <a:chExt cx="1174880" cy="578241"/>
              </a:xfrm>
              <a:solidFill>
                <a:srgbClr val="A1ABB2"/>
              </a:solidFill>
            </p:grpSpPr>
            <p:sp>
              <p:nvSpPr>
                <p:cNvPr id="440" name="Freeform: Shape 439">
                  <a:extLst>
                    <a:ext uri="{FF2B5EF4-FFF2-40B4-BE49-F238E27FC236}">
                      <a16:creationId xmlns:a16="http://schemas.microsoft.com/office/drawing/2014/main" id="{751CDDE2-D5B2-41D1-B73B-BB32474EA7E2}"/>
                    </a:ext>
                  </a:extLst>
                </p:cNvPr>
                <p:cNvSpPr/>
                <p:nvPr/>
              </p:nvSpPr>
              <p:spPr>
                <a:xfrm>
                  <a:off x="5506688" y="3265359"/>
                  <a:ext cx="46482" cy="360902"/>
                </a:xfrm>
                <a:custGeom>
                  <a:avLst/>
                  <a:gdLst>
                    <a:gd name="connsiteX0" fmla="*/ 23146 w 46482"/>
                    <a:gd name="connsiteY0" fmla="*/ 0 h 360902"/>
                    <a:gd name="connsiteX1" fmla="*/ 23146 w 46482"/>
                    <a:gd name="connsiteY1" fmla="*/ 0 h 360902"/>
                    <a:gd name="connsiteX2" fmla="*/ 46482 w 46482"/>
                    <a:gd name="connsiteY2" fmla="*/ 23336 h 360902"/>
                    <a:gd name="connsiteX3" fmla="*/ 46482 w 46482"/>
                    <a:gd name="connsiteY3" fmla="*/ 338804 h 360902"/>
                    <a:gd name="connsiteX4" fmla="*/ 24384 w 46482"/>
                    <a:gd name="connsiteY4" fmla="*/ 360902 h 360902"/>
                    <a:gd name="connsiteX5" fmla="*/ 22765 w 46482"/>
                    <a:gd name="connsiteY5" fmla="*/ 360902 h 360902"/>
                    <a:gd name="connsiteX6" fmla="*/ 0 w 46482"/>
                    <a:gd name="connsiteY6" fmla="*/ 338138 h 360902"/>
                    <a:gd name="connsiteX7" fmla="*/ 0 w 46482"/>
                    <a:gd name="connsiteY7" fmla="*/ 23146 h 360902"/>
                    <a:gd name="connsiteX8" fmla="*/ 23146 w 46482"/>
                    <a:gd name="connsiteY8" fmla="*/ 0 h 3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 h="360902">
                      <a:moveTo>
                        <a:pt x="23146" y="0"/>
                      </a:moveTo>
                      <a:lnTo>
                        <a:pt x="23146" y="0"/>
                      </a:lnTo>
                      <a:cubicBezTo>
                        <a:pt x="36004" y="0"/>
                        <a:pt x="46482" y="10478"/>
                        <a:pt x="46482" y="23336"/>
                      </a:cubicBezTo>
                      <a:lnTo>
                        <a:pt x="46482" y="338804"/>
                      </a:lnTo>
                      <a:cubicBezTo>
                        <a:pt x="46482" y="350996"/>
                        <a:pt x="36576" y="360902"/>
                        <a:pt x="24384" y="360902"/>
                      </a:cubicBezTo>
                      <a:lnTo>
                        <a:pt x="22765" y="360902"/>
                      </a:lnTo>
                      <a:cubicBezTo>
                        <a:pt x="10192" y="360902"/>
                        <a:pt x="0" y="350711"/>
                        <a:pt x="0" y="338138"/>
                      </a:cubicBezTo>
                      <a:lnTo>
                        <a:pt x="0" y="23146"/>
                      </a:lnTo>
                      <a:cubicBezTo>
                        <a:pt x="0" y="10382"/>
                        <a:pt x="10382" y="0"/>
                        <a:pt x="23146" y="0"/>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1" name="Freeform: Shape 440">
                  <a:extLst>
                    <a:ext uri="{FF2B5EF4-FFF2-40B4-BE49-F238E27FC236}">
                      <a16:creationId xmlns:a16="http://schemas.microsoft.com/office/drawing/2014/main" id="{61792063-5C22-431C-B5A7-86C8ED3D5F61}"/>
                    </a:ext>
                  </a:extLst>
                </p:cNvPr>
                <p:cNvSpPr/>
                <p:nvPr/>
              </p:nvSpPr>
              <p:spPr>
                <a:xfrm>
                  <a:off x="6296430" y="3250377"/>
                  <a:ext cx="385138" cy="578241"/>
                </a:xfrm>
                <a:custGeom>
                  <a:avLst/>
                  <a:gdLst>
                    <a:gd name="connsiteX0" fmla="*/ 369736 w 385138"/>
                    <a:gd name="connsiteY0" fmla="*/ 2219 h 578241"/>
                    <a:gd name="connsiteX1" fmla="*/ 337542 w 385138"/>
                    <a:gd name="connsiteY1" fmla="*/ 17840 h 578241"/>
                    <a:gd name="connsiteX2" fmla="*/ 194857 w 385138"/>
                    <a:gd name="connsiteY2" fmla="*/ 301494 h 578241"/>
                    <a:gd name="connsiteX3" fmla="*/ 47410 w 385138"/>
                    <a:gd name="connsiteY3" fmla="*/ 19459 h 578241"/>
                    <a:gd name="connsiteX4" fmla="*/ 15216 w 385138"/>
                    <a:gd name="connsiteY4" fmla="*/ 3457 h 578241"/>
                    <a:gd name="connsiteX5" fmla="*/ 1500 w 385138"/>
                    <a:gd name="connsiteY5" fmla="*/ 36414 h 578241"/>
                    <a:gd name="connsiteX6" fmla="*/ 166092 w 385138"/>
                    <a:gd name="connsiteY6" fmla="*/ 358740 h 578241"/>
                    <a:gd name="connsiteX7" fmla="*/ 72937 w 385138"/>
                    <a:gd name="connsiteY7" fmla="*/ 543429 h 578241"/>
                    <a:gd name="connsiteX8" fmla="*/ 85605 w 385138"/>
                    <a:gd name="connsiteY8" fmla="*/ 574862 h 578241"/>
                    <a:gd name="connsiteX9" fmla="*/ 87129 w 385138"/>
                    <a:gd name="connsiteY9" fmla="*/ 575624 h 578241"/>
                    <a:gd name="connsiteX10" fmla="*/ 118562 w 385138"/>
                    <a:gd name="connsiteY10" fmla="*/ 566289 h 578241"/>
                    <a:gd name="connsiteX11" fmla="*/ 381642 w 385138"/>
                    <a:gd name="connsiteY11" fmla="*/ 39366 h 578241"/>
                    <a:gd name="connsiteX12" fmla="*/ 369831 w 385138"/>
                    <a:gd name="connsiteY12" fmla="*/ 2219 h 578241"/>
                    <a:gd name="connsiteX13" fmla="*/ 369831 w 385138"/>
                    <a:gd name="connsiteY13" fmla="*/ 2219 h 57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138" h="578241">
                      <a:moveTo>
                        <a:pt x="369736" y="2219"/>
                      </a:moveTo>
                      <a:cubicBezTo>
                        <a:pt x="349638" y="-7497"/>
                        <a:pt x="337542" y="17840"/>
                        <a:pt x="337542" y="17840"/>
                      </a:cubicBezTo>
                      <a:lnTo>
                        <a:pt x="194857" y="301494"/>
                      </a:lnTo>
                      <a:lnTo>
                        <a:pt x="47410" y="19459"/>
                      </a:lnTo>
                      <a:cubicBezTo>
                        <a:pt x="47410" y="19459"/>
                        <a:pt x="37123" y="-5687"/>
                        <a:pt x="15216" y="3457"/>
                      </a:cubicBezTo>
                      <a:cubicBezTo>
                        <a:pt x="-6692" y="12506"/>
                        <a:pt x="1500" y="36414"/>
                        <a:pt x="1500" y="36414"/>
                      </a:cubicBezTo>
                      <a:lnTo>
                        <a:pt x="166092" y="358740"/>
                      </a:lnTo>
                      <a:lnTo>
                        <a:pt x="72937" y="543429"/>
                      </a:lnTo>
                      <a:cubicBezTo>
                        <a:pt x="67508" y="554764"/>
                        <a:pt x="73128" y="568861"/>
                        <a:pt x="85605" y="574862"/>
                      </a:cubicBezTo>
                      <a:lnTo>
                        <a:pt x="87129" y="575624"/>
                      </a:lnTo>
                      <a:cubicBezTo>
                        <a:pt x="99226" y="581434"/>
                        <a:pt x="113228" y="577243"/>
                        <a:pt x="118562" y="566289"/>
                      </a:cubicBezTo>
                      <a:lnTo>
                        <a:pt x="381642" y="39366"/>
                      </a:lnTo>
                      <a:cubicBezTo>
                        <a:pt x="381642" y="39366"/>
                        <a:pt x="394882" y="12315"/>
                        <a:pt x="369831" y="2219"/>
                      </a:cubicBezTo>
                      <a:lnTo>
                        <a:pt x="369831" y="221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432" name="Freeform: Shape 431">
                <a:extLst>
                  <a:ext uri="{FF2B5EF4-FFF2-40B4-BE49-F238E27FC236}">
                    <a16:creationId xmlns:a16="http://schemas.microsoft.com/office/drawing/2014/main" id="{5C0984C6-FF2A-4873-B1C5-B250885CA76C}"/>
                  </a:ext>
                </a:extLst>
              </p:cNvPr>
              <p:cNvSpPr/>
              <p:nvPr/>
            </p:nvSpPr>
            <p:spPr>
              <a:xfrm>
                <a:off x="5509069" y="3267741"/>
                <a:ext cx="41719" cy="356139"/>
              </a:xfrm>
              <a:custGeom>
                <a:avLst/>
                <a:gdLst>
                  <a:gd name="connsiteX0" fmla="*/ 20765 w 41719"/>
                  <a:gd name="connsiteY0" fmla="*/ 0 h 356139"/>
                  <a:gd name="connsiteX1" fmla="*/ 0 w 41719"/>
                  <a:gd name="connsiteY1" fmla="*/ 20765 h 356139"/>
                  <a:gd name="connsiteX2" fmla="*/ 0 w 41719"/>
                  <a:gd name="connsiteY2" fmla="*/ 335756 h 356139"/>
                  <a:gd name="connsiteX3" fmla="*/ 20384 w 41719"/>
                  <a:gd name="connsiteY3" fmla="*/ 356140 h 356139"/>
                  <a:gd name="connsiteX4" fmla="*/ 22003 w 41719"/>
                  <a:gd name="connsiteY4" fmla="*/ 356140 h 356139"/>
                  <a:gd name="connsiteX5" fmla="*/ 41720 w 41719"/>
                  <a:gd name="connsiteY5" fmla="*/ 336423 h 356139"/>
                  <a:gd name="connsiteX6" fmla="*/ 41720 w 41719"/>
                  <a:gd name="connsiteY6" fmla="*/ 20955 h 356139"/>
                  <a:gd name="connsiteX7" fmla="*/ 20765 w 41719"/>
                  <a:gd name="connsiteY7" fmla="*/ 0 h 356139"/>
                  <a:gd name="connsiteX8" fmla="*/ 20765 w 41719"/>
                  <a:gd name="connsiteY8" fmla="*/ 0 h 35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19" h="356139">
                    <a:moveTo>
                      <a:pt x="20765" y="0"/>
                    </a:moveTo>
                    <a:cubicBezTo>
                      <a:pt x="9334" y="0"/>
                      <a:pt x="0" y="9334"/>
                      <a:pt x="0" y="20765"/>
                    </a:cubicBezTo>
                    <a:lnTo>
                      <a:pt x="0" y="335756"/>
                    </a:lnTo>
                    <a:cubicBezTo>
                      <a:pt x="0" y="346996"/>
                      <a:pt x="9144" y="356140"/>
                      <a:pt x="20384" y="356140"/>
                    </a:cubicBezTo>
                    <a:lnTo>
                      <a:pt x="22003" y="356140"/>
                    </a:lnTo>
                    <a:cubicBezTo>
                      <a:pt x="32861" y="356140"/>
                      <a:pt x="41720" y="347282"/>
                      <a:pt x="41720" y="336423"/>
                    </a:cubicBezTo>
                    <a:lnTo>
                      <a:pt x="41720" y="20955"/>
                    </a:lnTo>
                    <a:cubicBezTo>
                      <a:pt x="41720" y="9430"/>
                      <a:pt x="32290" y="0"/>
                      <a:pt x="20765" y="0"/>
                    </a:cubicBezTo>
                    <a:lnTo>
                      <a:pt x="2076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DD13455D-4FD6-4E20-BA63-FD1897EFB5F4}"/>
                  </a:ext>
                </a:extLst>
              </p:cNvPr>
              <p:cNvSpPr/>
              <p:nvPr/>
            </p:nvSpPr>
            <p:spPr>
              <a:xfrm>
                <a:off x="5599747" y="3256025"/>
                <a:ext cx="272986" cy="370332"/>
              </a:xfrm>
              <a:custGeom>
                <a:avLst/>
                <a:gdLst>
                  <a:gd name="connsiteX0" fmla="*/ 258032 w 272986"/>
                  <a:gd name="connsiteY0" fmla="*/ 76009 h 370332"/>
                  <a:gd name="connsiteX1" fmla="*/ 211741 w 272986"/>
                  <a:gd name="connsiteY1" fmla="*/ 20574 h 370332"/>
                  <a:gd name="connsiteX2" fmla="*/ 138589 w 272986"/>
                  <a:gd name="connsiteY2" fmla="*/ 286 h 370332"/>
                  <a:gd name="connsiteX3" fmla="*/ 138589 w 272986"/>
                  <a:gd name="connsiteY3" fmla="*/ 0 h 370332"/>
                  <a:gd name="connsiteX4" fmla="*/ 136493 w 272986"/>
                  <a:gd name="connsiteY4" fmla="*/ 95 h 370332"/>
                  <a:gd name="connsiteX5" fmla="*/ 134398 w 272986"/>
                  <a:gd name="connsiteY5" fmla="*/ 0 h 370332"/>
                  <a:gd name="connsiteX6" fmla="*/ 134398 w 272986"/>
                  <a:gd name="connsiteY6" fmla="*/ 286 h 370332"/>
                  <a:gd name="connsiteX7" fmla="*/ 61246 w 272986"/>
                  <a:gd name="connsiteY7" fmla="*/ 20574 h 370332"/>
                  <a:gd name="connsiteX8" fmla="*/ 14954 w 272986"/>
                  <a:gd name="connsiteY8" fmla="*/ 76009 h 370332"/>
                  <a:gd name="connsiteX9" fmla="*/ 0 w 272986"/>
                  <a:gd name="connsiteY9" fmla="*/ 184499 h 370332"/>
                  <a:gd name="connsiteX10" fmla="*/ 0 w 272986"/>
                  <a:gd name="connsiteY10" fmla="*/ 347091 h 370332"/>
                  <a:gd name="connsiteX11" fmla="*/ 23241 w 272986"/>
                  <a:gd name="connsiteY11" fmla="*/ 370332 h 370332"/>
                  <a:gd name="connsiteX12" fmla="*/ 46482 w 272986"/>
                  <a:gd name="connsiteY12" fmla="*/ 347091 h 370332"/>
                  <a:gd name="connsiteX13" fmla="*/ 46482 w 272986"/>
                  <a:gd name="connsiteY13" fmla="*/ 198120 h 370332"/>
                  <a:gd name="connsiteX14" fmla="*/ 51626 w 272986"/>
                  <a:gd name="connsiteY14" fmla="*/ 114872 h 370332"/>
                  <a:gd name="connsiteX15" fmla="*/ 82582 w 272986"/>
                  <a:gd name="connsiteY15" fmla="*/ 60960 h 370332"/>
                  <a:gd name="connsiteX16" fmla="*/ 136493 w 272986"/>
                  <a:gd name="connsiteY16" fmla="*/ 43053 h 370332"/>
                  <a:gd name="connsiteX17" fmla="*/ 190405 w 272986"/>
                  <a:gd name="connsiteY17" fmla="*/ 60960 h 370332"/>
                  <a:gd name="connsiteX18" fmla="*/ 221361 w 272986"/>
                  <a:gd name="connsiteY18" fmla="*/ 114872 h 370332"/>
                  <a:gd name="connsiteX19" fmla="*/ 226505 w 272986"/>
                  <a:gd name="connsiteY19" fmla="*/ 198120 h 370332"/>
                  <a:gd name="connsiteX20" fmla="*/ 226505 w 272986"/>
                  <a:gd name="connsiteY20" fmla="*/ 347091 h 370332"/>
                  <a:gd name="connsiteX21" fmla="*/ 249746 w 272986"/>
                  <a:gd name="connsiteY21" fmla="*/ 370332 h 370332"/>
                  <a:gd name="connsiteX22" fmla="*/ 272987 w 272986"/>
                  <a:gd name="connsiteY22" fmla="*/ 347091 h 370332"/>
                  <a:gd name="connsiteX23" fmla="*/ 272987 w 272986"/>
                  <a:gd name="connsiteY23" fmla="*/ 184499 h 370332"/>
                  <a:gd name="connsiteX24" fmla="*/ 258032 w 272986"/>
                  <a:gd name="connsiteY24" fmla="*/ 76009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2986" h="370332">
                    <a:moveTo>
                      <a:pt x="258032" y="76009"/>
                    </a:moveTo>
                    <a:cubicBezTo>
                      <a:pt x="248031" y="52768"/>
                      <a:pt x="232696" y="34290"/>
                      <a:pt x="211741" y="20574"/>
                    </a:cubicBezTo>
                    <a:cubicBezTo>
                      <a:pt x="191929" y="7525"/>
                      <a:pt x="164402" y="953"/>
                      <a:pt x="138589" y="286"/>
                    </a:cubicBezTo>
                    <a:lnTo>
                      <a:pt x="138589" y="0"/>
                    </a:lnTo>
                    <a:cubicBezTo>
                      <a:pt x="137922" y="0"/>
                      <a:pt x="137160" y="95"/>
                      <a:pt x="136493" y="95"/>
                    </a:cubicBezTo>
                    <a:cubicBezTo>
                      <a:pt x="135827" y="95"/>
                      <a:pt x="135065" y="0"/>
                      <a:pt x="134398" y="0"/>
                    </a:cubicBezTo>
                    <a:lnTo>
                      <a:pt x="134398" y="286"/>
                    </a:lnTo>
                    <a:cubicBezTo>
                      <a:pt x="108585" y="953"/>
                      <a:pt x="81058" y="7620"/>
                      <a:pt x="61246" y="20574"/>
                    </a:cubicBezTo>
                    <a:cubicBezTo>
                      <a:pt x="40386" y="34290"/>
                      <a:pt x="24956" y="52768"/>
                      <a:pt x="14954" y="76009"/>
                    </a:cubicBezTo>
                    <a:cubicBezTo>
                      <a:pt x="4953" y="99250"/>
                      <a:pt x="0" y="135350"/>
                      <a:pt x="0" y="184499"/>
                    </a:cubicBezTo>
                    <a:lnTo>
                      <a:pt x="0" y="347091"/>
                    </a:lnTo>
                    <a:cubicBezTo>
                      <a:pt x="0" y="359950"/>
                      <a:pt x="10382" y="370332"/>
                      <a:pt x="23241" y="370332"/>
                    </a:cubicBezTo>
                    <a:cubicBezTo>
                      <a:pt x="36100" y="370332"/>
                      <a:pt x="46482" y="359950"/>
                      <a:pt x="46482" y="347091"/>
                    </a:cubicBezTo>
                    <a:lnTo>
                      <a:pt x="46482" y="198120"/>
                    </a:lnTo>
                    <a:cubicBezTo>
                      <a:pt x="46482" y="156591"/>
                      <a:pt x="48196" y="128778"/>
                      <a:pt x="51626" y="114872"/>
                    </a:cubicBezTo>
                    <a:cubicBezTo>
                      <a:pt x="57055" y="90964"/>
                      <a:pt x="67342" y="72962"/>
                      <a:pt x="82582" y="60960"/>
                    </a:cubicBezTo>
                    <a:cubicBezTo>
                      <a:pt x="97346" y="49340"/>
                      <a:pt x="113157" y="43434"/>
                      <a:pt x="136493" y="43053"/>
                    </a:cubicBezTo>
                    <a:cubicBezTo>
                      <a:pt x="159734" y="43434"/>
                      <a:pt x="175641" y="49340"/>
                      <a:pt x="190405" y="60960"/>
                    </a:cubicBezTo>
                    <a:cubicBezTo>
                      <a:pt x="205645" y="73057"/>
                      <a:pt x="216027" y="90964"/>
                      <a:pt x="221361" y="114872"/>
                    </a:cubicBezTo>
                    <a:cubicBezTo>
                      <a:pt x="224790" y="128778"/>
                      <a:pt x="226505" y="156591"/>
                      <a:pt x="226505" y="198120"/>
                    </a:cubicBezTo>
                    <a:lnTo>
                      <a:pt x="226505" y="347091"/>
                    </a:lnTo>
                    <a:cubicBezTo>
                      <a:pt x="226505" y="359950"/>
                      <a:pt x="236887" y="370332"/>
                      <a:pt x="249746" y="370332"/>
                    </a:cubicBezTo>
                    <a:cubicBezTo>
                      <a:pt x="262604" y="370332"/>
                      <a:pt x="272987" y="359950"/>
                      <a:pt x="272987" y="347091"/>
                    </a:cubicBezTo>
                    <a:lnTo>
                      <a:pt x="272987" y="184499"/>
                    </a:lnTo>
                    <a:cubicBezTo>
                      <a:pt x="272987" y="135446"/>
                      <a:pt x="268034" y="99250"/>
                      <a:pt x="258032" y="7600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42674507-57C7-49C9-A3BE-88A8CE9F20C8}"/>
                  </a:ext>
                </a:extLst>
              </p:cNvPr>
              <p:cNvSpPr/>
              <p:nvPr/>
            </p:nvSpPr>
            <p:spPr>
              <a:xfrm>
                <a:off x="5903213" y="3123627"/>
                <a:ext cx="372903" cy="505301"/>
              </a:xfrm>
              <a:custGeom>
                <a:avLst/>
                <a:gdLst>
                  <a:gd name="connsiteX0" fmla="*/ 303276 w 372903"/>
                  <a:gd name="connsiteY0" fmla="*/ 389668 h 505301"/>
                  <a:gd name="connsiteX1" fmla="*/ 254127 w 372903"/>
                  <a:gd name="connsiteY1" fmla="*/ 439769 h 505301"/>
                  <a:gd name="connsiteX2" fmla="*/ 186023 w 372903"/>
                  <a:gd name="connsiteY2" fmla="*/ 457391 h 505301"/>
                  <a:gd name="connsiteX3" fmla="*/ 117920 w 372903"/>
                  <a:gd name="connsiteY3" fmla="*/ 439769 h 505301"/>
                  <a:gd name="connsiteX4" fmla="*/ 68771 w 372903"/>
                  <a:gd name="connsiteY4" fmla="*/ 389668 h 505301"/>
                  <a:gd name="connsiteX5" fmla="*/ 50578 w 372903"/>
                  <a:gd name="connsiteY5" fmla="*/ 319564 h 505301"/>
                  <a:gd name="connsiteX6" fmla="*/ 90488 w 372903"/>
                  <a:gd name="connsiteY6" fmla="*/ 220218 h 505301"/>
                  <a:gd name="connsiteX7" fmla="*/ 185928 w 372903"/>
                  <a:gd name="connsiteY7" fmla="*/ 179165 h 505301"/>
                  <a:gd name="connsiteX8" fmla="*/ 281178 w 372903"/>
                  <a:gd name="connsiteY8" fmla="*/ 220218 h 505301"/>
                  <a:gd name="connsiteX9" fmla="*/ 321278 w 372903"/>
                  <a:gd name="connsiteY9" fmla="*/ 319564 h 505301"/>
                  <a:gd name="connsiteX10" fmla="*/ 303086 w 372903"/>
                  <a:gd name="connsiteY10" fmla="*/ 389668 h 505301"/>
                  <a:gd name="connsiteX11" fmla="*/ 303086 w 372903"/>
                  <a:gd name="connsiteY11" fmla="*/ 389668 h 505301"/>
                  <a:gd name="connsiteX12" fmla="*/ 365379 w 372903"/>
                  <a:gd name="connsiteY12" fmla="*/ 7430 h 505301"/>
                  <a:gd name="connsiteX13" fmla="*/ 347567 w 372903"/>
                  <a:gd name="connsiteY13" fmla="*/ 0 h 505301"/>
                  <a:gd name="connsiteX14" fmla="*/ 322326 w 372903"/>
                  <a:gd name="connsiteY14" fmla="*/ 25241 h 505301"/>
                  <a:gd name="connsiteX15" fmla="*/ 322326 w 372903"/>
                  <a:gd name="connsiteY15" fmla="*/ 189071 h 505301"/>
                  <a:gd name="connsiteX16" fmla="*/ 186214 w 372903"/>
                  <a:gd name="connsiteY16" fmla="*/ 130016 h 505301"/>
                  <a:gd name="connsiteX17" fmla="*/ 49244 w 372903"/>
                  <a:gd name="connsiteY17" fmla="*/ 190024 h 505301"/>
                  <a:gd name="connsiteX18" fmla="*/ 0 w 372903"/>
                  <a:gd name="connsiteY18" fmla="*/ 318516 h 505301"/>
                  <a:gd name="connsiteX19" fmla="*/ 52102 w 372903"/>
                  <a:gd name="connsiteY19" fmla="*/ 449199 h 505301"/>
                  <a:gd name="connsiteX20" fmla="*/ 186309 w 372903"/>
                  <a:gd name="connsiteY20" fmla="*/ 505111 h 505301"/>
                  <a:gd name="connsiteX21" fmla="*/ 320231 w 372903"/>
                  <a:gd name="connsiteY21" fmla="*/ 449199 h 505301"/>
                  <a:gd name="connsiteX22" fmla="*/ 321564 w 372903"/>
                  <a:gd name="connsiteY22" fmla="*/ 447770 h 505301"/>
                  <a:gd name="connsiteX23" fmla="*/ 321374 w 372903"/>
                  <a:gd name="connsiteY23" fmla="*/ 480155 h 505301"/>
                  <a:gd name="connsiteX24" fmla="*/ 346520 w 372903"/>
                  <a:gd name="connsiteY24" fmla="*/ 505301 h 505301"/>
                  <a:gd name="connsiteX25" fmla="*/ 348139 w 372903"/>
                  <a:gd name="connsiteY25" fmla="*/ 505301 h 505301"/>
                  <a:gd name="connsiteX26" fmla="*/ 372618 w 372903"/>
                  <a:gd name="connsiteY26" fmla="*/ 480822 h 505301"/>
                  <a:gd name="connsiteX27" fmla="*/ 372618 w 372903"/>
                  <a:gd name="connsiteY27" fmla="*/ 215075 h 505301"/>
                  <a:gd name="connsiteX28" fmla="*/ 372904 w 372903"/>
                  <a:gd name="connsiteY28" fmla="*/ 25241 h 505301"/>
                  <a:gd name="connsiteX29" fmla="*/ 365570 w 372903"/>
                  <a:gd name="connsiteY29" fmla="*/ 7334 h 505301"/>
                  <a:gd name="connsiteX30" fmla="*/ 365570 w 372903"/>
                  <a:gd name="connsiteY30" fmla="*/ 7334 h 50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2903" h="505301">
                    <a:moveTo>
                      <a:pt x="303276" y="389668"/>
                    </a:moveTo>
                    <a:cubicBezTo>
                      <a:pt x="291179" y="411194"/>
                      <a:pt x="274701" y="428054"/>
                      <a:pt x="254127" y="439769"/>
                    </a:cubicBezTo>
                    <a:cubicBezTo>
                      <a:pt x="233553" y="451485"/>
                      <a:pt x="210598" y="457391"/>
                      <a:pt x="186023" y="457391"/>
                    </a:cubicBezTo>
                    <a:cubicBezTo>
                      <a:pt x="161449" y="457391"/>
                      <a:pt x="138589" y="451485"/>
                      <a:pt x="117920" y="439769"/>
                    </a:cubicBezTo>
                    <a:cubicBezTo>
                      <a:pt x="97441" y="428054"/>
                      <a:pt x="80867" y="411194"/>
                      <a:pt x="68771" y="389668"/>
                    </a:cubicBezTo>
                    <a:cubicBezTo>
                      <a:pt x="56674" y="368141"/>
                      <a:pt x="50578" y="344615"/>
                      <a:pt x="50578" y="319564"/>
                    </a:cubicBezTo>
                    <a:cubicBezTo>
                      <a:pt x="50578" y="280892"/>
                      <a:pt x="64008" y="247459"/>
                      <a:pt x="90488" y="220218"/>
                    </a:cubicBezTo>
                    <a:cubicBezTo>
                      <a:pt x="116967" y="192977"/>
                      <a:pt x="149066" y="179165"/>
                      <a:pt x="185928" y="179165"/>
                    </a:cubicBezTo>
                    <a:cubicBezTo>
                      <a:pt x="222790" y="179165"/>
                      <a:pt x="254603" y="192977"/>
                      <a:pt x="281178" y="220218"/>
                    </a:cubicBezTo>
                    <a:cubicBezTo>
                      <a:pt x="307848" y="247459"/>
                      <a:pt x="321278" y="280892"/>
                      <a:pt x="321278" y="319564"/>
                    </a:cubicBezTo>
                    <a:cubicBezTo>
                      <a:pt x="321278" y="344519"/>
                      <a:pt x="315182" y="368141"/>
                      <a:pt x="303086" y="389668"/>
                    </a:cubicBezTo>
                    <a:lnTo>
                      <a:pt x="303086" y="389668"/>
                    </a:lnTo>
                    <a:close/>
                    <a:moveTo>
                      <a:pt x="365379" y="7430"/>
                    </a:moveTo>
                    <a:cubicBezTo>
                      <a:pt x="360617" y="2667"/>
                      <a:pt x="354235" y="0"/>
                      <a:pt x="347567" y="0"/>
                    </a:cubicBezTo>
                    <a:cubicBezTo>
                      <a:pt x="333661" y="0"/>
                      <a:pt x="322326" y="11335"/>
                      <a:pt x="322326" y="25241"/>
                    </a:cubicBezTo>
                    <a:lnTo>
                      <a:pt x="322326" y="189071"/>
                    </a:lnTo>
                    <a:cubicBezTo>
                      <a:pt x="286417" y="149924"/>
                      <a:pt x="240697" y="130016"/>
                      <a:pt x="186214" y="130016"/>
                    </a:cubicBezTo>
                    <a:cubicBezTo>
                      <a:pt x="131731" y="130016"/>
                      <a:pt x="85154" y="150209"/>
                      <a:pt x="49244" y="190024"/>
                    </a:cubicBezTo>
                    <a:cubicBezTo>
                      <a:pt x="16574" y="226124"/>
                      <a:pt x="0" y="269367"/>
                      <a:pt x="0" y="318516"/>
                    </a:cubicBezTo>
                    <a:cubicBezTo>
                      <a:pt x="0" y="367665"/>
                      <a:pt x="17526" y="412052"/>
                      <a:pt x="52102" y="449199"/>
                    </a:cubicBezTo>
                    <a:cubicBezTo>
                      <a:pt x="86678" y="486347"/>
                      <a:pt x="131826" y="505111"/>
                      <a:pt x="186309" y="505111"/>
                    </a:cubicBezTo>
                    <a:cubicBezTo>
                      <a:pt x="240792" y="505111"/>
                      <a:pt x="285655" y="486251"/>
                      <a:pt x="320231" y="449199"/>
                    </a:cubicBezTo>
                    <a:cubicBezTo>
                      <a:pt x="320707" y="448723"/>
                      <a:pt x="321088" y="448247"/>
                      <a:pt x="321564" y="447770"/>
                    </a:cubicBezTo>
                    <a:lnTo>
                      <a:pt x="321374" y="480155"/>
                    </a:lnTo>
                    <a:cubicBezTo>
                      <a:pt x="321374" y="494062"/>
                      <a:pt x="332613" y="505301"/>
                      <a:pt x="346520" y="505301"/>
                    </a:cubicBezTo>
                    <a:lnTo>
                      <a:pt x="348139" y="505301"/>
                    </a:lnTo>
                    <a:cubicBezTo>
                      <a:pt x="361569" y="505301"/>
                      <a:pt x="372618" y="494348"/>
                      <a:pt x="372618" y="480822"/>
                    </a:cubicBezTo>
                    <a:lnTo>
                      <a:pt x="372618" y="215075"/>
                    </a:lnTo>
                    <a:lnTo>
                      <a:pt x="372904" y="25241"/>
                    </a:lnTo>
                    <a:cubicBezTo>
                      <a:pt x="372904" y="18479"/>
                      <a:pt x="370332" y="12097"/>
                      <a:pt x="365570" y="7334"/>
                    </a:cubicBezTo>
                    <a:lnTo>
                      <a:pt x="365570" y="733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35" name="Graphic 407">
                <a:extLst>
                  <a:ext uri="{FF2B5EF4-FFF2-40B4-BE49-F238E27FC236}">
                    <a16:creationId xmlns:a16="http://schemas.microsoft.com/office/drawing/2014/main" id="{06E2A199-A77B-4A17-B148-AE0DC24789CD}"/>
                  </a:ext>
                </a:extLst>
              </p:cNvPr>
              <p:cNvGrpSpPr/>
              <p:nvPr/>
            </p:nvGrpSpPr>
            <p:grpSpPr>
              <a:xfrm>
                <a:off x="5429272" y="3033696"/>
                <a:ext cx="201993" cy="202126"/>
                <a:chOff x="5429272" y="3033696"/>
                <a:chExt cx="201993" cy="202126"/>
              </a:xfrm>
              <a:solidFill>
                <a:srgbClr val="A1ABB2"/>
              </a:solidFill>
            </p:grpSpPr>
            <p:sp>
              <p:nvSpPr>
                <p:cNvPr id="436" name="Freeform: Shape 435">
                  <a:extLst>
                    <a:ext uri="{FF2B5EF4-FFF2-40B4-BE49-F238E27FC236}">
                      <a16:creationId xmlns:a16="http://schemas.microsoft.com/office/drawing/2014/main" id="{F5C3A644-CCBB-42CF-BE3D-9ED36D1044FB}"/>
                    </a:ext>
                  </a:extLst>
                </p:cNvPr>
                <p:cNvSpPr/>
                <p:nvPr/>
              </p:nvSpPr>
              <p:spPr>
                <a:xfrm>
                  <a:off x="5549807" y="3071876"/>
                  <a:ext cx="81458" cy="125926"/>
                </a:xfrm>
                <a:custGeom>
                  <a:avLst/>
                  <a:gdLst>
                    <a:gd name="connsiteX0" fmla="*/ 45273 w 81458"/>
                    <a:gd name="connsiteY0" fmla="*/ 64800 h 125926"/>
                    <a:gd name="connsiteX1" fmla="*/ 76800 w 81458"/>
                    <a:gd name="connsiteY1" fmla="*/ 31272 h 125926"/>
                    <a:gd name="connsiteX2" fmla="*/ 75562 w 81458"/>
                    <a:gd name="connsiteY2" fmla="*/ 5174 h 125926"/>
                    <a:gd name="connsiteX3" fmla="*/ 50130 w 81458"/>
                    <a:gd name="connsiteY3" fmla="*/ 4698 h 125926"/>
                    <a:gd name="connsiteX4" fmla="*/ 17650 w 81458"/>
                    <a:gd name="connsiteY4" fmla="*/ 37654 h 125926"/>
                    <a:gd name="connsiteX5" fmla="*/ 3744 w 81458"/>
                    <a:gd name="connsiteY5" fmla="*/ 52894 h 125926"/>
                    <a:gd name="connsiteX6" fmla="*/ 5172 w 81458"/>
                    <a:gd name="connsiteY6" fmla="*/ 75945 h 125926"/>
                    <a:gd name="connsiteX7" fmla="*/ 49654 w 81458"/>
                    <a:gd name="connsiteY7" fmla="*/ 120426 h 125926"/>
                    <a:gd name="connsiteX8" fmla="*/ 75562 w 81458"/>
                    <a:gd name="connsiteY8" fmla="*/ 120712 h 125926"/>
                    <a:gd name="connsiteX9" fmla="*/ 75372 w 81458"/>
                    <a:gd name="connsiteY9" fmla="*/ 94137 h 125926"/>
                    <a:gd name="connsiteX10" fmla="*/ 45368 w 81458"/>
                    <a:gd name="connsiteY10" fmla="*/ 64800 h 125926"/>
                    <a:gd name="connsiteX11" fmla="*/ 45368 w 81458"/>
                    <a:gd name="connsiteY11" fmla="*/ 64800 h 12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458" h="125926">
                      <a:moveTo>
                        <a:pt x="45273" y="64800"/>
                      </a:moveTo>
                      <a:cubicBezTo>
                        <a:pt x="56703" y="52799"/>
                        <a:pt x="71371" y="37559"/>
                        <a:pt x="76800" y="31272"/>
                      </a:cubicBezTo>
                      <a:cubicBezTo>
                        <a:pt x="83563" y="23367"/>
                        <a:pt x="82801" y="12222"/>
                        <a:pt x="75562" y="5174"/>
                      </a:cubicBezTo>
                      <a:cubicBezTo>
                        <a:pt x="68895" y="-1398"/>
                        <a:pt x="57560" y="-1875"/>
                        <a:pt x="50130" y="4698"/>
                      </a:cubicBezTo>
                      <a:cubicBezTo>
                        <a:pt x="45177" y="9079"/>
                        <a:pt x="21746" y="32511"/>
                        <a:pt x="17650" y="37654"/>
                      </a:cubicBezTo>
                      <a:cubicBezTo>
                        <a:pt x="13078" y="42512"/>
                        <a:pt x="9078" y="46227"/>
                        <a:pt x="3744" y="52894"/>
                      </a:cubicBezTo>
                      <a:cubicBezTo>
                        <a:pt x="-1686" y="59752"/>
                        <a:pt x="-1209" y="69372"/>
                        <a:pt x="5172" y="75945"/>
                      </a:cubicBezTo>
                      <a:cubicBezTo>
                        <a:pt x="19746" y="90994"/>
                        <a:pt x="34509" y="105853"/>
                        <a:pt x="49654" y="120426"/>
                      </a:cubicBezTo>
                      <a:cubicBezTo>
                        <a:pt x="57369" y="127856"/>
                        <a:pt x="68514" y="127570"/>
                        <a:pt x="75562" y="120712"/>
                      </a:cubicBezTo>
                      <a:cubicBezTo>
                        <a:pt x="82896" y="113568"/>
                        <a:pt x="82992" y="102138"/>
                        <a:pt x="75372" y="94137"/>
                      </a:cubicBezTo>
                      <a:lnTo>
                        <a:pt x="45368" y="64800"/>
                      </a:lnTo>
                      <a:lnTo>
                        <a:pt x="45368" y="6480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7" name="Freeform: Shape 436">
                  <a:extLst>
                    <a:ext uri="{FF2B5EF4-FFF2-40B4-BE49-F238E27FC236}">
                      <a16:creationId xmlns:a16="http://schemas.microsoft.com/office/drawing/2014/main" id="{E9703B7C-3703-499D-B164-10AB1DDA5966}"/>
                    </a:ext>
                  </a:extLst>
                </p:cNvPr>
                <p:cNvSpPr/>
                <p:nvPr/>
              </p:nvSpPr>
              <p:spPr>
                <a:xfrm>
                  <a:off x="5467469" y="3033696"/>
                  <a:ext cx="125926" cy="81545"/>
                </a:xfrm>
                <a:custGeom>
                  <a:avLst/>
                  <a:gdLst>
                    <a:gd name="connsiteX0" fmla="*/ 120753 w 125926"/>
                    <a:gd name="connsiteY0" fmla="*/ 5825 h 81545"/>
                    <a:gd name="connsiteX1" fmla="*/ 94655 w 125926"/>
                    <a:gd name="connsiteY1" fmla="*/ 4587 h 81545"/>
                    <a:gd name="connsiteX2" fmla="*/ 61127 w 125926"/>
                    <a:gd name="connsiteY2" fmla="*/ 36115 h 81545"/>
                    <a:gd name="connsiteX3" fmla="*/ 31790 w 125926"/>
                    <a:gd name="connsiteY3" fmla="*/ 6206 h 81545"/>
                    <a:gd name="connsiteX4" fmla="*/ 5215 w 125926"/>
                    <a:gd name="connsiteY4" fmla="*/ 6016 h 81545"/>
                    <a:gd name="connsiteX5" fmla="*/ 5501 w 125926"/>
                    <a:gd name="connsiteY5" fmla="*/ 31924 h 81545"/>
                    <a:gd name="connsiteX6" fmla="*/ 49982 w 125926"/>
                    <a:gd name="connsiteY6" fmla="*/ 76406 h 81545"/>
                    <a:gd name="connsiteX7" fmla="*/ 73033 w 125926"/>
                    <a:gd name="connsiteY7" fmla="*/ 77834 h 81545"/>
                    <a:gd name="connsiteX8" fmla="*/ 88273 w 125926"/>
                    <a:gd name="connsiteY8" fmla="*/ 63928 h 81545"/>
                    <a:gd name="connsiteX9" fmla="*/ 121229 w 125926"/>
                    <a:gd name="connsiteY9" fmla="*/ 31448 h 81545"/>
                    <a:gd name="connsiteX10" fmla="*/ 120753 w 125926"/>
                    <a:gd name="connsiteY10" fmla="*/ 6016 h 81545"/>
                    <a:gd name="connsiteX11" fmla="*/ 120753 w 125926"/>
                    <a:gd name="connsiteY11" fmla="*/ 6016 h 8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6" h="81545">
                      <a:moveTo>
                        <a:pt x="120753" y="5825"/>
                      </a:moveTo>
                      <a:cubicBezTo>
                        <a:pt x="113705" y="-1318"/>
                        <a:pt x="102560" y="-2080"/>
                        <a:pt x="94655" y="4587"/>
                      </a:cubicBezTo>
                      <a:cubicBezTo>
                        <a:pt x="88368" y="9921"/>
                        <a:pt x="73128" y="24685"/>
                        <a:pt x="61127" y="36115"/>
                      </a:cubicBezTo>
                      <a:lnTo>
                        <a:pt x="31790" y="6206"/>
                      </a:lnTo>
                      <a:cubicBezTo>
                        <a:pt x="23789" y="-1414"/>
                        <a:pt x="12359" y="-1318"/>
                        <a:pt x="5215" y="6016"/>
                      </a:cubicBezTo>
                      <a:cubicBezTo>
                        <a:pt x="-1643" y="13064"/>
                        <a:pt x="-1929" y="24209"/>
                        <a:pt x="5501" y="31924"/>
                      </a:cubicBezTo>
                      <a:cubicBezTo>
                        <a:pt x="20074" y="46973"/>
                        <a:pt x="34933" y="61832"/>
                        <a:pt x="49982" y="76406"/>
                      </a:cubicBezTo>
                      <a:cubicBezTo>
                        <a:pt x="56459" y="82692"/>
                        <a:pt x="66175" y="83264"/>
                        <a:pt x="73033" y="77834"/>
                      </a:cubicBezTo>
                      <a:cubicBezTo>
                        <a:pt x="79700" y="72500"/>
                        <a:pt x="83415" y="68500"/>
                        <a:pt x="88273" y="63928"/>
                      </a:cubicBezTo>
                      <a:cubicBezTo>
                        <a:pt x="93416" y="59832"/>
                        <a:pt x="116848" y="36305"/>
                        <a:pt x="121229" y="31448"/>
                      </a:cubicBezTo>
                      <a:cubicBezTo>
                        <a:pt x="127802" y="24018"/>
                        <a:pt x="127325" y="12683"/>
                        <a:pt x="120753" y="6016"/>
                      </a:cubicBezTo>
                      <a:lnTo>
                        <a:pt x="120753" y="601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8" name="Freeform: Shape 437">
                  <a:extLst>
                    <a:ext uri="{FF2B5EF4-FFF2-40B4-BE49-F238E27FC236}">
                      <a16:creationId xmlns:a16="http://schemas.microsoft.com/office/drawing/2014/main" id="{5FFD065D-CB02-4870-B558-E57B9B053428}"/>
                    </a:ext>
                  </a:extLst>
                </p:cNvPr>
                <p:cNvSpPr/>
                <p:nvPr/>
              </p:nvSpPr>
              <p:spPr>
                <a:xfrm>
                  <a:off x="5467469" y="3154269"/>
                  <a:ext cx="125926" cy="81553"/>
                </a:xfrm>
                <a:custGeom>
                  <a:avLst/>
                  <a:gdLst>
                    <a:gd name="connsiteX0" fmla="*/ 121229 w 125926"/>
                    <a:gd name="connsiteY0" fmla="*/ 50130 h 81553"/>
                    <a:gd name="connsiteX1" fmla="*/ 88273 w 125926"/>
                    <a:gd name="connsiteY1" fmla="*/ 17650 h 81553"/>
                    <a:gd name="connsiteX2" fmla="*/ 73033 w 125926"/>
                    <a:gd name="connsiteY2" fmla="*/ 3744 h 81553"/>
                    <a:gd name="connsiteX3" fmla="*/ 49982 w 125926"/>
                    <a:gd name="connsiteY3" fmla="*/ 5172 h 81553"/>
                    <a:gd name="connsiteX4" fmla="*/ 5501 w 125926"/>
                    <a:gd name="connsiteY4" fmla="*/ 49654 h 81553"/>
                    <a:gd name="connsiteX5" fmla="*/ 5215 w 125926"/>
                    <a:gd name="connsiteY5" fmla="*/ 75562 h 81553"/>
                    <a:gd name="connsiteX6" fmla="*/ 31790 w 125926"/>
                    <a:gd name="connsiteY6" fmla="*/ 75372 h 81553"/>
                    <a:gd name="connsiteX7" fmla="*/ 61127 w 125926"/>
                    <a:gd name="connsiteY7" fmla="*/ 45368 h 81553"/>
                    <a:gd name="connsiteX8" fmla="*/ 94655 w 125926"/>
                    <a:gd name="connsiteY8" fmla="*/ 76896 h 81553"/>
                    <a:gd name="connsiteX9" fmla="*/ 120753 w 125926"/>
                    <a:gd name="connsiteY9" fmla="*/ 75657 h 81553"/>
                    <a:gd name="connsiteX10" fmla="*/ 121229 w 125926"/>
                    <a:gd name="connsiteY10" fmla="*/ 50226 h 81553"/>
                    <a:gd name="connsiteX11" fmla="*/ 121229 w 125926"/>
                    <a:gd name="connsiteY11" fmla="*/ 50226 h 8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6" h="81553">
                      <a:moveTo>
                        <a:pt x="121229" y="50130"/>
                      </a:moveTo>
                      <a:cubicBezTo>
                        <a:pt x="116848" y="45177"/>
                        <a:pt x="93416" y="21746"/>
                        <a:pt x="88273" y="17650"/>
                      </a:cubicBezTo>
                      <a:cubicBezTo>
                        <a:pt x="83415" y="13078"/>
                        <a:pt x="79700" y="9078"/>
                        <a:pt x="73033" y="3744"/>
                      </a:cubicBezTo>
                      <a:cubicBezTo>
                        <a:pt x="66175" y="-1686"/>
                        <a:pt x="56555" y="-1209"/>
                        <a:pt x="49982" y="5172"/>
                      </a:cubicBezTo>
                      <a:cubicBezTo>
                        <a:pt x="34933" y="19746"/>
                        <a:pt x="20074" y="34509"/>
                        <a:pt x="5501" y="49654"/>
                      </a:cubicBezTo>
                      <a:cubicBezTo>
                        <a:pt x="-1929" y="57369"/>
                        <a:pt x="-1643" y="68514"/>
                        <a:pt x="5215" y="75562"/>
                      </a:cubicBezTo>
                      <a:cubicBezTo>
                        <a:pt x="12359" y="82896"/>
                        <a:pt x="23789" y="82992"/>
                        <a:pt x="31790" y="75372"/>
                      </a:cubicBezTo>
                      <a:lnTo>
                        <a:pt x="61127" y="45368"/>
                      </a:lnTo>
                      <a:cubicBezTo>
                        <a:pt x="73128" y="56798"/>
                        <a:pt x="88368" y="71466"/>
                        <a:pt x="94655" y="76896"/>
                      </a:cubicBezTo>
                      <a:cubicBezTo>
                        <a:pt x="102560" y="83658"/>
                        <a:pt x="113705" y="82896"/>
                        <a:pt x="120753" y="75657"/>
                      </a:cubicBezTo>
                      <a:cubicBezTo>
                        <a:pt x="127325" y="68990"/>
                        <a:pt x="127802" y="57655"/>
                        <a:pt x="121229" y="50226"/>
                      </a:cubicBezTo>
                      <a:lnTo>
                        <a:pt x="121229" y="5022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9" name="Freeform: Shape 438">
                  <a:extLst>
                    <a:ext uri="{FF2B5EF4-FFF2-40B4-BE49-F238E27FC236}">
                      <a16:creationId xmlns:a16="http://schemas.microsoft.com/office/drawing/2014/main" id="{2A3E02AF-F76D-4A15-AC2B-83F206702815}"/>
                    </a:ext>
                  </a:extLst>
                </p:cNvPr>
                <p:cNvSpPr/>
                <p:nvPr/>
              </p:nvSpPr>
              <p:spPr>
                <a:xfrm>
                  <a:off x="5429272" y="3072580"/>
                  <a:ext cx="80650" cy="124675"/>
                </a:xfrm>
                <a:custGeom>
                  <a:avLst/>
                  <a:gdLst>
                    <a:gd name="connsiteX0" fmla="*/ 76939 w 80650"/>
                    <a:gd name="connsiteY0" fmla="*/ 52381 h 124675"/>
                    <a:gd name="connsiteX1" fmla="*/ 63128 w 80650"/>
                    <a:gd name="connsiteY1" fmla="*/ 37236 h 124675"/>
                    <a:gd name="connsiteX2" fmla="*/ 30933 w 80650"/>
                    <a:gd name="connsiteY2" fmla="*/ 4661 h 124675"/>
                    <a:gd name="connsiteX3" fmla="*/ 5787 w 80650"/>
                    <a:gd name="connsiteY3" fmla="*/ 5137 h 124675"/>
                    <a:gd name="connsiteX4" fmla="*/ 4549 w 80650"/>
                    <a:gd name="connsiteY4" fmla="*/ 30950 h 124675"/>
                    <a:gd name="connsiteX5" fmla="*/ 35696 w 80650"/>
                    <a:gd name="connsiteY5" fmla="*/ 64097 h 124675"/>
                    <a:gd name="connsiteX6" fmla="*/ 6073 w 80650"/>
                    <a:gd name="connsiteY6" fmla="*/ 93148 h 124675"/>
                    <a:gd name="connsiteX7" fmla="*/ 5883 w 80650"/>
                    <a:gd name="connsiteY7" fmla="*/ 119532 h 124675"/>
                    <a:gd name="connsiteX8" fmla="*/ 31505 w 80650"/>
                    <a:gd name="connsiteY8" fmla="*/ 119246 h 124675"/>
                    <a:gd name="connsiteX9" fmla="*/ 75510 w 80650"/>
                    <a:gd name="connsiteY9" fmla="*/ 75241 h 124675"/>
                    <a:gd name="connsiteX10" fmla="*/ 76939 w 80650"/>
                    <a:gd name="connsiteY10" fmla="*/ 52381 h 124675"/>
                    <a:gd name="connsiteX11" fmla="*/ 76939 w 80650"/>
                    <a:gd name="connsiteY11" fmla="*/ 52381 h 12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 h="124675">
                      <a:moveTo>
                        <a:pt x="76939" y="52381"/>
                      </a:moveTo>
                      <a:cubicBezTo>
                        <a:pt x="71605" y="45713"/>
                        <a:pt x="67700" y="42094"/>
                        <a:pt x="63128" y="37236"/>
                      </a:cubicBezTo>
                      <a:cubicBezTo>
                        <a:pt x="59032" y="32188"/>
                        <a:pt x="35791" y="8947"/>
                        <a:pt x="30933" y="4661"/>
                      </a:cubicBezTo>
                      <a:cubicBezTo>
                        <a:pt x="23504" y="-1816"/>
                        <a:pt x="12360" y="-1435"/>
                        <a:pt x="5787" y="5137"/>
                      </a:cubicBezTo>
                      <a:cubicBezTo>
                        <a:pt x="-1356" y="12090"/>
                        <a:pt x="-2023" y="23234"/>
                        <a:pt x="4549" y="30950"/>
                      </a:cubicBezTo>
                      <a:cubicBezTo>
                        <a:pt x="9883" y="37141"/>
                        <a:pt x="24456" y="52286"/>
                        <a:pt x="35696" y="64097"/>
                      </a:cubicBezTo>
                      <a:lnTo>
                        <a:pt x="6073" y="93148"/>
                      </a:lnTo>
                      <a:cubicBezTo>
                        <a:pt x="-1547" y="101149"/>
                        <a:pt x="-1356" y="112388"/>
                        <a:pt x="5883" y="119532"/>
                      </a:cubicBezTo>
                      <a:cubicBezTo>
                        <a:pt x="12836" y="126295"/>
                        <a:pt x="23885" y="126581"/>
                        <a:pt x="31505" y="119246"/>
                      </a:cubicBezTo>
                      <a:cubicBezTo>
                        <a:pt x="46459" y="104864"/>
                        <a:pt x="61128" y="90100"/>
                        <a:pt x="75510" y="75241"/>
                      </a:cubicBezTo>
                      <a:cubicBezTo>
                        <a:pt x="81797" y="68764"/>
                        <a:pt x="82368" y="59239"/>
                        <a:pt x="76939" y="52381"/>
                      </a:cubicBezTo>
                      <a:lnTo>
                        <a:pt x="76939" y="5238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442" name="Group 441">
              <a:extLst>
                <a:ext uri="{FF2B5EF4-FFF2-40B4-BE49-F238E27FC236}">
                  <a16:creationId xmlns:a16="http://schemas.microsoft.com/office/drawing/2014/main" id="{D8B42248-5899-44DD-B190-C54105ABECC9}"/>
                </a:ext>
              </a:extLst>
            </p:cNvPr>
            <p:cNvGrpSpPr/>
            <p:nvPr userDrawn="1"/>
          </p:nvGrpSpPr>
          <p:grpSpPr>
            <a:xfrm>
              <a:off x="6627137" y="2322553"/>
              <a:ext cx="513747" cy="200972"/>
              <a:chOff x="5734050" y="3286125"/>
              <a:chExt cx="722185" cy="282511"/>
            </a:xfrm>
          </p:grpSpPr>
          <p:sp>
            <p:nvSpPr>
              <p:cNvPr id="443" name="Freeform: Shape 442">
                <a:extLst>
                  <a:ext uri="{FF2B5EF4-FFF2-40B4-BE49-F238E27FC236}">
                    <a16:creationId xmlns:a16="http://schemas.microsoft.com/office/drawing/2014/main" id="{20C1F4EF-AC8C-48B9-9585-E4933CB73261}"/>
                  </a:ext>
                </a:extLst>
              </p:cNvPr>
              <p:cNvSpPr/>
              <p:nvPr/>
            </p:nvSpPr>
            <p:spPr>
              <a:xfrm>
                <a:off x="5824728" y="3286125"/>
                <a:ext cx="57054" cy="56959"/>
              </a:xfrm>
              <a:custGeom>
                <a:avLst/>
                <a:gdLst>
                  <a:gd name="connsiteX0" fmla="*/ 0 w 57054"/>
                  <a:gd name="connsiteY0" fmla="*/ 28480 h 56959"/>
                  <a:gd name="connsiteX1" fmla="*/ 28575 w 57054"/>
                  <a:gd name="connsiteY1" fmla="*/ 0 h 56959"/>
                  <a:gd name="connsiteX2" fmla="*/ 57055 w 57054"/>
                  <a:gd name="connsiteY2" fmla="*/ 28480 h 56959"/>
                  <a:gd name="connsiteX3" fmla="*/ 28575 w 57054"/>
                  <a:gd name="connsiteY3" fmla="*/ 56960 h 56959"/>
                  <a:gd name="connsiteX4" fmla="*/ 95 w 57054"/>
                  <a:gd name="connsiteY4" fmla="*/ 28480 h 56959"/>
                  <a:gd name="connsiteX5" fmla="*/ 95 w 57054"/>
                  <a:gd name="connsiteY5" fmla="*/ 28480 h 5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54" h="56959">
                    <a:moveTo>
                      <a:pt x="0" y="28480"/>
                    </a:moveTo>
                    <a:cubicBezTo>
                      <a:pt x="0" y="12764"/>
                      <a:pt x="12763" y="0"/>
                      <a:pt x="28575" y="0"/>
                    </a:cubicBezTo>
                    <a:cubicBezTo>
                      <a:pt x="44387" y="0"/>
                      <a:pt x="57055" y="12764"/>
                      <a:pt x="57055" y="28480"/>
                    </a:cubicBezTo>
                    <a:cubicBezTo>
                      <a:pt x="57055" y="44196"/>
                      <a:pt x="44291" y="56960"/>
                      <a:pt x="28575" y="56960"/>
                    </a:cubicBezTo>
                    <a:cubicBezTo>
                      <a:pt x="12859" y="56960"/>
                      <a:pt x="95" y="44196"/>
                      <a:pt x="95" y="28480"/>
                    </a:cubicBezTo>
                    <a:lnTo>
                      <a:pt x="95" y="2848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4" name="Freeform: Shape 443">
                <a:extLst>
                  <a:ext uri="{FF2B5EF4-FFF2-40B4-BE49-F238E27FC236}">
                    <a16:creationId xmlns:a16="http://schemas.microsoft.com/office/drawing/2014/main" id="{3024E020-72D6-48D3-B842-B2F0091FA35E}"/>
                  </a:ext>
                </a:extLst>
              </p:cNvPr>
              <p:cNvSpPr/>
              <p:nvPr/>
            </p:nvSpPr>
            <p:spPr>
              <a:xfrm>
                <a:off x="5906261" y="3363182"/>
                <a:ext cx="126015" cy="194405"/>
              </a:xfrm>
              <a:custGeom>
                <a:avLst/>
                <a:gdLst>
                  <a:gd name="connsiteX0" fmla="*/ 34576 w 126015"/>
                  <a:gd name="connsiteY0" fmla="*/ 0 h 194405"/>
                  <a:gd name="connsiteX1" fmla="*/ 34576 w 126015"/>
                  <a:gd name="connsiteY1" fmla="*/ 129254 h 194405"/>
                  <a:gd name="connsiteX2" fmla="*/ 62865 w 126015"/>
                  <a:gd name="connsiteY2" fmla="*/ 160782 h 194405"/>
                  <a:gd name="connsiteX3" fmla="*/ 91440 w 126015"/>
                  <a:gd name="connsiteY3" fmla="*/ 126682 h 194405"/>
                  <a:gd name="connsiteX4" fmla="*/ 91440 w 126015"/>
                  <a:gd name="connsiteY4" fmla="*/ 0 h 194405"/>
                  <a:gd name="connsiteX5" fmla="*/ 126016 w 126015"/>
                  <a:gd name="connsiteY5" fmla="*/ 0 h 194405"/>
                  <a:gd name="connsiteX6" fmla="*/ 126016 w 126015"/>
                  <a:gd name="connsiteY6" fmla="*/ 126206 h 194405"/>
                  <a:gd name="connsiteX7" fmla="*/ 107061 w 126015"/>
                  <a:gd name="connsiteY7" fmla="*/ 175736 h 194405"/>
                  <a:gd name="connsiteX8" fmla="*/ 63151 w 126015"/>
                  <a:gd name="connsiteY8" fmla="*/ 194405 h 194405"/>
                  <a:gd name="connsiteX9" fmla="*/ 17431 w 126015"/>
                  <a:gd name="connsiteY9" fmla="*/ 174212 h 194405"/>
                  <a:gd name="connsiteX10" fmla="*/ 0 w 126015"/>
                  <a:gd name="connsiteY10" fmla="*/ 125254 h 194405"/>
                  <a:gd name="connsiteX11" fmla="*/ 0 w 126015"/>
                  <a:gd name="connsiteY11" fmla="*/ 0 h 194405"/>
                  <a:gd name="connsiteX12" fmla="*/ 34576 w 126015"/>
                  <a:gd name="connsiteY12" fmla="*/ 0 h 19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4405">
                    <a:moveTo>
                      <a:pt x="34576" y="0"/>
                    </a:moveTo>
                    <a:lnTo>
                      <a:pt x="34576" y="129254"/>
                    </a:lnTo>
                    <a:cubicBezTo>
                      <a:pt x="34576" y="145447"/>
                      <a:pt x="45910" y="160782"/>
                      <a:pt x="62865" y="160782"/>
                    </a:cubicBezTo>
                    <a:cubicBezTo>
                      <a:pt x="80772" y="160782"/>
                      <a:pt x="91440" y="145352"/>
                      <a:pt x="91440" y="126682"/>
                    </a:cubicBezTo>
                    <a:lnTo>
                      <a:pt x="91440" y="0"/>
                    </a:lnTo>
                    <a:lnTo>
                      <a:pt x="126016" y="0"/>
                    </a:lnTo>
                    <a:lnTo>
                      <a:pt x="126016" y="126206"/>
                    </a:lnTo>
                    <a:cubicBezTo>
                      <a:pt x="126016" y="145161"/>
                      <a:pt x="120206" y="164878"/>
                      <a:pt x="107061" y="175736"/>
                    </a:cubicBezTo>
                    <a:cubicBezTo>
                      <a:pt x="94964" y="185833"/>
                      <a:pt x="81344" y="194405"/>
                      <a:pt x="63151" y="194405"/>
                    </a:cubicBezTo>
                    <a:cubicBezTo>
                      <a:pt x="43244" y="194405"/>
                      <a:pt x="26289" y="183071"/>
                      <a:pt x="17431" y="174212"/>
                    </a:cubicBezTo>
                    <a:cubicBezTo>
                      <a:pt x="3810" y="160592"/>
                      <a:pt x="0" y="143637"/>
                      <a:pt x="0" y="125254"/>
                    </a:cubicBezTo>
                    <a:lnTo>
                      <a:pt x="0" y="0"/>
                    </a:lnTo>
                    <a:lnTo>
                      <a:pt x="3457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5" name="Freeform: Shape 444">
                <a:extLst>
                  <a:ext uri="{FF2B5EF4-FFF2-40B4-BE49-F238E27FC236}">
                    <a16:creationId xmlns:a16="http://schemas.microsoft.com/office/drawing/2014/main" id="{8C8058B3-50DB-4E87-88C0-A4B1EFA9AC26}"/>
                  </a:ext>
                </a:extLst>
              </p:cNvPr>
              <p:cNvSpPr/>
              <p:nvPr/>
            </p:nvSpPr>
            <p:spPr>
              <a:xfrm>
                <a:off x="5895213" y="3352133"/>
                <a:ext cx="148018" cy="216503"/>
              </a:xfrm>
              <a:custGeom>
                <a:avLst/>
                <a:gdLst>
                  <a:gd name="connsiteX0" fmla="*/ 22098 w 148018"/>
                  <a:gd name="connsiteY0" fmla="*/ 22098 h 216503"/>
                  <a:gd name="connsiteX1" fmla="*/ 22098 w 148018"/>
                  <a:gd name="connsiteY1" fmla="*/ 136303 h 216503"/>
                  <a:gd name="connsiteX2" fmla="*/ 36290 w 148018"/>
                  <a:gd name="connsiteY2" fmla="*/ 177451 h 216503"/>
                  <a:gd name="connsiteX3" fmla="*/ 74200 w 148018"/>
                  <a:gd name="connsiteY3" fmla="*/ 194405 h 216503"/>
                  <a:gd name="connsiteX4" fmla="*/ 111062 w 148018"/>
                  <a:gd name="connsiteY4" fmla="*/ 178308 h 216503"/>
                  <a:gd name="connsiteX5" fmla="*/ 126016 w 148018"/>
                  <a:gd name="connsiteY5" fmla="*/ 137351 h 216503"/>
                  <a:gd name="connsiteX6" fmla="*/ 126016 w 148018"/>
                  <a:gd name="connsiteY6" fmla="*/ 22098 h 216503"/>
                  <a:gd name="connsiteX7" fmla="*/ 113538 w 148018"/>
                  <a:gd name="connsiteY7" fmla="*/ 22098 h 216503"/>
                  <a:gd name="connsiteX8" fmla="*/ 113538 w 148018"/>
                  <a:gd name="connsiteY8" fmla="*/ 137827 h 216503"/>
                  <a:gd name="connsiteX9" fmla="*/ 73914 w 148018"/>
                  <a:gd name="connsiteY9" fmla="*/ 182975 h 216503"/>
                  <a:gd name="connsiteX10" fmla="*/ 34576 w 148018"/>
                  <a:gd name="connsiteY10" fmla="*/ 140399 h 216503"/>
                  <a:gd name="connsiteX11" fmla="*/ 34576 w 148018"/>
                  <a:gd name="connsiteY11" fmla="*/ 22098 h 216503"/>
                  <a:gd name="connsiteX12" fmla="*/ 22098 w 148018"/>
                  <a:gd name="connsiteY12" fmla="*/ 22098 h 216503"/>
                  <a:gd name="connsiteX13" fmla="*/ 74200 w 148018"/>
                  <a:gd name="connsiteY13" fmla="*/ 216503 h 216503"/>
                  <a:gd name="connsiteX14" fmla="*/ 20669 w 148018"/>
                  <a:gd name="connsiteY14" fmla="*/ 193072 h 216503"/>
                  <a:gd name="connsiteX15" fmla="*/ 0 w 148018"/>
                  <a:gd name="connsiteY15" fmla="*/ 136303 h 216503"/>
                  <a:gd name="connsiteX16" fmla="*/ 0 w 148018"/>
                  <a:gd name="connsiteY16" fmla="*/ 0 h 216503"/>
                  <a:gd name="connsiteX17" fmla="*/ 56674 w 148018"/>
                  <a:gd name="connsiteY17" fmla="*/ 0 h 216503"/>
                  <a:gd name="connsiteX18" fmla="*/ 56674 w 148018"/>
                  <a:gd name="connsiteY18" fmla="*/ 140303 h 216503"/>
                  <a:gd name="connsiteX19" fmla="*/ 73914 w 148018"/>
                  <a:gd name="connsiteY19" fmla="*/ 160782 h 216503"/>
                  <a:gd name="connsiteX20" fmla="*/ 91345 w 148018"/>
                  <a:gd name="connsiteY20" fmla="*/ 137732 h 216503"/>
                  <a:gd name="connsiteX21" fmla="*/ 91345 w 148018"/>
                  <a:gd name="connsiteY21" fmla="*/ 0 h 216503"/>
                  <a:gd name="connsiteX22" fmla="*/ 148018 w 148018"/>
                  <a:gd name="connsiteY22" fmla="*/ 0 h 216503"/>
                  <a:gd name="connsiteX23" fmla="*/ 148018 w 148018"/>
                  <a:gd name="connsiteY23" fmla="*/ 137255 h 216503"/>
                  <a:gd name="connsiteX24" fmla="*/ 125063 w 148018"/>
                  <a:gd name="connsiteY24" fmla="*/ 195263 h 216503"/>
                  <a:gd name="connsiteX25" fmla="*/ 74105 w 148018"/>
                  <a:gd name="connsiteY25" fmla="*/ 216503 h 216503"/>
                  <a:gd name="connsiteX26" fmla="*/ 74105 w 148018"/>
                  <a:gd name="connsiteY26" fmla="*/ 216503 h 2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8018" h="216503">
                    <a:moveTo>
                      <a:pt x="22098" y="22098"/>
                    </a:moveTo>
                    <a:lnTo>
                      <a:pt x="22098" y="136303"/>
                    </a:lnTo>
                    <a:cubicBezTo>
                      <a:pt x="22098" y="154972"/>
                      <a:pt x="26480" y="167640"/>
                      <a:pt x="36290" y="177451"/>
                    </a:cubicBezTo>
                    <a:cubicBezTo>
                      <a:pt x="44482" y="185642"/>
                      <a:pt x="58769" y="194405"/>
                      <a:pt x="74200" y="194405"/>
                    </a:cubicBezTo>
                    <a:cubicBezTo>
                      <a:pt x="89630" y="194405"/>
                      <a:pt x="100965" y="186690"/>
                      <a:pt x="111062" y="178308"/>
                    </a:cubicBezTo>
                    <a:cubicBezTo>
                      <a:pt x="120396" y="170593"/>
                      <a:pt x="126016" y="155258"/>
                      <a:pt x="126016" y="137351"/>
                    </a:cubicBezTo>
                    <a:lnTo>
                      <a:pt x="126016" y="22098"/>
                    </a:lnTo>
                    <a:lnTo>
                      <a:pt x="113538" y="22098"/>
                    </a:lnTo>
                    <a:lnTo>
                      <a:pt x="113538" y="137827"/>
                    </a:lnTo>
                    <a:cubicBezTo>
                      <a:pt x="113538" y="164021"/>
                      <a:pt x="96869" y="182975"/>
                      <a:pt x="73914" y="182975"/>
                    </a:cubicBezTo>
                    <a:cubicBezTo>
                      <a:pt x="52197" y="182975"/>
                      <a:pt x="34576" y="163830"/>
                      <a:pt x="34576" y="140399"/>
                    </a:cubicBezTo>
                    <a:lnTo>
                      <a:pt x="34576" y="22098"/>
                    </a:lnTo>
                    <a:lnTo>
                      <a:pt x="22098" y="22098"/>
                    </a:lnTo>
                    <a:close/>
                    <a:moveTo>
                      <a:pt x="74200" y="216503"/>
                    </a:moveTo>
                    <a:cubicBezTo>
                      <a:pt x="46292" y="216503"/>
                      <a:pt x="26194" y="198596"/>
                      <a:pt x="20669" y="193072"/>
                    </a:cubicBezTo>
                    <a:cubicBezTo>
                      <a:pt x="2191" y="174593"/>
                      <a:pt x="0" y="151829"/>
                      <a:pt x="0" y="136303"/>
                    </a:cubicBezTo>
                    <a:lnTo>
                      <a:pt x="0" y="0"/>
                    </a:lnTo>
                    <a:lnTo>
                      <a:pt x="56674" y="0"/>
                    </a:lnTo>
                    <a:lnTo>
                      <a:pt x="56674" y="140303"/>
                    </a:lnTo>
                    <a:cubicBezTo>
                      <a:pt x="56674" y="150209"/>
                      <a:pt x="63246" y="160782"/>
                      <a:pt x="73914" y="160782"/>
                    </a:cubicBezTo>
                    <a:cubicBezTo>
                      <a:pt x="86011" y="160782"/>
                      <a:pt x="91345" y="149257"/>
                      <a:pt x="91345" y="137732"/>
                    </a:cubicBezTo>
                    <a:lnTo>
                      <a:pt x="91345" y="0"/>
                    </a:lnTo>
                    <a:lnTo>
                      <a:pt x="148018" y="0"/>
                    </a:lnTo>
                    <a:lnTo>
                      <a:pt x="148018" y="137255"/>
                    </a:lnTo>
                    <a:cubicBezTo>
                      <a:pt x="148018" y="162020"/>
                      <a:pt x="139637" y="183166"/>
                      <a:pt x="125063" y="195263"/>
                    </a:cubicBezTo>
                    <a:cubicBezTo>
                      <a:pt x="113252" y="205169"/>
                      <a:pt x="96679" y="216503"/>
                      <a:pt x="74105" y="216503"/>
                    </a:cubicBezTo>
                    <a:lnTo>
                      <a:pt x="74105" y="2165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6" name="Freeform: Shape 445">
                <a:extLst>
                  <a:ext uri="{FF2B5EF4-FFF2-40B4-BE49-F238E27FC236}">
                    <a16:creationId xmlns:a16="http://schemas.microsoft.com/office/drawing/2014/main" id="{50D23BE4-4A34-42D1-A603-26090FFD5032}"/>
                  </a:ext>
                </a:extLst>
              </p:cNvPr>
              <p:cNvSpPr/>
              <p:nvPr/>
            </p:nvSpPr>
            <p:spPr>
              <a:xfrm>
                <a:off x="5745098" y="3363182"/>
                <a:ext cx="126015" cy="194405"/>
              </a:xfrm>
              <a:custGeom>
                <a:avLst/>
                <a:gdLst>
                  <a:gd name="connsiteX0" fmla="*/ 34576 w 126015"/>
                  <a:gd name="connsiteY0" fmla="*/ 123254 h 194405"/>
                  <a:gd name="connsiteX1" fmla="*/ 34576 w 126015"/>
                  <a:gd name="connsiteY1" fmla="*/ 129254 h 194405"/>
                  <a:gd name="connsiteX2" fmla="*/ 62865 w 126015"/>
                  <a:gd name="connsiteY2" fmla="*/ 160782 h 194405"/>
                  <a:gd name="connsiteX3" fmla="*/ 91440 w 126015"/>
                  <a:gd name="connsiteY3" fmla="*/ 126682 h 194405"/>
                  <a:gd name="connsiteX4" fmla="*/ 91440 w 126015"/>
                  <a:gd name="connsiteY4" fmla="*/ 0 h 194405"/>
                  <a:gd name="connsiteX5" fmla="*/ 126016 w 126015"/>
                  <a:gd name="connsiteY5" fmla="*/ 0 h 194405"/>
                  <a:gd name="connsiteX6" fmla="*/ 126016 w 126015"/>
                  <a:gd name="connsiteY6" fmla="*/ 126206 h 194405"/>
                  <a:gd name="connsiteX7" fmla="*/ 107061 w 126015"/>
                  <a:gd name="connsiteY7" fmla="*/ 175736 h 194405"/>
                  <a:gd name="connsiteX8" fmla="*/ 63151 w 126015"/>
                  <a:gd name="connsiteY8" fmla="*/ 194405 h 194405"/>
                  <a:gd name="connsiteX9" fmla="*/ 17431 w 126015"/>
                  <a:gd name="connsiteY9" fmla="*/ 174212 h 194405"/>
                  <a:gd name="connsiteX10" fmla="*/ 0 w 126015"/>
                  <a:gd name="connsiteY10" fmla="*/ 125254 h 194405"/>
                  <a:gd name="connsiteX11" fmla="*/ 0 w 126015"/>
                  <a:gd name="connsiteY11" fmla="*/ 123254 h 194405"/>
                  <a:gd name="connsiteX12" fmla="*/ 34576 w 126015"/>
                  <a:gd name="connsiteY12" fmla="*/ 123254 h 19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4405">
                    <a:moveTo>
                      <a:pt x="34576" y="123254"/>
                    </a:moveTo>
                    <a:lnTo>
                      <a:pt x="34576" y="129254"/>
                    </a:lnTo>
                    <a:cubicBezTo>
                      <a:pt x="34576" y="145447"/>
                      <a:pt x="45911" y="160782"/>
                      <a:pt x="62865" y="160782"/>
                    </a:cubicBezTo>
                    <a:cubicBezTo>
                      <a:pt x="80772" y="160782"/>
                      <a:pt x="91440" y="145352"/>
                      <a:pt x="91440" y="126682"/>
                    </a:cubicBezTo>
                    <a:lnTo>
                      <a:pt x="91440" y="0"/>
                    </a:lnTo>
                    <a:lnTo>
                      <a:pt x="126016" y="0"/>
                    </a:lnTo>
                    <a:lnTo>
                      <a:pt x="126016" y="126206"/>
                    </a:lnTo>
                    <a:cubicBezTo>
                      <a:pt x="126016" y="145161"/>
                      <a:pt x="120206" y="164878"/>
                      <a:pt x="107061" y="175736"/>
                    </a:cubicBezTo>
                    <a:cubicBezTo>
                      <a:pt x="94964" y="185833"/>
                      <a:pt x="81344" y="194405"/>
                      <a:pt x="63151" y="194405"/>
                    </a:cubicBezTo>
                    <a:cubicBezTo>
                      <a:pt x="43244" y="194405"/>
                      <a:pt x="26289" y="183071"/>
                      <a:pt x="17431" y="174212"/>
                    </a:cubicBezTo>
                    <a:cubicBezTo>
                      <a:pt x="3810" y="160592"/>
                      <a:pt x="0" y="143637"/>
                      <a:pt x="0" y="125254"/>
                    </a:cubicBezTo>
                    <a:lnTo>
                      <a:pt x="0" y="123254"/>
                    </a:lnTo>
                    <a:lnTo>
                      <a:pt x="34576" y="12325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7" name="Freeform: Shape 446">
                <a:extLst>
                  <a:ext uri="{FF2B5EF4-FFF2-40B4-BE49-F238E27FC236}">
                    <a16:creationId xmlns:a16="http://schemas.microsoft.com/office/drawing/2014/main" id="{24590082-8CA0-4A6F-9001-CFCACA158BEF}"/>
                  </a:ext>
                </a:extLst>
              </p:cNvPr>
              <p:cNvSpPr/>
              <p:nvPr/>
            </p:nvSpPr>
            <p:spPr>
              <a:xfrm>
                <a:off x="5734050" y="3352133"/>
                <a:ext cx="148018" cy="216503"/>
              </a:xfrm>
              <a:custGeom>
                <a:avLst/>
                <a:gdLst>
                  <a:gd name="connsiteX0" fmla="*/ 22479 w 148018"/>
                  <a:gd name="connsiteY0" fmla="*/ 145352 h 216503"/>
                  <a:gd name="connsiteX1" fmla="*/ 36290 w 148018"/>
                  <a:gd name="connsiteY1" fmla="*/ 177451 h 216503"/>
                  <a:gd name="connsiteX2" fmla="*/ 74200 w 148018"/>
                  <a:gd name="connsiteY2" fmla="*/ 194405 h 216503"/>
                  <a:gd name="connsiteX3" fmla="*/ 111062 w 148018"/>
                  <a:gd name="connsiteY3" fmla="*/ 178308 h 216503"/>
                  <a:gd name="connsiteX4" fmla="*/ 126016 w 148018"/>
                  <a:gd name="connsiteY4" fmla="*/ 137351 h 216503"/>
                  <a:gd name="connsiteX5" fmla="*/ 126016 w 148018"/>
                  <a:gd name="connsiteY5" fmla="*/ 22098 h 216503"/>
                  <a:gd name="connsiteX6" fmla="*/ 113538 w 148018"/>
                  <a:gd name="connsiteY6" fmla="*/ 22098 h 216503"/>
                  <a:gd name="connsiteX7" fmla="*/ 113538 w 148018"/>
                  <a:gd name="connsiteY7" fmla="*/ 137827 h 216503"/>
                  <a:gd name="connsiteX8" fmla="*/ 73914 w 148018"/>
                  <a:gd name="connsiteY8" fmla="*/ 182975 h 216503"/>
                  <a:gd name="connsiteX9" fmla="*/ 34862 w 148018"/>
                  <a:gd name="connsiteY9" fmla="*/ 145447 h 216503"/>
                  <a:gd name="connsiteX10" fmla="*/ 22479 w 148018"/>
                  <a:gd name="connsiteY10" fmla="*/ 145447 h 216503"/>
                  <a:gd name="connsiteX11" fmla="*/ 74200 w 148018"/>
                  <a:gd name="connsiteY11" fmla="*/ 216503 h 216503"/>
                  <a:gd name="connsiteX12" fmla="*/ 20669 w 148018"/>
                  <a:gd name="connsiteY12" fmla="*/ 193072 h 216503"/>
                  <a:gd name="connsiteX13" fmla="*/ 0 w 148018"/>
                  <a:gd name="connsiteY13" fmla="*/ 136303 h 216503"/>
                  <a:gd name="connsiteX14" fmla="*/ 0 w 148018"/>
                  <a:gd name="connsiteY14" fmla="*/ 123254 h 216503"/>
                  <a:gd name="connsiteX15" fmla="*/ 56674 w 148018"/>
                  <a:gd name="connsiteY15" fmla="*/ 123254 h 216503"/>
                  <a:gd name="connsiteX16" fmla="*/ 56674 w 148018"/>
                  <a:gd name="connsiteY16" fmla="*/ 140303 h 216503"/>
                  <a:gd name="connsiteX17" fmla="*/ 73914 w 148018"/>
                  <a:gd name="connsiteY17" fmla="*/ 160782 h 216503"/>
                  <a:gd name="connsiteX18" fmla="*/ 91345 w 148018"/>
                  <a:gd name="connsiteY18" fmla="*/ 137732 h 216503"/>
                  <a:gd name="connsiteX19" fmla="*/ 91345 w 148018"/>
                  <a:gd name="connsiteY19" fmla="*/ 0 h 216503"/>
                  <a:gd name="connsiteX20" fmla="*/ 148019 w 148018"/>
                  <a:gd name="connsiteY20" fmla="*/ 0 h 216503"/>
                  <a:gd name="connsiteX21" fmla="*/ 148019 w 148018"/>
                  <a:gd name="connsiteY21" fmla="*/ 137255 h 216503"/>
                  <a:gd name="connsiteX22" fmla="*/ 125063 w 148018"/>
                  <a:gd name="connsiteY22" fmla="*/ 195263 h 216503"/>
                  <a:gd name="connsiteX23" fmla="*/ 74105 w 148018"/>
                  <a:gd name="connsiteY23" fmla="*/ 216503 h 216503"/>
                  <a:gd name="connsiteX24" fmla="*/ 74105 w 148018"/>
                  <a:gd name="connsiteY24" fmla="*/ 216503 h 2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8018" h="216503">
                    <a:moveTo>
                      <a:pt x="22479" y="145352"/>
                    </a:moveTo>
                    <a:cubicBezTo>
                      <a:pt x="23717" y="159163"/>
                      <a:pt x="28099" y="169259"/>
                      <a:pt x="36290" y="177451"/>
                    </a:cubicBezTo>
                    <a:cubicBezTo>
                      <a:pt x="44482" y="185642"/>
                      <a:pt x="58769" y="194405"/>
                      <a:pt x="74200" y="194405"/>
                    </a:cubicBezTo>
                    <a:cubicBezTo>
                      <a:pt x="89630" y="194405"/>
                      <a:pt x="101060" y="186690"/>
                      <a:pt x="111062" y="178308"/>
                    </a:cubicBezTo>
                    <a:cubicBezTo>
                      <a:pt x="120396" y="170593"/>
                      <a:pt x="126016" y="155258"/>
                      <a:pt x="126016" y="137351"/>
                    </a:cubicBezTo>
                    <a:lnTo>
                      <a:pt x="126016" y="22098"/>
                    </a:lnTo>
                    <a:lnTo>
                      <a:pt x="113538" y="22098"/>
                    </a:lnTo>
                    <a:lnTo>
                      <a:pt x="113538" y="137827"/>
                    </a:lnTo>
                    <a:cubicBezTo>
                      <a:pt x="113538" y="164021"/>
                      <a:pt x="96869" y="182975"/>
                      <a:pt x="73914" y="182975"/>
                    </a:cubicBezTo>
                    <a:cubicBezTo>
                      <a:pt x="53816" y="182975"/>
                      <a:pt x="37148" y="166497"/>
                      <a:pt x="34862" y="145447"/>
                    </a:cubicBezTo>
                    <a:lnTo>
                      <a:pt x="22479" y="145447"/>
                    </a:lnTo>
                    <a:close/>
                    <a:moveTo>
                      <a:pt x="74200" y="216503"/>
                    </a:moveTo>
                    <a:cubicBezTo>
                      <a:pt x="46292" y="216503"/>
                      <a:pt x="26194" y="198596"/>
                      <a:pt x="20669" y="193072"/>
                    </a:cubicBezTo>
                    <a:cubicBezTo>
                      <a:pt x="2191" y="174593"/>
                      <a:pt x="0" y="151829"/>
                      <a:pt x="0" y="136303"/>
                    </a:cubicBezTo>
                    <a:lnTo>
                      <a:pt x="0" y="123254"/>
                    </a:lnTo>
                    <a:lnTo>
                      <a:pt x="56674" y="123254"/>
                    </a:lnTo>
                    <a:lnTo>
                      <a:pt x="56674" y="140303"/>
                    </a:lnTo>
                    <a:cubicBezTo>
                      <a:pt x="56674" y="150209"/>
                      <a:pt x="63246" y="160782"/>
                      <a:pt x="73914" y="160782"/>
                    </a:cubicBezTo>
                    <a:cubicBezTo>
                      <a:pt x="86011" y="160782"/>
                      <a:pt x="91345" y="149257"/>
                      <a:pt x="91345" y="137732"/>
                    </a:cubicBezTo>
                    <a:lnTo>
                      <a:pt x="91345" y="0"/>
                    </a:lnTo>
                    <a:lnTo>
                      <a:pt x="148019" y="0"/>
                    </a:lnTo>
                    <a:lnTo>
                      <a:pt x="148019" y="137255"/>
                    </a:lnTo>
                    <a:cubicBezTo>
                      <a:pt x="148019" y="162020"/>
                      <a:pt x="139637" y="183166"/>
                      <a:pt x="125063" y="195263"/>
                    </a:cubicBezTo>
                    <a:cubicBezTo>
                      <a:pt x="113252" y="205169"/>
                      <a:pt x="96679" y="216503"/>
                      <a:pt x="74105" y="216503"/>
                    </a:cubicBezTo>
                    <a:lnTo>
                      <a:pt x="74105" y="2165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F779DD45-4261-4E17-968C-72EC70B4DEEE}"/>
                  </a:ext>
                </a:extLst>
              </p:cNvPr>
              <p:cNvSpPr/>
              <p:nvPr/>
            </p:nvSpPr>
            <p:spPr>
              <a:xfrm>
                <a:off x="6065996" y="3362515"/>
                <a:ext cx="126015" cy="195071"/>
              </a:xfrm>
              <a:custGeom>
                <a:avLst/>
                <a:gdLst>
                  <a:gd name="connsiteX0" fmla="*/ 91440 w 126015"/>
                  <a:gd name="connsiteY0" fmla="*/ 195072 h 195071"/>
                  <a:gd name="connsiteX1" fmla="*/ 91440 w 126015"/>
                  <a:gd name="connsiteY1" fmla="*/ 65151 h 195071"/>
                  <a:gd name="connsiteX2" fmla="*/ 63151 w 126015"/>
                  <a:gd name="connsiteY2" fmla="*/ 33623 h 195071"/>
                  <a:gd name="connsiteX3" fmla="*/ 34576 w 126015"/>
                  <a:gd name="connsiteY3" fmla="*/ 67723 h 195071"/>
                  <a:gd name="connsiteX4" fmla="*/ 34576 w 126015"/>
                  <a:gd name="connsiteY4" fmla="*/ 195072 h 195071"/>
                  <a:gd name="connsiteX5" fmla="*/ 0 w 126015"/>
                  <a:gd name="connsiteY5" fmla="*/ 195072 h 195071"/>
                  <a:gd name="connsiteX6" fmla="*/ 0 w 126015"/>
                  <a:gd name="connsiteY6" fmla="*/ 68199 h 195071"/>
                  <a:gd name="connsiteX7" fmla="*/ 18955 w 126015"/>
                  <a:gd name="connsiteY7" fmla="*/ 18669 h 195071"/>
                  <a:gd name="connsiteX8" fmla="*/ 62865 w 126015"/>
                  <a:gd name="connsiteY8" fmla="*/ 0 h 195071"/>
                  <a:gd name="connsiteX9" fmla="*/ 108585 w 126015"/>
                  <a:gd name="connsiteY9" fmla="*/ 20193 h 195071"/>
                  <a:gd name="connsiteX10" fmla="*/ 126016 w 126015"/>
                  <a:gd name="connsiteY10" fmla="*/ 69151 h 195071"/>
                  <a:gd name="connsiteX11" fmla="*/ 126016 w 126015"/>
                  <a:gd name="connsiteY11" fmla="*/ 194977 h 195071"/>
                  <a:gd name="connsiteX12" fmla="*/ 91440 w 126015"/>
                  <a:gd name="connsiteY12" fmla="*/ 194977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5071">
                    <a:moveTo>
                      <a:pt x="91440" y="195072"/>
                    </a:moveTo>
                    <a:lnTo>
                      <a:pt x="91440" y="65151"/>
                    </a:lnTo>
                    <a:cubicBezTo>
                      <a:pt x="91440" y="48958"/>
                      <a:pt x="80105" y="33623"/>
                      <a:pt x="63151" y="33623"/>
                    </a:cubicBezTo>
                    <a:cubicBezTo>
                      <a:pt x="45244" y="33623"/>
                      <a:pt x="34576" y="49054"/>
                      <a:pt x="34576" y="67723"/>
                    </a:cubicBezTo>
                    <a:lnTo>
                      <a:pt x="34576" y="195072"/>
                    </a:lnTo>
                    <a:lnTo>
                      <a:pt x="0" y="195072"/>
                    </a:lnTo>
                    <a:lnTo>
                      <a:pt x="0" y="68199"/>
                    </a:lnTo>
                    <a:cubicBezTo>
                      <a:pt x="0" y="49244"/>
                      <a:pt x="5810" y="29527"/>
                      <a:pt x="18955" y="18669"/>
                    </a:cubicBezTo>
                    <a:cubicBezTo>
                      <a:pt x="31052" y="8572"/>
                      <a:pt x="44672" y="0"/>
                      <a:pt x="62865" y="0"/>
                    </a:cubicBezTo>
                    <a:cubicBezTo>
                      <a:pt x="82772" y="0"/>
                      <a:pt x="99727" y="11335"/>
                      <a:pt x="108585" y="20193"/>
                    </a:cubicBezTo>
                    <a:cubicBezTo>
                      <a:pt x="122206" y="33814"/>
                      <a:pt x="126016" y="50768"/>
                      <a:pt x="126016" y="69151"/>
                    </a:cubicBezTo>
                    <a:lnTo>
                      <a:pt x="126016" y="194977"/>
                    </a:lnTo>
                    <a:lnTo>
                      <a:pt x="91440" y="19497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9" name="Freeform: Shape 448">
                <a:extLst>
                  <a:ext uri="{FF2B5EF4-FFF2-40B4-BE49-F238E27FC236}">
                    <a16:creationId xmlns:a16="http://schemas.microsoft.com/office/drawing/2014/main" id="{25A28CDA-A81D-4871-9C06-3A6BB0A8DF43}"/>
                  </a:ext>
                </a:extLst>
              </p:cNvPr>
              <p:cNvSpPr/>
              <p:nvPr/>
            </p:nvSpPr>
            <p:spPr>
              <a:xfrm>
                <a:off x="6054947" y="3351466"/>
                <a:ext cx="148113" cy="217169"/>
              </a:xfrm>
              <a:custGeom>
                <a:avLst/>
                <a:gdLst>
                  <a:gd name="connsiteX0" fmla="*/ 113538 w 148113"/>
                  <a:gd name="connsiteY0" fmla="*/ 195072 h 217169"/>
                  <a:gd name="connsiteX1" fmla="*/ 126016 w 148113"/>
                  <a:gd name="connsiteY1" fmla="*/ 195072 h 217169"/>
                  <a:gd name="connsiteX2" fmla="*/ 126016 w 148113"/>
                  <a:gd name="connsiteY2" fmla="*/ 80296 h 217169"/>
                  <a:gd name="connsiteX3" fmla="*/ 111824 w 148113"/>
                  <a:gd name="connsiteY3" fmla="*/ 39148 h 217169"/>
                  <a:gd name="connsiteX4" fmla="*/ 73914 w 148113"/>
                  <a:gd name="connsiteY4" fmla="*/ 22193 h 217169"/>
                  <a:gd name="connsiteX5" fmla="*/ 37052 w 148113"/>
                  <a:gd name="connsiteY5" fmla="*/ 38291 h 217169"/>
                  <a:gd name="connsiteX6" fmla="*/ 22098 w 148113"/>
                  <a:gd name="connsiteY6" fmla="*/ 79248 h 217169"/>
                  <a:gd name="connsiteX7" fmla="*/ 22098 w 148113"/>
                  <a:gd name="connsiteY7" fmla="*/ 194977 h 217169"/>
                  <a:gd name="connsiteX8" fmla="*/ 34576 w 148113"/>
                  <a:gd name="connsiteY8" fmla="*/ 194977 h 217169"/>
                  <a:gd name="connsiteX9" fmla="*/ 34576 w 148113"/>
                  <a:gd name="connsiteY9" fmla="*/ 78772 h 217169"/>
                  <a:gd name="connsiteX10" fmla="*/ 74200 w 148113"/>
                  <a:gd name="connsiteY10" fmla="*/ 33623 h 217169"/>
                  <a:gd name="connsiteX11" fmla="*/ 113538 w 148113"/>
                  <a:gd name="connsiteY11" fmla="*/ 76200 h 217169"/>
                  <a:gd name="connsiteX12" fmla="*/ 113538 w 148113"/>
                  <a:gd name="connsiteY12" fmla="*/ 194977 h 217169"/>
                  <a:gd name="connsiteX13" fmla="*/ 113538 w 148113"/>
                  <a:gd name="connsiteY13" fmla="*/ 194977 h 217169"/>
                  <a:gd name="connsiteX14" fmla="*/ 148114 w 148113"/>
                  <a:gd name="connsiteY14" fmla="*/ 217170 h 217169"/>
                  <a:gd name="connsiteX15" fmla="*/ 91440 w 148113"/>
                  <a:gd name="connsiteY15" fmla="*/ 217170 h 217169"/>
                  <a:gd name="connsiteX16" fmla="*/ 91440 w 148113"/>
                  <a:gd name="connsiteY16" fmla="*/ 76200 h 217169"/>
                  <a:gd name="connsiteX17" fmla="*/ 74200 w 148113"/>
                  <a:gd name="connsiteY17" fmla="*/ 55721 h 217169"/>
                  <a:gd name="connsiteX18" fmla="*/ 56674 w 148113"/>
                  <a:gd name="connsiteY18" fmla="*/ 78772 h 217169"/>
                  <a:gd name="connsiteX19" fmla="*/ 56674 w 148113"/>
                  <a:gd name="connsiteY19" fmla="*/ 217170 h 217169"/>
                  <a:gd name="connsiteX20" fmla="*/ 0 w 148113"/>
                  <a:gd name="connsiteY20" fmla="*/ 217170 h 217169"/>
                  <a:gd name="connsiteX21" fmla="*/ 0 w 148113"/>
                  <a:gd name="connsiteY21" fmla="*/ 79248 h 217169"/>
                  <a:gd name="connsiteX22" fmla="*/ 22955 w 148113"/>
                  <a:gd name="connsiteY22" fmla="*/ 21241 h 217169"/>
                  <a:gd name="connsiteX23" fmla="*/ 73914 w 148113"/>
                  <a:gd name="connsiteY23" fmla="*/ 0 h 217169"/>
                  <a:gd name="connsiteX24" fmla="*/ 127445 w 148113"/>
                  <a:gd name="connsiteY24" fmla="*/ 23431 h 217169"/>
                  <a:gd name="connsiteX25" fmla="*/ 148114 w 148113"/>
                  <a:gd name="connsiteY25" fmla="*/ 80201 h 217169"/>
                  <a:gd name="connsiteX26" fmla="*/ 148114 w 148113"/>
                  <a:gd name="connsiteY26" fmla="*/ 217075 h 217169"/>
                  <a:gd name="connsiteX27" fmla="*/ 148114 w 148113"/>
                  <a:gd name="connsiteY27" fmla="*/ 217075 h 21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113" h="217169">
                    <a:moveTo>
                      <a:pt x="113538" y="195072"/>
                    </a:moveTo>
                    <a:lnTo>
                      <a:pt x="126016" y="195072"/>
                    </a:lnTo>
                    <a:lnTo>
                      <a:pt x="126016" y="80296"/>
                    </a:lnTo>
                    <a:cubicBezTo>
                      <a:pt x="126016" y="61627"/>
                      <a:pt x="121634" y="48959"/>
                      <a:pt x="111824" y="39148"/>
                    </a:cubicBezTo>
                    <a:cubicBezTo>
                      <a:pt x="103632" y="30956"/>
                      <a:pt x="89345" y="22193"/>
                      <a:pt x="73914" y="22193"/>
                    </a:cubicBezTo>
                    <a:cubicBezTo>
                      <a:pt x="58484" y="22193"/>
                      <a:pt x="47054" y="29908"/>
                      <a:pt x="37052" y="38291"/>
                    </a:cubicBezTo>
                    <a:cubicBezTo>
                      <a:pt x="27718" y="46006"/>
                      <a:pt x="22098" y="61341"/>
                      <a:pt x="22098" y="79248"/>
                    </a:cubicBezTo>
                    <a:lnTo>
                      <a:pt x="22098" y="194977"/>
                    </a:lnTo>
                    <a:lnTo>
                      <a:pt x="34576" y="194977"/>
                    </a:lnTo>
                    <a:lnTo>
                      <a:pt x="34576" y="78772"/>
                    </a:lnTo>
                    <a:cubicBezTo>
                      <a:pt x="34576" y="52578"/>
                      <a:pt x="51245" y="33623"/>
                      <a:pt x="74200" y="33623"/>
                    </a:cubicBezTo>
                    <a:cubicBezTo>
                      <a:pt x="95917" y="33623"/>
                      <a:pt x="113538" y="52768"/>
                      <a:pt x="113538" y="76200"/>
                    </a:cubicBezTo>
                    <a:lnTo>
                      <a:pt x="113538" y="194977"/>
                    </a:lnTo>
                    <a:lnTo>
                      <a:pt x="113538" y="194977"/>
                    </a:lnTo>
                    <a:close/>
                    <a:moveTo>
                      <a:pt x="148114" y="217170"/>
                    </a:moveTo>
                    <a:lnTo>
                      <a:pt x="91440" y="217170"/>
                    </a:lnTo>
                    <a:lnTo>
                      <a:pt x="91440" y="76200"/>
                    </a:lnTo>
                    <a:cubicBezTo>
                      <a:pt x="91440" y="66294"/>
                      <a:pt x="84868" y="55721"/>
                      <a:pt x="74200" y="55721"/>
                    </a:cubicBezTo>
                    <a:cubicBezTo>
                      <a:pt x="62103" y="55721"/>
                      <a:pt x="56674" y="67247"/>
                      <a:pt x="56674" y="78772"/>
                    </a:cubicBezTo>
                    <a:lnTo>
                      <a:pt x="56674" y="217170"/>
                    </a:lnTo>
                    <a:lnTo>
                      <a:pt x="0" y="217170"/>
                    </a:lnTo>
                    <a:lnTo>
                      <a:pt x="0" y="79248"/>
                    </a:lnTo>
                    <a:cubicBezTo>
                      <a:pt x="0" y="54483"/>
                      <a:pt x="8382" y="33337"/>
                      <a:pt x="22955" y="21241"/>
                    </a:cubicBezTo>
                    <a:cubicBezTo>
                      <a:pt x="34766" y="11335"/>
                      <a:pt x="51340" y="0"/>
                      <a:pt x="73914" y="0"/>
                    </a:cubicBezTo>
                    <a:cubicBezTo>
                      <a:pt x="101822" y="0"/>
                      <a:pt x="121920" y="17907"/>
                      <a:pt x="127445" y="23431"/>
                    </a:cubicBezTo>
                    <a:cubicBezTo>
                      <a:pt x="145923" y="41910"/>
                      <a:pt x="148114" y="64675"/>
                      <a:pt x="148114" y="80201"/>
                    </a:cubicBezTo>
                    <a:lnTo>
                      <a:pt x="148114" y="217075"/>
                    </a:lnTo>
                    <a:lnTo>
                      <a:pt x="148114" y="21707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0" name="Freeform: Shape 449">
                <a:extLst>
                  <a:ext uri="{FF2B5EF4-FFF2-40B4-BE49-F238E27FC236}">
                    <a16:creationId xmlns:a16="http://schemas.microsoft.com/office/drawing/2014/main" id="{BC90179F-C0C6-4D57-BA03-FECE80478B8E}"/>
                  </a:ext>
                </a:extLst>
              </p:cNvPr>
              <p:cNvSpPr/>
              <p:nvPr/>
            </p:nvSpPr>
            <p:spPr>
              <a:xfrm>
                <a:off x="6224396" y="3362896"/>
                <a:ext cx="194500" cy="194690"/>
              </a:xfrm>
              <a:custGeom>
                <a:avLst/>
                <a:gdLst>
                  <a:gd name="connsiteX0" fmla="*/ 34671 w 194500"/>
                  <a:gd name="connsiteY0" fmla="*/ 96964 h 194690"/>
                  <a:gd name="connsiteX1" fmla="*/ 97536 w 194500"/>
                  <a:gd name="connsiteY1" fmla="*/ 161068 h 194690"/>
                  <a:gd name="connsiteX2" fmla="*/ 159925 w 194500"/>
                  <a:gd name="connsiteY2" fmla="*/ 96679 h 194690"/>
                  <a:gd name="connsiteX3" fmla="*/ 97346 w 194500"/>
                  <a:gd name="connsiteY3" fmla="*/ 33528 h 194690"/>
                  <a:gd name="connsiteX4" fmla="*/ 34766 w 194500"/>
                  <a:gd name="connsiteY4" fmla="*/ 96869 h 194690"/>
                  <a:gd name="connsiteX5" fmla="*/ 34766 w 194500"/>
                  <a:gd name="connsiteY5" fmla="*/ 96869 h 194690"/>
                  <a:gd name="connsiteX6" fmla="*/ 194501 w 194500"/>
                  <a:gd name="connsiteY6" fmla="*/ 97441 h 194690"/>
                  <a:gd name="connsiteX7" fmla="*/ 97250 w 194500"/>
                  <a:gd name="connsiteY7" fmla="*/ 194691 h 194690"/>
                  <a:gd name="connsiteX8" fmla="*/ 0 w 194500"/>
                  <a:gd name="connsiteY8" fmla="*/ 97726 h 194690"/>
                  <a:gd name="connsiteX9" fmla="*/ 97250 w 194500"/>
                  <a:gd name="connsiteY9" fmla="*/ 0 h 194690"/>
                  <a:gd name="connsiteX10" fmla="*/ 194501 w 194500"/>
                  <a:gd name="connsiteY10" fmla="*/ 97441 h 194690"/>
                  <a:gd name="connsiteX11" fmla="*/ 194501 w 194500"/>
                  <a:gd name="connsiteY11" fmla="*/ 97441 h 1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500" h="194690">
                    <a:moveTo>
                      <a:pt x="34671" y="96964"/>
                    </a:moveTo>
                    <a:cubicBezTo>
                      <a:pt x="34671" y="131540"/>
                      <a:pt x="62960" y="161068"/>
                      <a:pt x="97536" y="161068"/>
                    </a:cubicBezTo>
                    <a:cubicBezTo>
                      <a:pt x="132112" y="161068"/>
                      <a:pt x="159925" y="131255"/>
                      <a:pt x="159925" y="96679"/>
                    </a:cubicBezTo>
                    <a:cubicBezTo>
                      <a:pt x="159925" y="62103"/>
                      <a:pt x="132683" y="33528"/>
                      <a:pt x="97346" y="33528"/>
                    </a:cubicBezTo>
                    <a:cubicBezTo>
                      <a:pt x="62008" y="33528"/>
                      <a:pt x="34766" y="62294"/>
                      <a:pt x="34766" y="96869"/>
                    </a:cubicBezTo>
                    <a:lnTo>
                      <a:pt x="34766" y="96869"/>
                    </a:lnTo>
                    <a:close/>
                    <a:moveTo>
                      <a:pt x="194501" y="97441"/>
                    </a:moveTo>
                    <a:cubicBezTo>
                      <a:pt x="194501" y="150495"/>
                      <a:pt x="151543" y="194691"/>
                      <a:pt x="97250" y="194691"/>
                    </a:cubicBezTo>
                    <a:cubicBezTo>
                      <a:pt x="42958" y="194691"/>
                      <a:pt x="0" y="150781"/>
                      <a:pt x="0" y="97726"/>
                    </a:cubicBezTo>
                    <a:cubicBezTo>
                      <a:pt x="0" y="44672"/>
                      <a:pt x="42386" y="0"/>
                      <a:pt x="97250" y="0"/>
                    </a:cubicBezTo>
                    <a:cubicBezTo>
                      <a:pt x="152114" y="0"/>
                      <a:pt x="194501" y="44482"/>
                      <a:pt x="194501" y="97441"/>
                    </a:cubicBezTo>
                    <a:lnTo>
                      <a:pt x="194501" y="9744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E5162346-3049-407A-B668-1BEE064C841C}"/>
                  </a:ext>
                </a:extLst>
              </p:cNvPr>
              <p:cNvSpPr/>
              <p:nvPr/>
            </p:nvSpPr>
            <p:spPr>
              <a:xfrm>
                <a:off x="6213347" y="3351847"/>
                <a:ext cx="216598" cy="216788"/>
              </a:xfrm>
              <a:custGeom>
                <a:avLst/>
                <a:gdLst>
                  <a:gd name="connsiteX0" fmla="*/ 108299 w 216598"/>
                  <a:gd name="connsiteY0" fmla="*/ 22098 h 216788"/>
                  <a:gd name="connsiteX1" fmla="*/ 22098 w 216598"/>
                  <a:gd name="connsiteY1" fmla="*/ 108776 h 216788"/>
                  <a:gd name="connsiteX2" fmla="*/ 108299 w 216598"/>
                  <a:gd name="connsiteY2" fmla="*/ 194691 h 216788"/>
                  <a:gd name="connsiteX3" fmla="*/ 194500 w 216598"/>
                  <a:gd name="connsiteY3" fmla="*/ 108490 h 216788"/>
                  <a:gd name="connsiteX4" fmla="*/ 108299 w 216598"/>
                  <a:gd name="connsiteY4" fmla="*/ 22098 h 216788"/>
                  <a:gd name="connsiteX5" fmla="*/ 108299 w 216598"/>
                  <a:gd name="connsiteY5" fmla="*/ 22098 h 216788"/>
                  <a:gd name="connsiteX6" fmla="*/ 108299 w 216598"/>
                  <a:gd name="connsiteY6" fmla="*/ 216789 h 216788"/>
                  <a:gd name="connsiteX7" fmla="*/ 0 w 216598"/>
                  <a:gd name="connsiteY7" fmla="*/ 108776 h 216788"/>
                  <a:gd name="connsiteX8" fmla="*/ 108299 w 216598"/>
                  <a:gd name="connsiteY8" fmla="*/ 0 h 216788"/>
                  <a:gd name="connsiteX9" fmla="*/ 216598 w 216598"/>
                  <a:gd name="connsiteY9" fmla="*/ 108490 h 216788"/>
                  <a:gd name="connsiteX10" fmla="*/ 108299 w 216598"/>
                  <a:gd name="connsiteY10" fmla="*/ 216789 h 216788"/>
                  <a:gd name="connsiteX11" fmla="*/ 108299 w 216598"/>
                  <a:gd name="connsiteY11" fmla="*/ 216789 h 21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598" h="216788">
                    <a:moveTo>
                      <a:pt x="108299" y="22098"/>
                    </a:moveTo>
                    <a:cubicBezTo>
                      <a:pt x="60770" y="22098"/>
                      <a:pt x="22098" y="60960"/>
                      <a:pt x="22098" y="108776"/>
                    </a:cubicBezTo>
                    <a:cubicBezTo>
                      <a:pt x="22098" y="156591"/>
                      <a:pt x="60770" y="194691"/>
                      <a:pt x="108299" y="194691"/>
                    </a:cubicBezTo>
                    <a:cubicBezTo>
                      <a:pt x="155829" y="194691"/>
                      <a:pt x="194500" y="156020"/>
                      <a:pt x="194500" y="108490"/>
                    </a:cubicBezTo>
                    <a:cubicBezTo>
                      <a:pt x="194500" y="60960"/>
                      <a:pt x="155829" y="22098"/>
                      <a:pt x="108299" y="22098"/>
                    </a:cubicBezTo>
                    <a:lnTo>
                      <a:pt x="108299" y="22098"/>
                    </a:lnTo>
                    <a:close/>
                    <a:moveTo>
                      <a:pt x="108299" y="216789"/>
                    </a:moveTo>
                    <a:cubicBezTo>
                      <a:pt x="48577" y="216789"/>
                      <a:pt x="0" y="168307"/>
                      <a:pt x="0" y="108776"/>
                    </a:cubicBezTo>
                    <a:cubicBezTo>
                      <a:pt x="0" y="49244"/>
                      <a:pt x="48577" y="0"/>
                      <a:pt x="108299" y="0"/>
                    </a:cubicBezTo>
                    <a:cubicBezTo>
                      <a:pt x="168021" y="0"/>
                      <a:pt x="216598" y="48673"/>
                      <a:pt x="216598" y="108490"/>
                    </a:cubicBezTo>
                    <a:cubicBezTo>
                      <a:pt x="216598" y="168307"/>
                      <a:pt x="168021" y="216789"/>
                      <a:pt x="108299" y="216789"/>
                    </a:cubicBezTo>
                    <a:lnTo>
                      <a:pt x="108299" y="2167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2" name="Freeform: Shape 451">
                <a:extLst>
                  <a:ext uri="{FF2B5EF4-FFF2-40B4-BE49-F238E27FC236}">
                    <a16:creationId xmlns:a16="http://schemas.microsoft.com/office/drawing/2014/main" id="{C51F53AA-75C1-48E3-93AD-B7B3AF098ABC}"/>
                  </a:ext>
                </a:extLst>
              </p:cNvPr>
              <p:cNvSpPr/>
              <p:nvPr/>
            </p:nvSpPr>
            <p:spPr>
              <a:xfrm>
                <a:off x="6248018" y="3385470"/>
                <a:ext cx="147256" cy="149637"/>
              </a:xfrm>
              <a:custGeom>
                <a:avLst/>
                <a:gdLst>
                  <a:gd name="connsiteX0" fmla="*/ 73628 w 147256"/>
                  <a:gd name="connsiteY0" fmla="*/ 22003 h 149637"/>
                  <a:gd name="connsiteX1" fmla="*/ 22098 w 147256"/>
                  <a:gd name="connsiteY1" fmla="*/ 74295 h 149637"/>
                  <a:gd name="connsiteX2" fmla="*/ 73914 w 147256"/>
                  <a:gd name="connsiteY2" fmla="*/ 127349 h 149637"/>
                  <a:gd name="connsiteX3" fmla="*/ 125254 w 147256"/>
                  <a:gd name="connsiteY3" fmla="*/ 74009 h 149637"/>
                  <a:gd name="connsiteX4" fmla="*/ 73724 w 147256"/>
                  <a:gd name="connsiteY4" fmla="*/ 21907 h 149637"/>
                  <a:gd name="connsiteX5" fmla="*/ 73724 w 147256"/>
                  <a:gd name="connsiteY5" fmla="*/ 21907 h 149637"/>
                  <a:gd name="connsiteX6" fmla="*/ 73914 w 147256"/>
                  <a:gd name="connsiteY6" fmla="*/ 149542 h 149637"/>
                  <a:gd name="connsiteX7" fmla="*/ 0 w 147256"/>
                  <a:gd name="connsiteY7" fmla="*/ 74390 h 149637"/>
                  <a:gd name="connsiteX8" fmla="*/ 73628 w 147256"/>
                  <a:gd name="connsiteY8" fmla="*/ 0 h 149637"/>
                  <a:gd name="connsiteX9" fmla="*/ 147256 w 147256"/>
                  <a:gd name="connsiteY9" fmla="*/ 74200 h 149637"/>
                  <a:gd name="connsiteX10" fmla="*/ 73819 w 147256"/>
                  <a:gd name="connsiteY10" fmla="*/ 149638 h 149637"/>
                  <a:gd name="connsiteX11" fmla="*/ 73819 w 147256"/>
                  <a:gd name="connsiteY11" fmla="*/ 149638 h 14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6" h="149637">
                    <a:moveTo>
                      <a:pt x="73628" y="22003"/>
                    </a:moveTo>
                    <a:cubicBezTo>
                      <a:pt x="44672" y="22003"/>
                      <a:pt x="22098" y="44958"/>
                      <a:pt x="22098" y="74295"/>
                    </a:cubicBezTo>
                    <a:cubicBezTo>
                      <a:pt x="22098" y="103632"/>
                      <a:pt x="45815" y="127349"/>
                      <a:pt x="73914" y="127349"/>
                    </a:cubicBezTo>
                    <a:cubicBezTo>
                      <a:pt x="102013" y="127349"/>
                      <a:pt x="125254" y="102965"/>
                      <a:pt x="125254" y="74009"/>
                    </a:cubicBezTo>
                    <a:cubicBezTo>
                      <a:pt x="125254" y="45053"/>
                      <a:pt x="102108" y="21907"/>
                      <a:pt x="73724" y="21907"/>
                    </a:cubicBezTo>
                    <a:lnTo>
                      <a:pt x="73724" y="21907"/>
                    </a:lnTo>
                    <a:close/>
                    <a:moveTo>
                      <a:pt x="73914" y="149542"/>
                    </a:moveTo>
                    <a:cubicBezTo>
                      <a:pt x="33814" y="149542"/>
                      <a:pt x="0" y="115157"/>
                      <a:pt x="0" y="74390"/>
                    </a:cubicBezTo>
                    <a:cubicBezTo>
                      <a:pt x="0" y="33623"/>
                      <a:pt x="32385" y="0"/>
                      <a:pt x="73628" y="0"/>
                    </a:cubicBezTo>
                    <a:cubicBezTo>
                      <a:pt x="114871" y="0"/>
                      <a:pt x="147256" y="33242"/>
                      <a:pt x="147256" y="74200"/>
                    </a:cubicBezTo>
                    <a:cubicBezTo>
                      <a:pt x="147256" y="115157"/>
                      <a:pt x="113633" y="149638"/>
                      <a:pt x="73819" y="149638"/>
                    </a:cubicBezTo>
                    <a:lnTo>
                      <a:pt x="73819" y="1496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3" name="Freeform: Shape 452">
                <a:extLst>
                  <a:ext uri="{FF2B5EF4-FFF2-40B4-BE49-F238E27FC236}">
                    <a16:creationId xmlns:a16="http://schemas.microsoft.com/office/drawing/2014/main" id="{E715EFB3-2BD9-4F86-B796-ED2E85734140}"/>
                  </a:ext>
                </a:extLst>
              </p:cNvPr>
              <p:cNvSpPr/>
              <p:nvPr/>
            </p:nvSpPr>
            <p:spPr>
              <a:xfrm>
                <a:off x="6422993" y="3356514"/>
                <a:ext cx="33242" cy="33623"/>
              </a:xfrm>
              <a:custGeom>
                <a:avLst/>
                <a:gdLst>
                  <a:gd name="connsiteX0" fmla="*/ 13621 w 33242"/>
                  <a:gd name="connsiteY0" fmla="*/ 16097 h 33623"/>
                  <a:gd name="connsiteX1" fmla="*/ 15811 w 33242"/>
                  <a:gd name="connsiteY1" fmla="*/ 16097 h 33623"/>
                  <a:gd name="connsiteX2" fmla="*/ 20383 w 33242"/>
                  <a:gd name="connsiteY2" fmla="*/ 12859 h 33623"/>
                  <a:gd name="connsiteX3" fmla="*/ 15811 w 33242"/>
                  <a:gd name="connsiteY3" fmla="*/ 9620 h 33623"/>
                  <a:gd name="connsiteX4" fmla="*/ 13621 w 33242"/>
                  <a:gd name="connsiteY4" fmla="*/ 9811 h 33623"/>
                  <a:gd name="connsiteX5" fmla="*/ 13621 w 33242"/>
                  <a:gd name="connsiteY5" fmla="*/ 16193 h 33623"/>
                  <a:gd name="connsiteX6" fmla="*/ 13621 w 33242"/>
                  <a:gd name="connsiteY6" fmla="*/ 16193 h 33623"/>
                  <a:gd name="connsiteX7" fmla="*/ 13621 w 33242"/>
                  <a:gd name="connsiteY7" fmla="*/ 26480 h 33623"/>
                  <a:gd name="connsiteX8" fmla="*/ 10668 w 33242"/>
                  <a:gd name="connsiteY8" fmla="*/ 26480 h 33623"/>
                  <a:gd name="connsiteX9" fmla="*/ 10668 w 33242"/>
                  <a:gd name="connsiteY9" fmla="*/ 7715 h 33623"/>
                  <a:gd name="connsiteX10" fmla="*/ 16002 w 33242"/>
                  <a:gd name="connsiteY10" fmla="*/ 7239 h 33623"/>
                  <a:gd name="connsiteX11" fmla="*/ 21812 w 33242"/>
                  <a:gd name="connsiteY11" fmla="*/ 8668 h 33623"/>
                  <a:gd name="connsiteX12" fmla="*/ 23527 w 33242"/>
                  <a:gd name="connsiteY12" fmla="*/ 12573 h 33623"/>
                  <a:gd name="connsiteX13" fmla="*/ 19907 w 33242"/>
                  <a:gd name="connsiteY13" fmla="*/ 17145 h 33623"/>
                  <a:gd name="connsiteX14" fmla="*/ 19907 w 33242"/>
                  <a:gd name="connsiteY14" fmla="*/ 17336 h 33623"/>
                  <a:gd name="connsiteX15" fmla="*/ 23050 w 33242"/>
                  <a:gd name="connsiteY15" fmla="*/ 21907 h 33623"/>
                  <a:gd name="connsiteX16" fmla="*/ 24289 w 33242"/>
                  <a:gd name="connsiteY16" fmla="*/ 26575 h 33623"/>
                  <a:gd name="connsiteX17" fmla="*/ 21146 w 33242"/>
                  <a:gd name="connsiteY17" fmla="*/ 26575 h 33623"/>
                  <a:gd name="connsiteX18" fmla="*/ 19907 w 33242"/>
                  <a:gd name="connsiteY18" fmla="*/ 21812 h 33623"/>
                  <a:gd name="connsiteX19" fmla="*/ 15907 w 33242"/>
                  <a:gd name="connsiteY19" fmla="*/ 18574 h 33623"/>
                  <a:gd name="connsiteX20" fmla="*/ 13811 w 33242"/>
                  <a:gd name="connsiteY20" fmla="*/ 18574 h 33623"/>
                  <a:gd name="connsiteX21" fmla="*/ 13811 w 33242"/>
                  <a:gd name="connsiteY21" fmla="*/ 26670 h 33623"/>
                  <a:gd name="connsiteX22" fmla="*/ 13811 w 33242"/>
                  <a:gd name="connsiteY22" fmla="*/ 26670 h 33623"/>
                  <a:gd name="connsiteX23" fmla="*/ 16764 w 33242"/>
                  <a:gd name="connsiteY23" fmla="*/ 2572 h 33623"/>
                  <a:gd name="connsiteX24" fmla="*/ 3334 w 33242"/>
                  <a:gd name="connsiteY24" fmla="*/ 16764 h 33623"/>
                  <a:gd name="connsiteX25" fmla="*/ 16859 w 33242"/>
                  <a:gd name="connsiteY25" fmla="*/ 31051 h 33623"/>
                  <a:gd name="connsiteX26" fmla="*/ 30290 w 33242"/>
                  <a:gd name="connsiteY26" fmla="*/ 16859 h 33623"/>
                  <a:gd name="connsiteX27" fmla="*/ 16859 w 33242"/>
                  <a:gd name="connsiteY27" fmla="*/ 2572 h 33623"/>
                  <a:gd name="connsiteX28" fmla="*/ 16859 w 33242"/>
                  <a:gd name="connsiteY28" fmla="*/ 2572 h 33623"/>
                  <a:gd name="connsiteX29" fmla="*/ 16764 w 33242"/>
                  <a:gd name="connsiteY29" fmla="*/ 0 h 33623"/>
                  <a:gd name="connsiteX30" fmla="*/ 33242 w 33242"/>
                  <a:gd name="connsiteY30" fmla="*/ 16764 h 33623"/>
                  <a:gd name="connsiteX31" fmla="*/ 16669 w 33242"/>
                  <a:gd name="connsiteY31" fmla="*/ 33623 h 33623"/>
                  <a:gd name="connsiteX32" fmla="*/ 0 w 33242"/>
                  <a:gd name="connsiteY32" fmla="*/ 16764 h 33623"/>
                  <a:gd name="connsiteX33" fmla="*/ 16669 w 33242"/>
                  <a:gd name="connsiteY33" fmla="*/ 0 h 33623"/>
                  <a:gd name="connsiteX34" fmla="*/ 16669 w 33242"/>
                  <a:gd name="connsiteY34" fmla="*/ 0 h 3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242" h="33623">
                    <a:moveTo>
                      <a:pt x="13621" y="16097"/>
                    </a:moveTo>
                    <a:lnTo>
                      <a:pt x="15811" y="16097"/>
                    </a:lnTo>
                    <a:cubicBezTo>
                      <a:pt x="18288" y="16097"/>
                      <a:pt x="20383" y="15240"/>
                      <a:pt x="20383" y="12859"/>
                    </a:cubicBezTo>
                    <a:cubicBezTo>
                      <a:pt x="20383" y="11239"/>
                      <a:pt x="19145" y="9620"/>
                      <a:pt x="15811" y="9620"/>
                    </a:cubicBezTo>
                    <a:cubicBezTo>
                      <a:pt x="14859" y="9620"/>
                      <a:pt x="14192" y="9620"/>
                      <a:pt x="13621" y="9811"/>
                    </a:cubicBezTo>
                    <a:lnTo>
                      <a:pt x="13621" y="16193"/>
                    </a:lnTo>
                    <a:lnTo>
                      <a:pt x="13621" y="16193"/>
                    </a:lnTo>
                    <a:close/>
                    <a:moveTo>
                      <a:pt x="13621" y="26480"/>
                    </a:moveTo>
                    <a:lnTo>
                      <a:pt x="10668" y="26480"/>
                    </a:lnTo>
                    <a:lnTo>
                      <a:pt x="10668" y="7715"/>
                    </a:lnTo>
                    <a:cubicBezTo>
                      <a:pt x="12192" y="7525"/>
                      <a:pt x="13716" y="7239"/>
                      <a:pt x="16002" y="7239"/>
                    </a:cubicBezTo>
                    <a:cubicBezTo>
                      <a:pt x="18859" y="7239"/>
                      <a:pt x="20669" y="7811"/>
                      <a:pt x="21812" y="8668"/>
                    </a:cubicBezTo>
                    <a:cubicBezTo>
                      <a:pt x="22955" y="9525"/>
                      <a:pt x="23527" y="10763"/>
                      <a:pt x="23527" y="12573"/>
                    </a:cubicBezTo>
                    <a:cubicBezTo>
                      <a:pt x="23527" y="15050"/>
                      <a:pt x="21907" y="16574"/>
                      <a:pt x="19907" y="17145"/>
                    </a:cubicBezTo>
                    <a:lnTo>
                      <a:pt x="19907" y="17336"/>
                    </a:lnTo>
                    <a:cubicBezTo>
                      <a:pt x="21526" y="17621"/>
                      <a:pt x="22669" y="19145"/>
                      <a:pt x="23050" y="21907"/>
                    </a:cubicBezTo>
                    <a:cubicBezTo>
                      <a:pt x="23527" y="24860"/>
                      <a:pt x="23908" y="25908"/>
                      <a:pt x="24289" y="26575"/>
                    </a:cubicBezTo>
                    <a:lnTo>
                      <a:pt x="21146" y="26575"/>
                    </a:lnTo>
                    <a:cubicBezTo>
                      <a:pt x="20669" y="26003"/>
                      <a:pt x="20288" y="24289"/>
                      <a:pt x="19907" y="21812"/>
                    </a:cubicBezTo>
                    <a:cubicBezTo>
                      <a:pt x="19431" y="19431"/>
                      <a:pt x="18288" y="18574"/>
                      <a:pt x="15907" y="18574"/>
                    </a:cubicBezTo>
                    <a:lnTo>
                      <a:pt x="13811" y="18574"/>
                    </a:lnTo>
                    <a:lnTo>
                      <a:pt x="13811" y="26670"/>
                    </a:lnTo>
                    <a:lnTo>
                      <a:pt x="13811" y="26670"/>
                    </a:lnTo>
                    <a:close/>
                    <a:moveTo>
                      <a:pt x="16764" y="2572"/>
                    </a:moveTo>
                    <a:cubicBezTo>
                      <a:pt x="9334" y="2572"/>
                      <a:pt x="3334" y="8954"/>
                      <a:pt x="3334" y="16764"/>
                    </a:cubicBezTo>
                    <a:cubicBezTo>
                      <a:pt x="3334" y="24575"/>
                      <a:pt x="9334" y="31051"/>
                      <a:pt x="16859" y="31051"/>
                    </a:cubicBezTo>
                    <a:cubicBezTo>
                      <a:pt x="24289" y="31051"/>
                      <a:pt x="30290" y="24765"/>
                      <a:pt x="30290" y="16859"/>
                    </a:cubicBezTo>
                    <a:cubicBezTo>
                      <a:pt x="30290" y="8954"/>
                      <a:pt x="24289" y="2572"/>
                      <a:pt x="16859" y="2572"/>
                    </a:cubicBezTo>
                    <a:lnTo>
                      <a:pt x="16859" y="2572"/>
                    </a:lnTo>
                    <a:close/>
                    <a:moveTo>
                      <a:pt x="16764" y="0"/>
                    </a:moveTo>
                    <a:cubicBezTo>
                      <a:pt x="25908" y="0"/>
                      <a:pt x="33242" y="7430"/>
                      <a:pt x="33242" y="16764"/>
                    </a:cubicBezTo>
                    <a:cubicBezTo>
                      <a:pt x="33242" y="26099"/>
                      <a:pt x="25908" y="33623"/>
                      <a:pt x="16669" y="33623"/>
                    </a:cubicBezTo>
                    <a:cubicBezTo>
                      <a:pt x="7429" y="33623"/>
                      <a:pt x="0" y="26194"/>
                      <a:pt x="0" y="16764"/>
                    </a:cubicBezTo>
                    <a:cubicBezTo>
                      <a:pt x="0" y="7334"/>
                      <a:pt x="7429" y="0"/>
                      <a:pt x="16669" y="0"/>
                    </a:cubicBezTo>
                    <a:lnTo>
                      <a:pt x="1666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54" name="Group 453">
              <a:extLst>
                <a:ext uri="{FF2B5EF4-FFF2-40B4-BE49-F238E27FC236}">
                  <a16:creationId xmlns:a16="http://schemas.microsoft.com/office/drawing/2014/main" id="{5F066E8C-2F04-4B50-A67C-775AD1534A6A}"/>
                </a:ext>
              </a:extLst>
            </p:cNvPr>
            <p:cNvGrpSpPr/>
            <p:nvPr userDrawn="1"/>
          </p:nvGrpSpPr>
          <p:grpSpPr>
            <a:xfrm>
              <a:off x="7521475" y="2323616"/>
              <a:ext cx="691678" cy="198846"/>
              <a:chOff x="4448053" y="5268962"/>
              <a:chExt cx="1897541" cy="545512"/>
            </a:xfrm>
          </p:grpSpPr>
          <p:grpSp>
            <p:nvGrpSpPr>
              <p:cNvPr id="455" name="Graphic 1339">
                <a:extLst>
                  <a:ext uri="{FF2B5EF4-FFF2-40B4-BE49-F238E27FC236}">
                    <a16:creationId xmlns:a16="http://schemas.microsoft.com/office/drawing/2014/main" id="{6BFF0D2C-B1B0-45CE-8538-54FB277CF075}"/>
                  </a:ext>
                </a:extLst>
              </p:cNvPr>
              <p:cNvGrpSpPr/>
              <p:nvPr/>
            </p:nvGrpSpPr>
            <p:grpSpPr>
              <a:xfrm>
                <a:off x="4448053" y="5268962"/>
                <a:ext cx="544422" cy="545512"/>
                <a:chOff x="4448053" y="5268962"/>
                <a:chExt cx="544422" cy="545512"/>
              </a:xfrm>
              <a:solidFill>
                <a:srgbClr val="A1ABB2"/>
              </a:solidFill>
            </p:grpSpPr>
            <p:sp>
              <p:nvSpPr>
                <p:cNvPr id="474" name="Freeform: Shape 473">
                  <a:extLst>
                    <a:ext uri="{FF2B5EF4-FFF2-40B4-BE49-F238E27FC236}">
                      <a16:creationId xmlns:a16="http://schemas.microsoft.com/office/drawing/2014/main" id="{04A70E36-EA98-42DB-9B57-B240A120FBF3}"/>
                    </a:ext>
                  </a:extLst>
                </p:cNvPr>
                <p:cNvSpPr/>
                <p:nvPr/>
              </p:nvSpPr>
              <p:spPr>
                <a:xfrm>
                  <a:off x="4448053" y="5268962"/>
                  <a:ext cx="322851" cy="442645"/>
                </a:xfrm>
                <a:custGeom>
                  <a:avLst/>
                  <a:gdLst>
                    <a:gd name="connsiteX0" fmla="*/ 61787 w 322851"/>
                    <a:gd name="connsiteY0" fmla="*/ 442646 h 442645"/>
                    <a:gd name="connsiteX1" fmla="*/ 48812 w 322851"/>
                    <a:gd name="connsiteY1" fmla="*/ 119300 h 442645"/>
                    <a:gd name="connsiteX2" fmla="*/ 322852 w 322851"/>
                    <a:gd name="connsiteY2" fmla="*/ 6155 h 442645"/>
                    <a:gd name="connsiteX3" fmla="*/ 61787 w 322851"/>
                    <a:gd name="connsiteY3" fmla="*/ 442646 h 442645"/>
                  </a:gdLst>
                  <a:ahLst/>
                  <a:cxnLst>
                    <a:cxn ang="0">
                      <a:pos x="connsiteX0" y="connsiteY0"/>
                    </a:cxn>
                    <a:cxn ang="0">
                      <a:pos x="connsiteX1" y="connsiteY1"/>
                    </a:cxn>
                    <a:cxn ang="0">
                      <a:pos x="connsiteX2" y="connsiteY2"/>
                    </a:cxn>
                    <a:cxn ang="0">
                      <a:pos x="connsiteX3" y="connsiteY3"/>
                    </a:cxn>
                  </a:cxnLst>
                  <a:rect l="l" t="t" r="r" b="b"/>
                  <a:pathLst>
                    <a:path w="322851" h="442645">
                      <a:moveTo>
                        <a:pt x="61787" y="442646"/>
                      </a:moveTo>
                      <a:cubicBezTo>
                        <a:pt x="-21774" y="354932"/>
                        <a:pt x="-15027" y="209608"/>
                        <a:pt x="48812" y="119300"/>
                      </a:cubicBezTo>
                      <a:cubicBezTo>
                        <a:pt x="111094" y="29510"/>
                        <a:pt x="202959" y="-17720"/>
                        <a:pt x="322852" y="6155"/>
                      </a:cubicBezTo>
                      <a:lnTo>
                        <a:pt x="61787" y="442646"/>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5" name="Freeform: Shape 474">
                  <a:extLst>
                    <a:ext uri="{FF2B5EF4-FFF2-40B4-BE49-F238E27FC236}">
                      <a16:creationId xmlns:a16="http://schemas.microsoft.com/office/drawing/2014/main" id="{754E6781-E791-43D9-9023-1B86E2EE09A2}"/>
                    </a:ext>
                  </a:extLst>
                </p:cNvPr>
                <p:cNvSpPr/>
                <p:nvPr/>
              </p:nvSpPr>
              <p:spPr>
                <a:xfrm>
                  <a:off x="4681115" y="5319752"/>
                  <a:ext cx="311360" cy="319193"/>
                </a:xfrm>
                <a:custGeom>
                  <a:avLst/>
                  <a:gdLst>
                    <a:gd name="connsiteX0" fmla="*/ 295838 w 311360"/>
                    <a:gd name="connsiteY0" fmla="*/ 319194 h 319193"/>
                    <a:gd name="connsiteX1" fmla="*/ 0 w 311360"/>
                    <a:gd name="connsiteY1" fmla="*/ 319194 h 319193"/>
                    <a:gd name="connsiteX2" fmla="*/ 195150 w 311360"/>
                    <a:gd name="connsiteY2" fmla="*/ 0 h 319193"/>
                    <a:gd name="connsiteX3" fmla="*/ 295838 w 311360"/>
                    <a:gd name="connsiteY3" fmla="*/ 319194 h 319193"/>
                  </a:gdLst>
                  <a:ahLst/>
                  <a:cxnLst>
                    <a:cxn ang="0">
                      <a:pos x="connsiteX0" y="connsiteY0"/>
                    </a:cxn>
                    <a:cxn ang="0">
                      <a:pos x="connsiteX1" y="connsiteY1"/>
                    </a:cxn>
                    <a:cxn ang="0">
                      <a:pos x="connsiteX2" y="connsiteY2"/>
                    </a:cxn>
                    <a:cxn ang="0">
                      <a:pos x="connsiteX3" y="connsiteY3"/>
                    </a:cxn>
                  </a:cxnLst>
                  <a:rect l="l" t="t" r="r" b="b"/>
                  <a:pathLst>
                    <a:path w="311360" h="319193">
                      <a:moveTo>
                        <a:pt x="295838" y="319194"/>
                      </a:moveTo>
                      <a:lnTo>
                        <a:pt x="0" y="319194"/>
                      </a:lnTo>
                      <a:lnTo>
                        <a:pt x="195150" y="0"/>
                      </a:lnTo>
                      <a:cubicBezTo>
                        <a:pt x="295838" y="64358"/>
                        <a:pt x="336321" y="201378"/>
                        <a:pt x="295838" y="319194"/>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6" name="Freeform: Shape 475">
                  <a:extLst>
                    <a:ext uri="{FF2B5EF4-FFF2-40B4-BE49-F238E27FC236}">
                      <a16:creationId xmlns:a16="http://schemas.microsoft.com/office/drawing/2014/main" id="{4E9B23AE-5CFE-4F63-B48B-5C1C4172C8D8}"/>
                    </a:ext>
                  </a:extLst>
                </p:cNvPr>
                <p:cNvSpPr/>
                <p:nvPr/>
              </p:nvSpPr>
              <p:spPr>
                <a:xfrm>
                  <a:off x="4546171" y="5750015"/>
                  <a:ext cx="348777" cy="64459"/>
                </a:xfrm>
                <a:custGeom>
                  <a:avLst/>
                  <a:gdLst>
                    <a:gd name="connsiteX0" fmla="*/ 184250 w 348777"/>
                    <a:gd name="connsiteY0" fmla="*/ 64358 h 64459"/>
                    <a:gd name="connsiteX1" fmla="*/ 0 w 348777"/>
                    <a:gd name="connsiteY1" fmla="*/ 0 h 64459"/>
                    <a:gd name="connsiteX2" fmla="*/ 348778 w 348777"/>
                    <a:gd name="connsiteY2" fmla="*/ 0 h 64459"/>
                    <a:gd name="connsiteX3" fmla="*/ 183731 w 348777"/>
                    <a:gd name="connsiteY3" fmla="*/ 64358 h 64459"/>
                  </a:gdLst>
                  <a:ahLst/>
                  <a:cxnLst>
                    <a:cxn ang="0">
                      <a:pos x="connsiteX0" y="connsiteY0"/>
                    </a:cxn>
                    <a:cxn ang="0">
                      <a:pos x="connsiteX1" y="connsiteY1"/>
                    </a:cxn>
                    <a:cxn ang="0">
                      <a:pos x="connsiteX2" y="connsiteY2"/>
                    </a:cxn>
                    <a:cxn ang="0">
                      <a:pos x="connsiteX3" y="connsiteY3"/>
                    </a:cxn>
                  </a:cxnLst>
                  <a:rect l="l" t="t" r="r" b="b"/>
                  <a:pathLst>
                    <a:path w="348777" h="64459">
                      <a:moveTo>
                        <a:pt x="184250" y="64358"/>
                      </a:moveTo>
                      <a:cubicBezTo>
                        <a:pt x="115740" y="66434"/>
                        <a:pt x="36331" y="36331"/>
                        <a:pt x="0" y="0"/>
                      </a:cubicBezTo>
                      <a:lnTo>
                        <a:pt x="348778" y="0"/>
                      </a:lnTo>
                      <a:cubicBezTo>
                        <a:pt x="308295" y="38407"/>
                        <a:pt x="252241" y="62282"/>
                        <a:pt x="183731" y="64358"/>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456" name="Freeform: Shape 455">
                <a:extLst>
                  <a:ext uri="{FF2B5EF4-FFF2-40B4-BE49-F238E27FC236}">
                    <a16:creationId xmlns:a16="http://schemas.microsoft.com/office/drawing/2014/main" id="{7B32A231-3338-48EC-99C3-61DEFF302C9E}"/>
                  </a:ext>
                </a:extLst>
              </p:cNvPr>
              <p:cNvSpPr/>
              <p:nvPr/>
            </p:nvSpPr>
            <p:spPr>
              <a:xfrm>
                <a:off x="5098922" y="5360754"/>
                <a:ext cx="146881" cy="142729"/>
              </a:xfrm>
              <a:custGeom>
                <a:avLst/>
                <a:gdLst>
                  <a:gd name="connsiteX0" fmla="*/ 0 w 146881"/>
                  <a:gd name="connsiteY0" fmla="*/ 142729 h 142729"/>
                  <a:gd name="connsiteX1" fmla="*/ 82004 w 146881"/>
                  <a:gd name="connsiteY1" fmla="*/ 0 h 142729"/>
                  <a:gd name="connsiteX2" fmla="*/ 130792 w 146881"/>
                  <a:gd name="connsiteY2" fmla="*/ 0 h 142729"/>
                  <a:gd name="connsiteX3" fmla="*/ 69548 w 146881"/>
                  <a:gd name="connsiteY3" fmla="*/ 103284 h 142729"/>
                  <a:gd name="connsiteX4" fmla="*/ 146881 w 146881"/>
                  <a:gd name="connsiteY4" fmla="*/ 103284 h 142729"/>
                  <a:gd name="connsiteX5" fmla="*/ 124045 w 146881"/>
                  <a:gd name="connsiteY5" fmla="*/ 142729 h 142729"/>
                  <a:gd name="connsiteX6" fmla="*/ 0 w 146881"/>
                  <a:gd name="connsiteY6" fmla="*/ 142729 h 142729"/>
                  <a:gd name="connsiteX7" fmla="*/ 0 w 146881"/>
                  <a:gd name="connsiteY7"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81" h="142729">
                    <a:moveTo>
                      <a:pt x="0" y="142729"/>
                    </a:moveTo>
                    <a:lnTo>
                      <a:pt x="82004" y="0"/>
                    </a:lnTo>
                    <a:lnTo>
                      <a:pt x="130792" y="0"/>
                    </a:lnTo>
                    <a:lnTo>
                      <a:pt x="69548" y="103284"/>
                    </a:lnTo>
                    <a:lnTo>
                      <a:pt x="146881" y="103284"/>
                    </a:lnTo>
                    <a:lnTo>
                      <a:pt x="12404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7" name="Freeform: Shape 456">
                <a:extLst>
                  <a:ext uri="{FF2B5EF4-FFF2-40B4-BE49-F238E27FC236}">
                    <a16:creationId xmlns:a16="http://schemas.microsoft.com/office/drawing/2014/main" id="{EBB1BE5E-12F1-490E-8275-F7E50C092AB2}"/>
                  </a:ext>
                </a:extLst>
              </p:cNvPr>
              <p:cNvSpPr/>
              <p:nvPr/>
            </p:nvSpPr>
            <p:spPr>
              <a:xfrm>
                <a:off x="5240613" y="5360754"/>
                <a:ext cx="128715" cy="142729"/>
              </a:xfrm>
              <a:custGeom>
                <a:avLst/>
                <a:gdLst>
                  <a:gd name="connsiteX0" fmla="*/ 0 w 128715"/>
                  <a:gd name="connsiteY0" fmla="*/ 142729 h 142729"/>
                  <a:gd name="connsiteX1" fmla="*/ 84080 w 128715"/>
                  <a:gd name="connsiteY1" fmla="*/ 0 h 142729"/>
                  <a:gd name="connsiteX2" fmla="*/ 128716 w 128715"/>
                  <a:gd name="connsiteY2" fmla="*/ 0 h 142729"/>
                  <a:gd name="connsiteX3" fmla="*/ 46711 w 128715"/>
                  <a:gd name="connsiteY3" fmla="*/ 142729 h 142729"/>
                  <a:gd name="connsiteX4" fmla="*/ 0 w 128715"/>
                  <a:gd name="connsiteY4" fmla="*/ 142729 h 142729"/>
                  <a:gd name="connsiteX5" fmla="*/ 0 w 128715"/>
                  <a:gd name="connsiteY5"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9">
                    <a:moveTo>
                      <a:pt x="0" y="142729"/>
                    </a:moveTo>
                    <a:lnTo>
                      <a:pt x="84080" y="0"/>
                    </a:lnTo>
                    <a:lnTo>
                      <a:pt x="128716" y="0"/>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8" name="Freeform: Shape 457">
                <a:extLst>
                  <a:ext uri="{FF2B5EF4-FFF2-40B4-BE49-F238E27FC236}">
                    <a16:creationId xmlns:a16="http://schemas.microsoft.com/office/drawing/2014/main" id="{94CA0F4C-FC61-4668-A180-6A028C904D42}"/>
                  </a:ext>
                </a:extLst>
              </p:cNvPr>
              <p:cNvSpPr/>
              <p:nvPr/>
            </p:nvSpPr>
            <p:spPr>
              <a:xfrm>
                <a:off x="6048719" y="5360754"/>
                <a:ext cx="128715" cy="142729"/>
              </a:xfrm>
              <a:custGeom>
                <a:avLst/>
                <a:gdLst>
                  <a:gd name="connsiteX0" fmla="*/ 0 w 128715"/>
                  <a:gd name="connsiteY0" fmla="*/ 142729 h 142729"/>
                  <a:gd name="connsiteX1" fmla="*/ 84080 w 128715"/>
                  <a:gd name="connsiteY1" fmla="*/ 0 h 142729"/>
                  <a:gd name="connsiteX2" fmla="*/ 128716 w 128715"/>
                  <a:gd name="connsiteY2" fmla="*/ 0 h 142729"/>
                  <a:gd name="connsiteX3" fmla="*/ 46711 w 128715"/>
                  <a:gd name="connsiteY3" fmla="*/ 142729 h 142729"/>
                  <a:gd name="connsiteX4" fmla="*/ 0 w 128715"/>
                  <a:gd name="connsiteY4" fmla="*/ 142729 h 142729"/>
                  <a:gd name="connsiteX5" fmla="*/ 0 w 128715"/>
                  <a:gd name="connsiteY5"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9">
                    <a:moveTo>
                      <a:pt x="0" y="142729"/>
                    </a:moveTo>
                    <a:lnTo>
                      <a:pt x="84080" y="0"/>
                    </a:lnTo>
                    <a:lnTo>
                      <a:pt x="128716" y="0"/>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9" name="Freeform: Shape 458">
                <a:extLst>
                  <a:ext uri="{FF2B5EF4-FFF2-40B4-BE49-F238E27FC236}">
                    <a16:creationId xmlns:a16="http://schemas.microsoft.com/office/drawing/2014/main" id="{C4ACCD64-B47F-402A-BCA6-A7470D33AE0C}"/>
                  </a:ext>
                </a:extLst>
              </p:cNvPr>
              <p:cNvSpPr/>
              <p:nvPr/>
            </p:nvSpPr>
            <p:spPr>
              <a:xfrm>
                <a:off x="5351163" y="5360754"/>
                <a:ext cx="172831" cy="143248"/>
              </a:xfrm>
              <a:custGeom>
                <a:avLst/>
                <a:gdLst>
                  <a:gd name="connsiteX0" fmla="*/ 0 w 172831"/>
                  <a:gd name="connsiteY0" fmla="*/ 143248 h 143248"/>
                  <a:gd name="connsiteX1" fmla="*/ 58649 w 172831"/>
                  <a:gd name="connsiteY1" fmla="*/ 41002 h 143248"/>
                  <a:gd name="connsiteX2" fmla="*/ 13494 w 172831"/>
                  <a:gd name="connsiteY2" fmla="*/ 41002 h 143248"/>
                  <a:gd name="connsiteX3" fmla="*/ 37369 w 172831"/>
                  <a:gd name="connsiteY3" fmla="*/ 0 h 143248"/>
                  <a:gd name="connsiteX4" fmla="*/ 172832 w 172831"/>
                  <a:gd name="connsiteY4" fmla="*/ 0 h 143248"/>
                  <a:gd name="connsiteX5" fmla="*/ 149995 w 172831"/>
                  <a:gd name="connsiteY5" fmla="*/ 41002 h 143248"/>
                  <a:gd name="connsiteX6" fmla="*/ 103284 w 172831"/>
                  <a:gd name="connsiteY6" fmla="*/ 41002 h 143248"/>
                  <a:gd name="connsiteX7" fmla="*/ 44635 w 172831"/>
                  <a:gd name="connsiteY7" fmla="*/ 143248 h 143248"/>
                  <a:gd name="connsiteX8" fmla="*/ 0 w 172831"/>
                  <a:gd name="connsiteY8" fmla="*/ 143248 h 143248"/>
                  <a:gd name="connsiteX9" fmla="*/ 0 w 172831"/>
                  <a:gd name="connsiteY9" fmla="*/ 143248 h 14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831" h="143248">
                    <a:moveTo>
                      <a:pt x="0" y="143248"/>
                    </a:moveTo>
                    <a:lnTo>
                      <a:pt x="58649" y="41002"/>
                    </a:lnTo>
                    <a:lnTo>
                      <a:pt x="13494" y="41002"/>
                    </a:lnTo>
                    <a:lnTo>
                      <a:pt x="37369" y="0"/>
                    </a:lnTo>
                    <a:lnTo>
                      <a:pt x="172832" y="0"/>
                    </a:lnTo>
                    <a:lnTo>
                      <a:pt x="149995" y="41002"/>
                    </a:lnTo>
                    <a:lnTo>
                      <a:pt x="103284" y="41002"/>
                    </a:lnTo>
                    <a:lnTo>
                      <a:pt x="44635" y="143248"/>
                    </a:lnTo>
                    <a:lnTo>
                      <a:pt x="0" y="143248"/>
                    </a:lnTo>
                    <a:lnTo>
                      <a:pt x="0" y="143248"/>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C5D2F53D-A82B-45D9-8483-11FA476C5679}"/>
                  </a:ext>
                </a:extLst>
              </p:cNvPr>
              <p:cNvSpPr/>
              <p:nvPr/>
            </p:nvSpPr>
            <p:spPr>
              <a:xfrm>
                <a:off x="5460675" y="5360754"/>
                <a:ext cx="243417" cy="142729"/>
              </a:xfrm>
              <a:custGeom>
                <a:avLst/>
                <a:gdLst>
                  <a:gd name="connsiteX0" fmla="*/ 0 w 243417"/>
                  <a:gd name="connsiteY0" fmla="*/ 142729 h 142729"/>
                  <a:gd name="connsiteX1" fmla="*/ 84080 w 243417"/>
                  <a:gd name="connsiteY1" fmla="*/ 0 h 142729"/>
                  <a:gd name="connsiteX2" fmla="*/ 128197 w 243417"/>
                  <a:gd name="connsiteY2" fmla="*/ 0 h 142729"/>
                  <a:gd name="connsiteX3" fmla="*/ 97056 w 243417"/>
                  <a:gd name="connsiteY3" fmla="*/ 52420 h 142729"/>
                  <a:gd name="connsiteX4" fmla="*/ 169199 w 243417"/>
                  <a:gd name="connsiteY4" fmla="*/ 52420 h 142729"/>
                  <a:gd name="connsiteX5" fmla="*/ 200340 w 243417"/>
                  <a:gd name="connsiteY5" fmla="*/ 0 h 142729"/>
                  <a:gd name="connsiteX6" fmla="*/ 243418 w 243417"/>
                  <a:gd name="connsiteY6" fmla="*/ 0 h 142729"/>
                  <a:gd name="connsiteX7" fmla="*/ 161933 w 243417"/>
                  <a:gd name="connsiteY7" fmla="*/ 142729 h 142729"/>
                  <a:gd name="connsiteX8" fmla="*/ 115221 w 243417"/>
                  <a:gd name="connsiteY8" fmla="*/ 142729 h 142729"/>
                  <a:gd name="connsiteX9" fmla="*/ 146362 w 243417"/>
                  <a:gd name="connsiteY9" fmla="*/ 87713 h 142729"/>
                  <a:gd name="connsiteX10" fmla="*/ 75257 w 243417"/>
                  <a:gd name="connsiteY10" fmla="*/ 87713 h 142729"/>
                  <a:gd name="connsiteX11" fmla="*/ 44116 w 243417"/>
                  <a:gd name="connsiteY11" fmla="*/ 142729 h 142729"/>
                  <a:gd name="connsiteX12" fmla="*/ 0 w 243417"/>
                  <a:gd name="connsiteY12" fmla="*/ 142729 h 142729"/>
                  <a:gd name="connsiteX13" fmla="*/ 0 w 243417"/>
                  <a:gd name="connsiteY13"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417" h="142729">
                    <a:moveTo>
                      <a:pt x="0" y="142729"/>
                    </a:moveTo>
                    <a:lnTo>
                      <a:pt x="84080" y="0"/>
                    </a:lnTo>
                    <a:lnTo>
                      <a:pt x="128197" y="0"/>
                    </a:lnTo>
                    <a:lnTo>
                      <a:pt x="97056" y="52420"/>
                    </a:lnTo>
                    <a:lnTo>
                      <a:pt x="169199" y="52420"/>
                    </a:lnTo>
                    <a:lnTo>
                      <a:pt x="200340" y="0"/>
                    </a:lnTo>
                    <a:lnTo>
                      <a:pt x="243418" y="0"/>
                    </a:lnTo>
                    <a:lnTo>
                      <a:pt x="161933" y="142729"/>
                    </a:lnTo>
                    <a:lnTo>
                      <a:pt x="115221" y="142729"/>
                    </a:lnTo>
                    <a:lnTo>
                      <a:pt x="146362" y="87713"/>
                    </a:lnTo>
                    <a:lnTo>
                      <a:pt x="75257" y="87713"/>
                    </a:lnTo>
                    <a:lnTo>
                      <a:pt x="44116"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1" name="Freeform: Shape 460">
                <a:extLst>
                  <a:ext uri="{FF2B5EF4-FFF2-40B4-BE49-F238E27FC236}">
                    <a16:creationId xmlns:a16="http://schemas.microsoft.com/office/drawing/2014/main" id="{EA447CBC-9E1D-4F0A-ADAE-34F5FEA33BE7}"/>
                  </a:ext>
                </a:extLst>
              </p:cNvPr>
              <p:cNvSpPr/>
              <p:nvPr/>
            </p:nvSpPr>
            <p:spPr>
              <a:xfrm>
                <a:off x="5666410" y="5360235"/>
                <a:ext cx="216209" cy="144286"/>
              </a:xfrm>
              <a:custGeom>
                <a:avLst/>
                <a:gdLst>
                  <a:gd name="connsiteX0" fmla="*/ 20036 w 216209"/>
                  <a:gd name="connsiteY0" fmla="*/ 144286 h 144286"/>
                  <a:gd name="connsiteX1" fmla="*/ 1871 w 216209"/>
                  <a:gd name="connsiteY1" fmla="*/ 115221 h 144286"/>
                  <a:gd name="connsiteX2" fmla="*/ 52215 w 216209"/>
                  <a:gd name="connsiteY2" fmla="*/ 26470 h 144286"/>
                  <a:gd name="connsiteX3" fmla="*/ 91660 w 216209"/>
                  <a:gd name="connsiteY3" fmla="*/ 0 h 144286"/>
                  <a:gd name="connsiteX4" fmla="*/ 199615 w 216209"/>
                  <a:gd name="connsiteY4" fmla="*/ 0 h 144286"/>
                  <a:gd name="connsiteX5" fmla="*/ 215186 w 216209"/>
                  <a:gd name="connsiteY5" fmla="*/ 25432 h 144286"/>
                  <a:gd name="connsiteX6" fmla="*/ 165879 w 216209"/>
                  <a:gd name="connsiteY6" fmla="*/ 115221 h 144286"/>
                  <a:gd name="connsiteX7" fmla="*/ 119168 w 216209"/>
                  <a:gd name="connsiteY7" fmla="*/ 144286 h 144286"/>
                  <a:gd name="connsiteX8" fmla="*/ 19517 w 216209"/>
                  <a:gd name="connsiteY8" fmla="*/ 144286 h 144286"/>
                  <a:gd name="connsiteX9" fmla="*/ 113459 w 216209"/>
                  <a:gd name="connsiteY9" fmla="*/ 104841 h 144286"/>
                  <a:gd name="connsiteX10" fmla="*/ 135257 w 216209"/>
                  <a:gd name="connsiteY10" fmla="*/ 91866 h 144286"/>
                  <a:gd name="connsiteX11" fmla="*/ 155499 w 216209"/>
                  <a:gd name="connsiteY11" fmla="*/ 52420 h 144286"/>
                  <a:gd name="connsiteX12" fmla="*/ 148233 w 216209"/>
                  <a:gd name="connsiteY12" fmla="*/ 40483 h 144286"/>
                  <a:gd name="connsiteX13" fmla="*/ 100483 w 216209"/>
                  <a:gd name="connsiteY13" fmla="*/ 40483 h 144286"/>
                  <a:gd name="connsiteX14" fmla="*/ 82318 w 216209"/>
                  <a:gd name="connsiteY14" fmla="*/ 52420 h 144286"/>
                  <a:gd name="connsiteX15" fmla="*/ 60519 w 216209"/>
                  <a:gd name="connsiteY15" fmla="*/ 91866 h 144286"/>
                  <a:gd name="connsiteX16" fmla="*/ 67785 w 216209"/>
                  <a:gd name="connsiteY16" fmla="*/ 104841 h 144286"/>
                  <a:gd name="connsiteX17" fmla="*/ 113459 w 216209"/>
                  <a:gd name="connsiteY17" fmla="*/ 104841 h 14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209" h="144286">
                    <a:moveTo>
                      <a:pt x="20036" y="144286"/>
                    </a:moveTo>
                    <a:cubicBezTo>
                      <a:pt x="10175" y="141691"/>
                      <a:pt x="-5396" y="140653"/>
                      <a:pt x="1871" y="115221"/>
                    </a:cubicBezTo>
                    <a:lnTo>
                      <a:pt x="52215" y="26470"/>
                    </a:lnTo>
                    <a:cubicBezTo>
                      <a:pt x="65190" y="10899"/>
                      <a:pt x="75052" y="0"/>
                      <a:pt x="91660" y="0"/>
                    </a:cubicBezTo>
                    <a:lnTo>
                      <a:pt x="199615" y="0"/>
                    </a:lnTo>
                    <a:cubicBezTo>
                      <a:pt x="212590" y="0"/>
                      <a:pt x="218819" y="19204"/>
                      <a:pt x="215186" y="25432"/>
                    </a:cubicBezTo>
                    <a:lnTo>
                      <a:pt x="165879" y="115221"/>
                    </a:lnTo>
                    <a:cubicBezTo>
                      <a:pt x="156537" y="133387"/>
                      <a:pt x="135776" y="144286"/>
                      <a:pt x="119168" y="144286"/>
                    </a:cubicBezTo>
                    <a:lnTo>
                      <a:pt x="19517" y="144286"/>
                    </a:lnTo>
                    <a:close/>
                    <a:moveTo>
                      <a:pt x="113459" y="104841"/>
                    </a:moveTo>
                    <a:cubicBezTo>
                      <a:pt x="120725" y="104841"/>
                      <a:pt x="127991" y="98613"/>
                      <a:pt x="135257" y="91866"/>
                    </a:cubicBezTo>
                    <a:lnTo>
                      <a:pt x="155499" y="52420"/>
                    </a:lnTo>
                    <a:cubicBezTo>
                      <a:pt x="156537" y="48787"/>
                      <a:pt x="154461" y="40483"/>
                      <a:pt x="148233" y="40483"/>
                    </a:cubicBezTo>
                    <a:lnTo>
                      <a:pt x="100483" y="40483"/>
                    </a:lnTo>
                    <a:cubicBezTo>
                      <a:pt x="93217" y="40483"/>
                      <a:pt x="88546" y="45154"/>
                      <a:pt x="82318" y="52420"/>
                    </a:cubicBezTo>
                    <a:lnTo>
                      <a:pt x="60519" y="91866"/>
                    </a:lnTo>
                    <a:cubicBezTo>
                      <a:pt x="55848" y="103803"/>
                      <a:pt x="64152" y="103803"/>
                      <a:pt x="67785" y="104841"/>
                    </a:cubicBezTo>
                    <a:lnTo>
                      <a:pt x="113459" y="104841"/>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2" name="Freeform: Shape 461">
                <a:extLst>
                  <a:ext uri="{FF2B5EF4-FFF2-40B4-BE49-F238E27FC236}">
                    <a16:creationId xmlns:a16="http://schemas.microsoft.com/office/drawing/2014/main" id="{3B53447A-00A2-44CF-85B4-90478F4C3019}"/>
                  </a:ext>
                </a:extLst>
              </p:cNvPr>
              <p:cNvSpPr/>
              <p:nvPr/>
            </p:nvSpPr>
            <p:spPr>
              <a:xfrm>
                <a:off x="5848379" y="5360754"/>
                <a:ext cx="252241" cy="142729"/>
              </a:xfrm>
              <a:custGeom>
                <a:avLst/>
                <a:gdLst>
                  <a:gd name="connsiteX0" fmla="*/ 0 w 252241"/>
                  <a:gd name="connsiteY0" fmla="*/ 142729 h 142729"/>
                  <a:gd name="connsiteX1" fmla="*/ 81485 w 252241"/>
                  <a:gd name="connsiteY1" fmla="*/ 0 h 142729"/>
                  <a:gd name="connsiteX2" fmla="*/ 127159 w 252241"/>
                  <a:gd name="connsiteY2" fmla="*/ 0 h 142729"/>
                  <a:gd name="connsiteX3" fmla="*/ 154666 w 252241"/>
                  <a:gd name="connsiteY3" fmla="*/ 89790 h 142729"/>
                  <a:gd name="connsiteX4" fmla="*/ 207606 w 252241"/>
                  <a:gd name="connsiteY4" fmla="*/ 0 h 142729"/>
                  <a:gd name="connsiteX5" fmla="*/ 252241 w 252241"/>
                  <a:gd name="connsiteY5" fmla="*/ 0 h 142729"/>
                  <a:gd name="connsiteX6" fmla="*/ 169199 w 252241"/>
                  <a:gd name="connsiteY6" fmla="*/ 142729 h 142729"/>
                  <a:gd name="connsiteX7" fmla="*/ 129754 w 252241"/>
                  <a:gd name="connsiteY7" fmla="*/ 142729 h 142729"/>
                  <a:gd name="connsiteX8" fmla="*/ 100689 w 252241"/>
                  <a:gd name="connsiteY8" fmla="*/ 49306 h 142729"/>
                  <a:gd name="connsiteX9" fmla="*/ 46711 w 252241"/>
                  <a:gd name="connsiteY9" fmla="*/ 142729 h 142729"/>
                  <a:gd name="connsiteX10" fmla="*/ 0 w 252241"/>
                  <a:gd name="connsiteY10" fmla="*/ 142729 h 142729"/>
                  <a:gd name="connsiteX11" fmla="*/ 0 w 252241"/>
                  <a:gd name="connsiteY11"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241" h="142729">
                    <a:moveTo>
                      <a:pt x="0" y="142729"/>
                    </a:moveTo>
                    <a:lnTo>
                      <a:pt x="81485" y="0"/>
                    </a:lnTo>
                    <a:lnTo>
                      <a:pt x="127159" y="0"/>
                    </a:lnTo>
                    <a:lnTo>
                      <a:pt x="154666" y="89790"/>
                    </a:lnTo>
                    <a:lnTo>
                      <a:pt x="207606" y="0"/>
                    </a:lnTo>
                    <a:lnTo>
                      <a:pt x="252241" y="0"/>
                    </a:lnTo>
                    <a:lnTo>
                      <a:pt x="169199" y="142729"/>
                    </a:lnTo>
                    <a:lnTo>
                      <a:pt x="129754" y="142729"/>
                    </a:lnTo>
                    <a:lnTo>
                      <a:pt x="100689" y="49306"/>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3" name="Freeform: Shape 462">
                <a:extLst>
                  <a:ext uri="{FF2B5EF4-FFF2-40B4-BE49-F238E27FC236}">
                    <a16:creationId xmlns:a16="http://schemas.microsoft.com/office/drawing/2014/main" id="{3978846F-774A-4A57-BC0B-A434C79FA36F}"/>
                  </a:ext>
                </a:extLst>
              </p:cNvPr>
              <p:cNvSpPr/>
              <p:nvPr/>
            </p:nvSpPr>
            <p:spPr>
              <a:xfrm>
                <a:off x="6115152" y="5359716"/>
                <a:ext cx="210200" cy="143767"/>
              </a:xfrm>
              <a:custGeom>
                <a:avLst/>
                <a:gdLst>
                  <a:gd name="connsiteX0" fmla="*/ 116259 w 210200"/>
                  <a:gd name="connsiteY0" fmla="*/ 90828 h 143767"/>
                  <a:gd name="connsiteX1" fmla="*/ 166604 w 210200"/>
                  <a:gd name="connsiteY1" fmla="*/ 45154 h 143767"/>
                  <a:gd name="connsiteX2" fmla="*/ 164009 w 210200"/>
                  <a:gd name="connsiteY2" fmla="*/ 89790 h 143767"/>
                  <a:gd name="connsiteX3" fmla="*/ 116259 w 210200"/>
                  <a:gd name="connsiteY3" fmla="*/ 90828 h 143767"/>
                  <a:gd name="connsiteX4" fmla="*/ 116259 w 210200"/>
                  <a:gd name="connsiteY4" fmla="*/ 90828 h 143767"/>
                  <a:gd name="connsiteX5" fmla="*/ 58649 w 210200"/>
                  <a:gd name="connsiteY5" fmla="*/ 143767 h 143767"/>
                  <a:gd name="connsiteX6" fmla="*/ 80447 w 210200"/>
                  <a:gd name="connsiteY6" fmla="*/ 124044 h 143767"/>
                  <a:gd name="connsiteX7" fmla="*/ 163490 w 210200"/>
                  <a:gd name="connsiteY7" fmla="*/ 124044 h 143767"/>
                  <a:gd name="connsiteX8" fmla="*/ 162452 w 210200"/>
                  <a:gd name="connsiteY8" fmla="*/ 143248 h 143767"/>
                  <a:gd name="connsiteX9" fmla="*/ 203973 w 210200"/>
                  <a:gd name="connsiteY9" fmla="*/ 143248 h 143767"/>
                  <a:gd name="connsiteX10" fmla="*/ 210201 w 210200"/>
                  <a:gd name="connsiteY10" fmla="*/ 0 h 143767"/>
                  <a:gd name="connsiteX11" fmla="*/ 157262 w 210200"/>
                  <a:gd name="connsiteY11" fmla="*/ 0 h 143767"/>
                  <a:gd name="connsiteX12" fmla="*/ 0 w 210200"/>
                  <a:gd name="connsiteY12" fmla="*/ 143248 h 143767"/>
                  <a:gd name="connsiteX13" fmla="*/ 58649 w 210200"/>
                  <a:gd name="connsiteY13" fmla="*/ 143248 h 14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200" h="143767">
                    <a:moveTo>
                      <a:pt x="116259" y="90828"/>
                    </a:moveTo>
                    <a:lnTo>
                      <a:pt x="166604" y="45154"/>
                    </a:lnTo>
                    <a:lnTo>
                      <a:pt x="164009" y="89790"/>
                    </a:lnTo>
                    <a:lnTo>
                      <a:pt x="116259" y="90828"/>
                    </a:lnTo>
                    <a:lnTo>
                      <a:pt x="116259" y="90828"/>
                    </a:lnTo>
                    <a:close/>
                    <a:moveTo>
                      <a:pt x="58649" y="143767"/>
                    </a:moveTo>
                    <a:lnTo>
                      <a:pt x="80447" y="124044"/>
                    </a:lnTo>
                    <a:lnTo>
                      <a:pt x="163490" y="124044"/>
                    </a:lnTo>
                    <a:lnTo>
                      <a:pt x="162452" y="143248"/>
                    </a:lnTo>
                    <a:lnTo>
                      <a:pt x="203973" y="143248"/>
                    </a:lnTo>
                    <a:lnTo>
                      <a:pt x="210201" y="0"/>
                    </a:lnTo>
                    <a:lnTo>
                      <a:pt x="157262" y="0"/>
                    </a:lnTo>
                    <a:lnTo>
                      <a:pt x="0" y="143248"/>
                    </a:lnTo>
                    <a:lnTo>
                      <a:pt x="58649" y="143248"/>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4" name="Freeform: Shape 463">
                <a:extLst>
                  <a:ext uri="{FF2B5EF4-FFF2-40B4-BE49-F238E27FC236}">
                    <a16:creationId xmlns:a16="http://schemas.microsoft.com/office/drawing/2014/main" id="{B0CB5280-74CB-446D-B0AA-702DE45BA0A7}"/>
                  </a:ext>
                </a:extLst>
              </p:cNvPr>
              <p:cNvSpPr/>
              <p:nvPr/>
            </p:nvSpPr>
            <p:spPr>
              <a:xfrm>
                <a:off x="5080237" y="5577183"/>
                <a:ext cx="145324" cy="142728"/>
              </a:xfrm>
              <a:custGeom>
                <a:avLst/>
                <a:gdLst>
                  <a:gd name="connsiteX0" fmla="*/ 0 w 145324"/>
                  <a:gd name="connsiteY0" fmla="*/ 142729 h 142728"/>
                  <a:gd name="connsiteX1" fmla="*/ 80447 w 145324"/>
                  <a:gd name="connsiteY1" fmla="*/ 0 h 142728"/>
                  <a:gd name="connsiteX2" fmla="*/ 128716 w 145324"/>
                  <a:gd name="connsiteY2" fmla="*/ 0 h 142728"/>
                  <a:gd name="connsiteX3" fmla="*/ 69548 w 145324"/>
                  <a:gd name="connsiteY3" fmla="*/ 103284 h 142728"/>
                  <a:gd name="connsiteX4" fmla="*/ 145324 w 145324"/>
                  <a:gd name="connsiteY4" fmla="*/ 103284 h 142728"/>
                  <a:gd name="connsiteX5" fmla="*/ 122487 w 145324"/>
                  <a:gd name="connsiteY5" fmla="*/ 142729 h 142728"/>
                  <a:gd name="connsiteX6" fmla="*/ 0 w 145324"/>
                  <a:gd name="connsiteY6" fmla="*/ 142729 h 142728"/>
                  <a:gd name="connsiteX7" fmla="*/ 0 w 145324"/>
                  <a:gd name="connsiteY7"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24" h="142728">
                    <a:moveTo>
                      <a:pt x="0" y="142729"/>
                    </a:moveTo>
                    <a:lnTo>
                      <a:pt x="80447" y="0"/>
                    </a:lnTo>
                    <a:lnTo>
                      <a:pt x="128716" y="0"/>
                    </a:lnTo>
                    <a:lnTo>
                      <a:pt x="69548" y="103284"/>
                    </a:lnTo>
                    <a:lnTo>
                      <a:pt x="145324" y="103284"/>
                    </a:lnTo>
                    <a:lnTo>
                      <a:pt x="122487"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5" name="Freeform: Shape 464">
                <a:extLst>
                  <a:ext uri="{FF2B5EF4-FFF2-40B4-BE49-F238E27FC236}">
                    <a16:creationId xmlns:a16="http://schemas.microsoft.com/office/drawing/2014/main" id="{D6E2F9DB-029D-497F-B33E-3A65907AE350}"/>
                  </a:ext>
                </a:extLst>
              </p:cNvPr>
              <p:cNvSpPr/>
              <p:nvPr/>
            </p:nvSpPr>
            <p:spPr>
              <a:xfrm>
                <a:off x="5219333" y="5577183"/>
                <a:ext cx="127677" cy="142728"/>
              </a:xfrm>
              <a:custGeom>
                <a:avLst/>
                <a:gdLst>
                  <a:gd name="connsiteX0" fmla="*/ 0 w 127677"/>
                  <a:gd name="connsiteY0" fmla="*/ 142729 h 142728"/>
                  <a:gd name="connsiteX1" fmla="*/ 83042 w 127677"/>
                  <a:gd name="connsiteY1" fmla="*/ 0 h 142728"/>
                  <a:gd name="connsiteX2" fmla="*/ 127678 w 127677"/>
                  <a:gd name="connsiteY2" fmla="*/ 0 h 142728"/>
                  <a:gd name="connsiteX3" fmla="*/ 45673 w 127677"/>
                  <a:gd name="connsiteY3" fmla="*/ 142729 h 142728"/>
                  <a:gd name="connsiteX4" fmla="*/ 0 w 127677"/>
                  <a:gd name="connsiteY4" fmla="*/ 142729 h 142728"/>
                  <a:gd name="connsiteX5" fmla="*/ 0 w 127677"/>
                  <a:gd name="connsiteY5"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77" h="142728">
                    <a:moveTo>
                      <a:pt x="0" y="142729"/>
                    </a:moveTo>
                    <a:lnTo>
                      <a:pt x="83042" y="0"/>
                    </a:lnTo>
                    <a:lnTo>
                      <a:pt x="127678" y="0"/>
                    </a:lnTo>
                    <a:lnTo>
                      <a:pt x="45673"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6" name="Freeform: Shape 465">
                <a:extLst>
                  <a:ext uri="{FF2B5EF4-FFF2-40B4-BE49-F238E27FC236}">
                    <a16:creationId xmlns:a16="http://schemas.microsoft.com/office/drawing/2014/main" id="{7030E32E-23F2-4485-BD91-038F01F9F7E5}"/>
                  </a:ext>
                </a:extLst>
              </p:cNvPr>
              <p:cNvSpPr/>
              <p:nvPr/>
            </p:nvSpPr>
            <p:spPr>
              <a:xfrm>
                <a:off x="5820871" y="5577183"/>
                <a:ext cx="128715" cy="142728"/>
              </a:xfrm>
              <a:custGeom>
                <a:avLst/>
                <a:gdLst>
                  <a:gd name="connsiteX0" fmla="*/ 0 w 128715"/>
                  <a:gd name="connsiteY0" fmla="*/ 142729 h 142728"/>
                  <a:gd name="connsiteX1" fmla="*/ 84080 w 128715"/>
                  <a:gd name="connsiteY1" fmla="*/ 0 h 142728"/>
                  <a:gd name="connsiteX2" fmla="*/ 128716 w 128715"/>
                  <a:gd name="connsiteY2" fmla="*/ 0 h 142728"/>
                  <a:gd name="connsiteX3" fmla="*/ 45673 w 128715"/>
                  <a:gd name="connsiteY3" fmla="*/ 142729 h 142728"/>
                  <a:gd name="connsiteX4" fmla="*/ 0 w 128715"/>
                  <a:gd name="connsiteY4" fmla="*/ 142729 h 142728"/>
                  <a:gd name="connsiteX5" fmla="*/ 0 w 128715"/>
                  <a:gd name="connsiteY5"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8">
                    <a:moveTo>
                      <a:pt x="0" y="142729"/>
                    </a:moveTo>
                    <a:lnTo>
                      <a:pt x="84080" y="0"/>
                    </a:lnTo>
                    <a:lnTo>
                      <a:pt x="128716" y="0"/>
                    </a:lnTo>
                    <a:lnTo>
                      <a:pt x="45673"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7" name="Freeform: Shape 466">
                <a:extLst>
                  <a:ext uri="{FF2B5EF4-FFF2-40B4-BE49-F238E27FC236}">
                    <a16:creationId xmlns:a16="http://schemas.microsoft.com/office/drawing/2014/main" id="{A46568EF-9084-4B59-AAF3-6012C6F6AF02}"/>
                  </a:ext>
                </a:extLst>
              </p:cNvPr>
              <p:cNvSpPr/>
              <p:nvPr/>
            </p:nvSpPr>
            <p:spPr>
              <a:xfrm>
                <a:off x="5712916" y="5577183"/>
                <a:ext cx="174388" cy="142728"/>
              </a:xfrm>
              <a:custGeom>
                <a:avLst/>
                <a:gdLst>
                  <a:gd name="connsiteX0" fmla="*/ 0 w 174388"/>
                  <a:gd name="connsiteY0" fmla="*/ 142729 h 142728"/>
                  <a:gd name="connsiteX1" fmla="*/ 59168 w 174388"/>
                  <a:gd name="connsiteY1" fmla="*/ 41002 h 142728"/>
                  <a:gd name="connsiteX2" fmla="*/ 14532 w 174388"/>
                  <a:gd name="connsiteY2" fmla="*/ 41002 h 142728"/>
                  <a:gd name="connsiteX3" fmla="*/ 37369 w 174388"/>
                  <a:gd name="connsiteY3" fmla="*/ 0 h 142728"/>
                  <a:gd name="connsiteX4" fmla="*/ 174389 w 174388"/>
                  <a:gd name="connsiteY4" fmla="*/ 0 h 142728"/>
                  <a:gd name="connsiteX5" fmla="*/ 151552 w 174388"/>
                  <a:gd name="connsiteY5" fmla="*/ 39445 h 142728"/>
                  <a:gd name="connsiteX6" fmla="*/ 104322 w 174388"/>
                  <a:gd name="connsiteY6" fmla="*/ 39445 h 142728"/>
                  <a:gd name="connsiteX7" fmla="*/ 44635 w 174388"/>
                  <a:gd name="connsiteY7" fmla="*/ 142729 h 142728"/>
                  <a:gd name="connsiteX8" fmla="*/ 0 w 174388"/>
                  <a:gd name="connsiteY8" fmla="*/ 142729 h 142728"/>
                  <a:gd name="connsiteX9" fmla="*/ 0 w 174388"/>
                  <a:gd name="connsiteY9"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388" h="142728">
                    <a:moveTo>
                      <a:pt x="0" y="142729"/>
                    </a:moveTo>
                    <a:lnTo>
                      <a:pt x="59168" y="41002"/>
                    </a:lnTo>
                    <a:lnTo>
                      <a:pt x="14532" y="41002"/>
                    </a:lnTo>
                    <a:lnTo>
                      <a:pt x="37369" y="0"/>
                    </a:lnTo>
                    <a:lnTo>
                      <a:pt x="174389" y="0"/>
                    </a:lnTo>
                    <a:lnTo>
                      <a:pt x="151552" y="39445"/>
                    </a:lnTo>
                    <a:lnTo>
                      <a:pt x="104322" y="39445"/>
                    </a:lnTo>
                    <a:lnTo>
                      <a:pt x="4463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8" name="Freeform: Shape 467">
                <a:extLst>
                  <a:ext uri="{FF2B5EF4-FFF2-40B4-BE49-F238E27FC236}">
                    <a16:creationId xmlns:a16="http://schemas.microsoft.com/office/drawing/2014/main" id="{F7565A0E-7E75-4B91-9848-B047B813D138}"/>
                  </a:ext>
                </a:extLst>
              </p:cNvPr>
              <p:cNvSpPr/>
              <p:nvPr/>
            </p:nvSpPr>
            <p:spPr>
              <a:xfrm>
                <a:off x="5490778" y="5577183"/>
                <a:ext cx="241341" cy="142728"/>
              </a:xfrm>
              <a:custGeom>
                <a:avLst/>
                <a:gdLst>
                  <a:gd name="connsiteX0" fmla="*/ 0 w 241341"/>
                  <a:gd name="connsiteY0" fmla="*/ 142729 h 142728"/>
                  <a:gd name="connsiteX1" fmla="*/ 82004 w 241341"/>
                  <a:gd name="connsiteY1" fmla="*/ 0 h 142728"/>
                  <a:gd name="connsiteX2" fmla="*/ 126121 w 241341"/>
                  <a:gd name="connsiteY2" fmla="*/ 0 h 142728"/>
                  <a:gd name="connsiteX3" fmla="*/ 96018 w 241341"/>
                  <a:gd name="connsiteY3" fmla="*/ 51382 h 142728"/>
                  <a:gd name="connsiteX4" fmla="*/ 168161 w 241341"/>
                  <a:gd name="connsiteY4" fmla="*/ 51382 h 142728"/>
                  <a:gd name="connsiteX5" fmla="*/ 198264 w 241341"/>
                  <a:gd name="connsiteY5" fmla="*/ 0 h 142728"/>
                  <a:gd name="connsiteX6" fmla="*/ 241342 w 241341"/>
                  <a:gd name="connsiteY6" fmla="*/ 0 h 142728"/>
                  <a:gd name="connsiteX7" fmla="*/ 162452 w 241341"/>
                  <a:gd name="connsiteY7" fmla="*/ 142729 h 142728"/>
                  <a:gd name="connsiteX8" fmla="*/ 115221 w 241341"/>
                  <a:gd name="connsiteY8" fmla="*/ 142729 h 142728"/>
                  <a:gd name="connsiteX9" fmla="*/ 145324 w 241341"/>
                  <a:gd name="connsiteY9" fmla="*/ 87713 h 142728"/>
                  <a:gd name="connsiteX10" fmla="*/ 74738 w 241341"/>
                  <a:gd name="connsiteY10" fmla="*/ 87713 h 142728"/>
                  <a:gd name="connsiteX11" fmla="*/ 44635 w 241341"/>
                  <a:gd name="connsiteY11" fmla="*/ 142729 h 142728"/>
                  <a:gd name="connsiteX12" fmla="*/ 0 w 241341"/>
                  <a:gd name="connsiteY12" fmla="*/ 142729 h 142728"/>
                  <a:gd name="connsiteX13" fmla="*/ 0 w 241341"/>
                  <a:gd name="connsiteY13"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341" h="142728">
                    <a:moveTo>
                      <a:pt x="0" y="142729"/>
                    </a:moveTo>
                    <a:lnTo>
                      <a:pt x="82004" y="0"/>
                    </a:lnTo>
                    <a:lnTo>
                      <a:pt x="126121" y="0"/>
                    </a:lnTo>
                    <a:lnTo>
                      <a:pt x="96018" y="51382"/>
                    </a:lnTo>
                    <a:lnTo>
                      <a:pt x="168161" y="51382"/>
                    </a:lnTo>
                    <a:lnTo>
                      <a:pt x="198264" y="0"/>
                    </a:lnTo>
                    <a:lnTo>
                      <a:pt x="241342" y="0"/>
                    </a:lnTo>
                    <a:lnTo>
                      <a:pt x="162452" y="142729"/>
                    </a:lnTo>
                    <a:lnTo>
                      <a:pt x="115221" y="142729"/>
                    </a:lnTo>
                    <a:lnTo>
                      <a:pt x="145324" y="87713"/>
                    </a:lnTo>
                    <a:lnTo>
                      <a:pt x="74738" y="87713"/>
                    </a:lnTo>
                    <a:lnTo>
                      <a:pt x="4463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9" name="Freeform: Shape 468">
                <a:extLst>
                  <a:ext uri="{FF2B5EF4-FFF2-40B4-BE49-F238E27FC236}">
                    <a16:creationId xmlns:a16="http://schemas.microsoft.com/office/drawing/2014/main" id="{10EF4298-9435-40AC-B846-E37C7031A7DA}"/>
                  </a:ext>
                </a:extLst>
              </p:cNvPr>
              <p:cNvSpPr/>
              <p:nvPr/>
            </p:nvSpPr>
            <p:spPr>
              <a:xfrm>
                <a:off x="5899242" y="5577183"/>
                <a:ext cx="251722" cy="142728"/>
              </a:xfrm>
              <a:custGeom>
                <a:avLst/>
                <a:gdLst>
                  <a:gd name="connsiteX0" fmla="*/ 0 w 251722"/>
                  <a:gd name="connsiteY0" fmla="*/ 142729 h 142728"/>
                  <a:gd name="connsiteX1" fmla="*/ 81485 w 251722"/>
                  <a:gd name="connsiteY1" fmla="*/ 0 h 142728"/>
                  <a:gd name="connsiteX2" fmla="*/ 127159 w 251722"/>
                  <a:gd name="connsiteY2" fmla="*/ 0 h 142728"/>
                  <a:gd name="connsiteX3" fmla="*/ 154666 w 251722"/>
                  <a:gd name="connsiteY3" fmla="*/ 88751 h 142728"/>
                  <a:gd name="connsiteX4" fmla="*/ 206568 w 251722"/>
                  <a:gd name="connsiteY4" fmla="*/ 0 h 142728"/>
                  <a:gd name="connsiteX5" fmla="*/ 251722 w 251722"/>
                  <a:gd name="connsiteY5" fmla="*/ 0 h 142728"/>
                  <a:gd name="connsiteX6" fmla="*/ 170237 w 251722"/>
                  <a:gd name="connsiteY6" fmla="*/ 142729 h 142728"/>
                  <a:gd name="connsiteX7" fmla="*/ 129754 w 251722"/>
                  <a:gd name="connsiteY7" fmla="*/ 142729 h 142728"/>
                  <a:gd name="connsiteX8" fmla="*/ 100689 w 251722"/>
                  <a:gd name="connsiteY8" fmla="*/ 47749 h 142728"/>
                  <a:gd name="connsiteX9" fmla="*/ 47749 w 251722"/>
                  <a:gd name="connsiteY9" fmla="*/ 142729 h 142728"/>
                  <a:gd name="connsiteX10" fmla="*/ 0 w 251722"/>
                  <a:gd name="connsiteY10" fmla="*/ 142729 h 142728"/>
                  <a:gd name="connsiteX11" fmla="*/ 0 w 251722"/>
                  <a:gd name="connsiteY11"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22" h="142728">
                    <a:moveTo>
                      <a:pt x="0" y="142729"/>
                    </a:moveTo>
                    <a:lnTo>
                      <a:pt x="81485" y="0"/>
                    </a:lnTo>
                    <a:lnTo>
                      <a:pt x="127159" y="0"/>
                    </a:lnTo>
                    <a:lnTo>
                      <a:pt x="154666" y="88751"/>
                    </a:lnTo>
                    <a:lnTo>
                      <a:pt x="206568" y="0"/>
                    </a:lnTo>
                    <a:lnTo>
                      <a:pt x="251722" y="0"/>
                    </a:lnTo>
                    <a:lnTo>
                      <a:pt x="170237" y="142729"/>
                    </a:lnTo>
                    <a:lnTo>
                      <a:pt x="129754" y="142729"/>
                    </a:lnTo>
                    <a:lnTo>
                      <a:pt x="100689" y="47749"/>
                    </a:lnTo>
                    <a:lnTo>
                      <a:pt x="47749"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0" name="Freeform: Shape 469">
                <a:extLst>
                  <a:ext uri="{FF2B5EF4-FFF2-40B4-BE49-F238E27FC236}">
                    <a16:creationId xmlns:a16="http://schemas.microsoft.com/office/drawing/2014/main" id="{178C0CB1-FF31-455A-B8E9-207B9DA5B507}"/>
                  </a:ext>
                </a:extLst>
              </p:cNvPr>
              <p:cNvSpPr/>
              <p:nvPr/>
            </p:nvSpPr>
            <p:spPr>
              <a:xfrm>
                <a:off x="5309337" y="5576145"/>
                <a:ext cx="218781" cy="143767"/>
              </a:xfrm>
              <a:custGeom>
                <a:avLst/>
                <a:gdLst>
                  <a:gd name="connsiteX0" fmla="*/ 58435 w 218781"/>
                  <a:gd name="connsiteY0" fmla="*/ 20242 h 143767"/>
                  <a:gd name="connsiteX1" fmla="*/ 10685 w 218781"/>
                  <a:gd name="connsiteY1" fmla="*/ 102246 h 143767"/>
                  <a:gd name="connsiteX2" fmla="*/ 24699 w 218781"/>
                  <a:gd name="connsiteY2" fmla="*/ 143767 h 143767"/>
                  <a:gd name="connsiteX3" fmla="*/ 112931 w 218781"/>
                  <a:gd name="connsiteY3" fmla="*/ 143767 h 143767"/>
                  <a:gd name="connsiteX4" fmla="*/ 174694 w 218781"/>
                  <a:gd name="connsiteY4" fmla="*/ 105360 h 143767"/>
                  <a:gd name="connsiteX5" fmla="*/ 197012 w 218781"/>
                  <a:gd name="connsiteY5" fmla="*/ 63839 h 143767"/>
                  <a:gd name="connsiteX6" fmla="*/ 119678 w 218781"/>
                  <a:gd name="connsiteY6" fmla="*/ 63839 h 143767"/>
                  <a:gd name="connsiteX7" fmla="*/ 102551 w 218781"/>
                  <a:gd name="connsiteY7" fmla="*/ 92904 h 143767"/>
                  <a:gd name="connsiteX8" fmla="*/ 135768 w 218781"/>
                  <a:gd name="connsiteY8" fmla="*/ 92904 h 143767"/>
                  <a:gd name="connsiteX9" fmla="*/ 113969 w 218781"/>
                  <a:gd name="connsiteY9" fmla="*/ 104841 h 143767"/>
                  <a:gd name="connsiteX10" fmla="*/ 67777 w 218781"/>
                  <a:gd name="connsiteY10" fmla="*/ 104841 h 143767"/>
                  <a:gd name="connsiteX11" fmla="*/ 62068 w 218781"/>
                  <a:gd name="connsiteY11" fmla="*/ 90828 h 143767"/>
                  <a:gd name="connsiteX12" fmla="*/ 86981 w 218781"/>
                  <a:gd name="connsiteY12" fmla="*/ 49306 h 143767"/>
                  <a:gd name="connsiteX13" fmla="*/ 108779 w 218781"/>
                  <a:gd name="connsiteY13" fmla="*/ 36850 h 143767"/>
                  <a:gd name="connsiteX14" fmla="*/ 150819 w 218781"/>
                  <a:gd name="connsiteY14" fmla="*/ 36850 h 143767"/>
                  <a:gd name="connsiteX15" fmla="*/ 160681 w 218781"/>
                  <a:gd name="connsiteY15" fmla="*/ 48268 h 143767"/>
                  <a:gd name="connsiteX16" fmla="*/ 205835 w 218781"/>
                  <a:gd name="connsiteY16" fmla="*/ 48268 h 143767"/>
                  <a:gd name="connsiteX17" fmla="*/ 217253 w 218781"/>
                  <a:gd name="connsiteY17" fmla="*/ 28546 h 143767"/>
                  <a:gd name="connsiteX18" fmla="*/ 199088 w 218781"/>
                  <a:gd name="connsiteY18" fmla="*/ 0 h 143767"/>
                  <a:gd name="connsiteX19" fmla="*/ 106703 w 218781"/>
                  <a:gd name="connsiteY19" fmla="*/ 0 h 143767"/>
                  <a:gd name="connsiteX20" fmla="*/ 58954 w 218781"/>
                  <a:gd name="connsiteY20" fmla="*/ 19723 h 14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781" h="143767">
                    <a:moveTo>
                      <a:pt x="58435" y="20242"/>
                    </a:moveTo>
                    <a:cubicBezTo>
                      <a:pt x="49093" y="35293"/>
                      <a:pt x="10685" y="102246"/>
                      <a:pt x="10685" y="102246"/>
                    </a:cubicBezTo>
                    <a:cubicBezTo>
                      <a:pt x="10685" y="102246"/>
                      <a:pt x="-20974" y="143767"/>
                      <a:pt x="24699" y="143767"/>
                    </a:cubicBezTo>
                    <a:cubicBezTo>
                      <a:pt x="70372" y="143767"/>
                      <a:pt x="102032" y="143767"/>
                      <a:pt x="112931" y="143767"/>
                    </a:cubicBezTo>
                    <a:cubicBezTo>
                      <a:pt x="138363" y="143767"/>
                      <a:pt x="156529" y="139615"/>
                      <a:pt x="174694" y="105360"/>
                    </a:cubicBezTo>
                    <a:lnTo>
                      <a:pt x="197012" y="63839"/>
                    </a:lnTo>
                    <a:lnTo>
                      <a:pt x="119678" y="63839"/>
                    </a:lnTo>
                    <a:lnTo>
                      <a:pt x="102551" y="92904"/>
                    </a:lnTo>
                    <a:lnTo>
                      <a:pt x="135768" y="92904"/>
                    </a:lnTo>
                    <a:cubicBezTo>
                      <a:pt x="135768" y="92904"/>
                      <a:pt x="133173" y="104841"/>
                      <a:pt x="113969" y="104841"/>
                    </a:cubicBezTo>
                    <a:cubicBezTo>
                      <a:pt x="113969" y="104841"/>
                      <a:pt x="75043" y="104841"/>
                      <a:pt x="67777" y="104841"/>
                    </a:cubicBezTo>
                    <a:cubicBezTo>
                      <a:pt x="60511" y="104841"/>
                      <a:pt x="57916" y="98613"/>
                      <a:pt x="62068" y="90828"/>
                    </a:cubicBezTo>
                    <a:cubicBezTo>
                      <a:pt x="66220" y="83042"/>
                      <a:pt x="84385" y="53458"/>
                      <a:pt x="86981" y="49306"/>
                    </a:cubicBezTo>
                    <a:cubicBezTo>
                      <a:pt x="89576" y="45154"/>
                      <a:pt x="91133" y="36850"/>
                      <a:pt x="108779" y="36850"/>
                    </a:cubicBezTo>
                    <a:cubicBezTo>
                      <a:pt x="126426" y="36850"/>
                      <a:pt x="150819" y="36850"/>
                      <a:pt x="150819" y="36850"/>
                    </a:cubicBezTo>
                    <a:cubicBezTo>
                      <a:pt x="150819" y="36850"/>
                      <a:pt x="168466" y="35293"/>
                      <a:pt x="160681" y="48268"/>
                    </a:cubicBezTo>
                    <a:lnTo>
                      <a:pt x="205835" y="48268"/>
                    </a:lnTo>
                    <a:lnTo>
                      <a:pt x="217253" y="28546"/>
                    </a:lnTo>
                    <a:cubicBezTo>
                      <a:pt x="217253" y="28546"/>
                      <a:pt x="226595" y="0"/>
                      <a:pt x="199088" y="0"/>
                    </a:cubicBezTo>
                    <a:cubicBezTo>
                      <a:pt x="199088" y="0"/>
                      <a:pt x="134211" y="0"/>
                      <a:pt x="106703" y="0"/>
                    </a:cubicBezTo>
                    <a:cubicBezTo>
                      <a:pt x="79195" y="0"/>
                      <a:pt x="67777" y="5190"/>
                      <a:pt x="58954" y="19723"/>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71" name="Graphic 1339">
                <a:extLst>
                  <a:ext uri="{FF2B5EF4-FFF2-40B4-BE49-F238E27FC236}">
                    <a16:creationId xmlns:a16="http://schemas.microsoft.com/office/drawing/2014/main" id="{0C537245-34A1-480D-A35D-815FFA791F1F}"/>
                  </a:ext>
                </a:extLst>
              </p:cNvPr>
              <p:cNvGrpSpPr/>
              <p:nvPr/>
            </p:nvGrpSpPr>
            <p:grpSpPr>
              <a:xfrm>
                <a:off x="6115885" y="5575626"/>
                <a:ext cx="229709" cy="145324"/>
                <a:chOff x="6115885" y="5575626"/>
                <a:chExt cx="229709" cy="145324"/>
              </a:xfrm>
              <a:solidFill>
                <a:srgbClr val="A1ABB2"/>
              </a:solidFill>
            </p:grpSpPr>
            <p:sp>
              <p:nvSpPr>
                <p:cNvPr id="472" name="Freeform: Shape 471">
                  <a:extLst>
                    <a:ext uri="{FF2B5EF4-FFF2-40B4-BE49-F238E27FC236}">
                      <a16:creationId xmlns:a16="http://schemas.microsoft.com/office/drawing/2014/main" id="{50C669F1-1ACD-4776-9836-6936625FDCEA}"/>
                    </a:ext>
                  </a:extLst>
                </p:cNvPr>
                <p:cNvSpPr/>
                <p:nvPr/>
              </p:nvSpPr>
              <p:spPr>
                <a:xfrm>
                  <a:off x="6115885" y="5575626"/>
                  <a:ext cx="218262" cy="144286"/>
                </a:xfrm>
                <a:custGeom>
                  <a:avLst/>
                  <a:gdLst>
                    <a:gd name="connsiteX0" fmla="*/ 58435 w 218262"/>
                    <a:gd name="connsiteY0" fmla="*/ 20761 h 144286"/>
                    <a:gd name="connsiteX1" fmla="*/ 10685 w 218262"/>
                    <a:gd name="connsiteY1" fmla="*/ 102765 h 144286"/>
                    <a:gd name="connsiteX2" fmla="*/ 24699 w 218262"/>
                    <a:gd name="connsiteY2" fmla="*/ 144286 h 144286"/>
                    <a:gd name="connsiteX3" fmla="*/ 112931 w 218262"/>
                    <a:gd name="connsiteY3" fmla="*/ 144286 h 144286"/>
                    <a:gd name="connsiteX4" fmla="*/ 174694 w 218262"/>
                    <a:gd name="connsiteY4" fmla="*/ 105879 h 144286"/>
                    <a:gd name="connsiteX5" fmla="*/ 197012 w 218262"/>
                    <a:gd name="connsiteY5" fmla="*/ 64358 h 144286"/>
                    <a:gd name="connsiteX6" fmla="*/ 119159 w 218262"/>
                    <a:gd name="connsiteY6" fmla="*/ 64358 h 144286"/>
                    <a:gd name="connsiteX7" fmla="*/ 102032 w 218262"/>
                    <a:gd name="connsiteY7" fmla="*/ 93423 h 144286"/>
                    <a:gd name="connsiteX8" fmla="*/ 135249 w 218262"/>
                    <a:gd name="connsiteY8" fmla="*/ 93423 h 144286"/>
                    <a:gd name="connsiteX9" fmla="*/ 113450 w 218262"/>
                    <a:gd name="connsiteY9" fmla="*/ 105360 h 144286"/>
                    <a:gd name="connsiteX10" fmla="*/ 67258 w 218262"/>
                    <a:gd name="connsiteY10" fmla="*/ 105360 h 144286"/>
                    <a:gd name="connsiteX11" fmla="*/ 61549 w 218262"/>
                    <a:gd name="connsiteY11" fmla="*/ 91347 h 144286"/>
                    <a:gd name="connsiteX12" fmla="*/ 86461 w 218262"/>
                    <a:gd name="connsiteY12" fmla="*/ 49306 h 144286"/>
                    <a:gd name="connsiteX13" fmla="*/ 108260 w 218262"/>
                    <a:gd name="connsiteY13" fmla="*/ 36850 h 144286"/>
                    <a:gd name="connsiteX14" fmla="*/ 150300 w 218262"/>
                    <a:gd name="connsiteY14" fmla="*/ 36850 h 144286"/>
                    <a:gd name="connsiteX15" fmla="*/ 160162 w 218262"/>
                    <a:gd name="connsiteY15" fmla="*/ 48268 h 144286"/>
                    <a:gd name="connsiteX16" fmla="*/ 205316 w 218262"/>
                    <a:gd name="connsiteY16" fmla="*/ 48268 h 144286"/>
                    <a:gd name="connsiteX17" fmla="*/ 216734 w 218262"/>
                    <a:gd name="connsiteY17" fmla="*/ 28546 h 144286"/>
                    <a:gd name="connsiteX18" fmla="*/ 198569 w 218262"/>
                    <a:gd name="connsiteY18" fmla="*/ 0 h 144286"/>
                    <a:gd name="connsiteX19" fmla="*/ 106184 w 218262"/>
                    <a:gd name="connsiteY19" fmla="*/ 0 h 144286"/>
                    <a:gd name="connsiteX20" fmla="*/ 58435 w 218262"/>
                    <a:gd name="connsiteY20" fmla="*/ 19723 h 14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262" h="144286">
                      <a:moveTo>
                        <a:pt x="58435" y="20761"/>
                      </a:moveTo>
                      <a:cubicBezTo>
                        <a:pt x="49093" y="35812"/>
                        <a:pt x="10685" y="102765"/>
                        <a:pt x="10685" y="102765"/>
                      </a:cubicBezTo>
                      <a:cubicBezTo>
                        <a:pt x="10685" y="102765"/>
                        <a:pt x="-20975" y="144286"/>
                        <a:pt x="24699" y="144286"/>
                      </a:cubicBezTo>
                      <a:cubicBezTo>
                        <a:pt x="70372" y="144286"/>
                        <a:pt x="102032" y="144286"/>
                        <a:pt x="112931" y="144286"/>
                      </a:cubicBezTo>
                      <a:cubicBezTo>
                        <a:pt x="138363" y="144286"/>
                        <a:pt x="156529" y="140134"/>
                        <a:pt x="174694" y="105879"/>
                      </a:cubicBezTo>
                      <a:lnTo>
                        <a:pt x="197012" y="64358"/>
                      </a:lnTo>
                      <a:lnTo>
                        <a:pt x="119159" y="64358"/>
                      </a:lnTo>
                      <a:lnTo>
                        <a:pt x="102032" y="93423"/>
                      </a:lnTo>
                      <a:lnTo>
                        <a:pt x="135249" y="93423"/>
                      </a:lnTo>
                      <a:cubicBezTo>
                        <a:pt x="135249" y="93423"/>
                        <a:pt x="132654" y="105360"/>
                        <a:pt x="113450" y="105360"/>
                      </a:cubicBezTo>
                      <a:cubicBezTo>
                        <a:pt x="113450" y="105360"/>
                        <a:pt x="74524" y="105360"/>
                        <a:pt x="67258" y="105360"/>
                      </a:cubicBezTo>
                      <a:cubicBezTo>
                        <a:pt x="59992" y="105360"/>
                        <a:pt x="57397" y="99132"/>
                        <a:pt x="61549" y="91347"/>
                      </a:cubicBezTo>
                      <a:cubicBezTo>
                        <a:pt x="65701" y="83561"/>
                        <a:pt x="83348" y="53978"/>
                        <a:pt x="86461" y="49306"/>
                      </a:cubicBezTo>
                      <a:cubicBezTo>
                        <a:pt x="89057" y="45154"/>
                        <a:pt x="90614" y="36850"/>
                        <a:pt x="108260" y="36850"/>
                      </a:cubicBezTo>
                      <a:cubicBezTo>
                        <a:pt x="125907" y="36850"/>
                        <a:pt x="150300" y="36850"/>
                        <a:pt x="150300" y="36850"/>
                      </a:cubicBezTo>
                      <a:cubicBezTo>
                        <a:pt x="150300" y="36850"/>
                        <a:pt x="167947" y="35293"/>
                        <a:pt x="160162" y="48268"/>
                      </a:cubicBezTo>
                      <a:lnTo>
                        <a:pt x="205316" y="48268"/>
                      </a:lnTo>
                      <a:lnTo>
                        <a:pt x="216734" y="28546"/>
                      </a:lnTo>
                      <a:cubicBezTo>
                        <a:pt x="216734" y="28546"/>
                        <a:pt x="226077" y="0"/>
                        <a:pt x="198569" y="0"/>
                      </a:cubicBezTo>
                      <a:cubicBezTo>
                        <a:pt x="198569" y="0"/>
                        <a:pt x="133692" y="0"/>
                        <a:pt x="106184" y="0"/>
                      </a:cubicBezTo>
                      <a:cubicBezTo>
                        <a:pt x="78676" y="0"/>
                        <a:pt x="67258" y="5190"/>
                        <a:pt x="58435" y="19723"/>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3" name="Freeform: Shape 472">
                  <a:extLst>
                    <a:ext uri="{FF2B5EF4-FFF2-40B4-BE49-F238E27FC236}">
                      <a16:creationId xmlns:a16="http://schemas.microsoft.com/office/drawing/2014/main" id="{5EA765B8-7253-4462-865D-2A59DE08B016}"/>
                    </a:ext>
                  </a:extLst>
                </p:cNvPr>
                <p:cNvSpPr/>
                <p:nvPr/>
              </p:nvSpPr>
              <p:spPr>
                <a:xfrm>
                  <a:off x="6307188" y="5682543"/>
                  <a:ext cx="38407" cy="38407"/>
                </a:xfrm>
                <a:custGeom>
                  <a:avLst/>
                  <a:gdLst>
                    <a:gd name="connsiteX0" fmla="*/ 38407 w 38407"/>
                    <a:gd name="connsiteY0" fmla="*/ 19204 h 38407"/>
                    <a:gd name="connsiteX1" fmla="*/ 19723 w 38407"/>
                    <a:gd name="connsiteY1" fmla="*/ 38407 h 38407"/>
                    <a:gd name="connsiteX2" fmla="*/ 0 w 38407"/>
                    <a:gd name="connsiteY2" fmla="*/ 19204 h 38407"/>
                    <a:gd name="connsiteX3" fmla="*/ 18685 w 38407"/>
                    <a:gd name="connsiteY3" fmla="*/ 0 h 38407"/>
                    <a:gd name="connsiteX4" fmla="*/ 38407 w 38407"/>
                    <a:gd name="connsiteY4" fmla="*/ 19204 h 38407"/>
                    <a:gd name="connsiteX5" fmla="*/ 3114 w 38407"/>
                    <a:gd name="connsiteY5" fmla="*/ 19204 h 38407"/>
                    <a:gd name="connsiteX6" fmla="*/ 19723 w 38407"/>
                    <a:gd name="connsiteY6" fmla="*/ 35293 h 38407"/>
                    <a:gd name="connsiteX7" fmla="*/ 35812 w 38407"/>
                    <a:gd name="connsiteY7" fmla="*/ 19204 h 38407"/>
                    <a:gd name="connsiteX8" fmla="*/ 19203 w 38407"/>
                    <a:gd name="connsiteY8" fmla="*/ 3114 h 38407"/>
                    <a:gd name="connsiteX9" fmla="*/ 3114 w 38407"/>
                    <a:gd name="connsiteY9" fmla="*/ 19204 h 38407"/>
                    <a:gd name="connsiteX10" fmla="*/ 16090 w 38407"/>
                    <a:gd name="connsiteY10" fmla="*/ 30103 h 38407"/>
                    <a:gd name="connsiteX11" fmla="*/ 12456 w 38407"/>
                    <a:gd name="connsiteY11" fmla="*/ 30103 h 38407"/>
                    <a:gd name="connsiteX12" fmla="*/ 12456 w 38407"/>
                    <a:gd name="connsiteY12" fmla="*/ 8304 h 38407"/>
                    <a:gd name="connsiteX13" fmla="*/ 20761 w 38407"/>
                    <a:gd name="connsiteY13" fmla="*/ 8304 h 38407"/>
                    <a:gd name="connsiteX14" fmla="*/ 26989 w 38407"/>
                    <a:gd name="connsiteY14" fmla="*/ 14013 h 38407"/>
                    <a:gd name="connsiteX15" fmla="*/ 22318 w 38407"/>
                    <a:gd name="connsiteY15" fmla="*/ 19204 h 38407"/>
                    <a:gd name="connsiteX16" fmla="*/ 22318 w 38407"/>
                    <a:gd name="connsiteY16" fmla="*/ 19204 h 38407"/>
                    <a:gd name="connsiteX17" fmla="*/ 26470 w 38407"/>
                    <a:gd name="connsiteY17" fmla="*/ 24913 h 38407"/>
                    <a:gd name="connsiteX18" fmla="*/ 27508 w 38407"/>
                    <a:gd name="connsiteY18" fmla="*/ 30622 h 38407"/>
                    <a:gd name="connsiteX19" fmla="*/ 23875 w 38407"/>
                    <a:gd name="connsiteY19" fmla="*/ 30622 h 38407"/>
                    <a:gd name="connsiteX20" fmla="*/ 22837 w 38407"/>
                    <a:gd name="connsiteY20" fmla="*/ 23356 h 38407"/>
                    <a:gd name="connsiteX21" fmla="*/ 19723 w 38407"/>
                    <a:gd name="connsiteY21" fmla="*/ 20761 h 38407"/>
                    <a:gd name="connsiteX22" fmla="*/ 16090 w 38407"/>
                    <a:gd name="connsiteY22" fmla="*/ 20761 h 38407"/>
                    <a:gd name="connsiteX23" fmla="*/ 16090 w 38407"/>
                    <a:gd name="connsiteY23" fmla="*/ 30622 h 38407"/>
                    <a:gd name="connsiteX24" fmla="*/ 16090 w 38407"/>
                    <a:gd name="connsiteY24" fmla="*/ 30622 h 38407"/>
                    <a:gd name="connsiteX25" fmla="*/ 16090 w 38407"/>
                    <a:gd name="connsiteY25" fmla="*/ 17647 h 38407"/>
                    <a:gd name="connsiteX26" fmla="*/ 20761 w 38407"/>
                    <a:gd name="connsiteY26" fmla="*/ 17647 h 38407"/>
                    <a:gd name="connsiteX27" fmla="*/ 23875 w 38407"/>
                    <a:gd name="connsiteY27" fmla="*/ 14013 h 38407"/>
                    <a:gd name="connsiteX28" fmla="*/ 20761 w 38407"/>
                    <a:gd name="connsiteY28" fmla="*/ 10899 h 38407"/>
                    <a:gd name="connsiteX29" fmla="*/ 16090 w 38407"/>
                    <a:gd name="connsiteY29" fmla="*/ 10899 h 38407"/>
                    <a:gd name="connsiteX30" fmla="*/ 16090 w 38407"/>
                    <a:gd name="connsiteY30" fmla="*/ 17647 h 3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407" h="38407">
                      <a:moveTo>
                        <a:pt x="38407" y="19204"/>
                      </a:moveTo>
                      <a:cubicBezTo>
                        <a:pt x="38407" y="30103"/>
                        <a:pt x="30103" y="38407"/>
                        <a:pt x="19723" y="38407"/>
                      </a:cubicBezTo>
                      <a:cubicBezTo>
                        <a:pt x="9342" y="38407"/>
                        <a:pt x="519" y="30103"/>
                        <a:pt x="0" y="19204"/>
                      </a:cubicBezTo>
                      <a:cubicBezTo>
                        <a:pt x="0" y="8823"/>
                        <a:pt x="8304" y="0"/>
                        <a:pt x="18685" y="0"/>
                      </a:cubicBezTo>
                      <a:cubicBezTo>
                        <a:pt x="29065" y="0"/>
                        <a:pt x="37888" y="8304"/>
                        <a:pt x="38407" y="19204"/>
                      </a:cubicBezTo>
                      <a:moveTo>
                        <a:pt x="3114" y="19204"/>
                      </a:moveTo>
                      <a:cubicBezTo>
                        <a:pt x="3114" y="28027"/>
                        <a:pt x="10899" y="35293"/>
                        <a:pt x="19723" y="35293"/>
                      </a:cubicBezTo>
                      <a:cubicBezTo>
                        <a:pt x="28546" y="35293"/>
                        <a:pt x="35812" y="28027"/>
                        <a:pt x="35812" y="19204"/>
                      </a:cubicBezTo>
                      <a:cubicBezTo>
                        <a:pt x="35812" y="10380"/>
                        <a:pt x="28027" y="3114"/>
                        <a:pt x="19203" y="3114"/>
                      </a:cubicBezTo>
                      <a:cubicBezTo>
                        <a:pt x="10380" y="3114"/>
                        <a:pt x="3114" y="10380"/>
                        <a:pt x="3114" y="19204"/>
                      </a:cubicBezTo>
                      <a:moveTo>
                        <a:pt x="16090" y="30103"/>
                      </a:moveTo>
                      <a:lnTo>
                        <a:pt x="12456" y="30103"/>
                      </a:lnTo>
                      <a:lnTo>
                        <a:pt x="12456" y="8304"/>
                      </a:lnTo>
                      <a:lnTo>
                        <a:pt x="20761" y="8304"/>
                      </a:lnTo>
                      <a:cubicBezTo>
                        <a:pt x="24913" y="8304"/>
                        <a:pt x="26989" y="10899"/>
                        <a:pt x="26989" y="14013"/>
                      </a:cubicBezTo>
                      <a:cubicBezTo>
                        <a:pt x="26989" y="16608"/>
                        <a:pt x="24913" y="18685"/>
                        <a:pt x="22318" y="19204"/>
                      </a:cubicBezTo>
                      <a:lnTo>
                        <a:pt x="22318" y="19204"/>
                      </a:lnTo>
                      <a:cubicBezTo>
                        <a:pt x="24913" y="19204"/>
                        <a:pt x="25951" y="20761"/>
                        <a:pt x="26470" y="24913"/>
                      </a:cubicBezTo>
                      <a:cubicBezTo>
                        <a:pt x="26470" y="25951"/>
                        <a:pt x="26470" y="29065"/>
                        <a:pt x="27508" y="30622"/>
                      </a:cubicBezTo>
                      <a:lnTo>
                        <a:pt x="23875" y="30622"/>
                      </a:lnTo>
                      <a:cubicBezTo>
                        <a:pt x="23875" y="30622"/>
                        <a:pt x="23356" y="26470"/>
                        <a:pt x="22837" y="23356"/>
                      </a:cubicBezTo>
                      <a:cubicBezTo>
                        <a:pt x="22837" y="21280"/>
                        <a:pt x="20242" y="20761"/>
                        <a:pt x="19723" y="20761"/>
                      </a:cubicBezTo>
                      <a:lnTo>
                        <a:pt x="16090" y="20761"/>
                      </a:lnTo>
                      <a:lnTo>
                        <a:pt x="16090" y="30622"/>
                      </a:lnTo>
                      <a:lnTo>
                        <a:pt x="16090" y="30622"/>
                      </a:lnTo>
                      <a:close/>
                      <a:moveTo>
                        <a:pt x="16090" y="17647"/>
                      </a:moveTo>
                      <a:lnTo>
                        <a:pt x="20761" y="17647"/>
                      </a:lnTo>
                      <a:cubicBezTo>
                        <a:pt x="20761" y="17647"/>
                        <a:pt x="23875" y="16089"/>
                        <a:pt x="23875" y="14013"/>
                      </a:cubicBezTo>
                      <a:cubicBezTo>
                        <a:pt x="23875" y="12456"/>
                        <a:pt x="22837" y="10899"/>
                        <a:pt x="20761" y="10899"/>
                      </a:cubicBezTo>
                      <a:lnTo>
                        <a:pt x="16090" y="10899"/>
                      </a:lnTo>
                      <a:lnTo>
                        <a:pt x="16090" y="17647"/>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477" name="Group 476">
              <a:extLst>
                <a:ext uri="{FF2B5EF4-FFF2-40B4-BE49-F238E27FC236}">
                  <a16:creationId xmlns:a16="http://schemas.microsoft.com/office/drawing/2014/main" id="{F060E437-0FE6-42D9-A531-DB00EF8922B8}"/>
                </a:ext>
              </a:extLst>
            </p:cNvPr>
            <p:cNvGrpSpPr/>
            <p:nvPr userDrawn="1"/>
          </p:nvGrpSpPr>
          <p:grpSpPr>
            <a:xfrm>
              <a:off x="8593744" y="2353343"/>
              <a:ext cx="1182879" cy="139393"/>
              <a:chOff x="3046022" y="3396736"/>
              <a:chExt cx="1259299" cy="148399"/>
            </a:xfrm>
          </p:grpSpPr>
          <p:sp>
            <p:nvSpPr>
              <p:cNvPr id="478" name="Freeform: Shape 477">
                <a:extLst>
                  <a:ext uri="{FF2B5EF4-FFF2-40B4-BE49-F238E27FC236}">
                    <a16:creationId xmlns:a16="http://schemas.microsoft.com/office/drawing/2014/main" id="{4EAF2CAA-F216-49B5-87BA-6EA41E96F06E}"/>
                  </a:ext>
                </a:extLst>
              </p:cNvPr>
              <p:cNvSpPr/>
              <p:nvPr/>
            </p:nvSpPr>
            <p:spPr>
              <a:xfrm>
                <a:off x="3046022" y="3413024"/>
                <a:ext cx="104108" cy="132111"/>
              </a:xfrm>
              <a:custGeom>
                <a:avLst/>
                <a:gdLst>
                  <a:gd name="connsiteX0" fmla="*/ 85153 w 104108"/>
                  <a:gd name="connsiteY0" fmla="*/ 113824 h 132111"/>
                  <a:gd name="connsiteX1" fmla="*/ 104108 w 104108"/>
                  <a:gd name="connsiteY1" fmla="*/ 110204 h 132111"/>
                  <a:gd name="connsiteX2" fmla="*/ 95059 w 104108"/>
                  <a:gd name="connsiteY2" fmla="*/ 132112 h 132111"/>
                  <a:gd name="connsiteX3" fmla="*/ 0 w 104108"/>
                  <a:gd name="connsiteY3" fmla="*/ 132112 h 132111"/>
                  <a:gd name="connsiteX4" fmla="*/ 8192 w 104108"/>
                  <a:gd name="connsiteY4" fmla="*/ 113157 h 132111"/>
                  <a:gd name="connsiteX5" fmla="*/ 31242 w 104108"/>
                  <a:gd name="connsiteY5" fmla="*/ 18955 h 132111"/>
                  <a:gd name="connsiteX6" fmla="*/ 32480 w 104108"/>
                  <a:gd name="connsiteY6" fmla="*/ 0 h 132111"/>
                  <a:gd name="connsiteX7" fmla="*/ 81344 w 104108"/>
                  <a:gd name="connsiteY7" fmla="*/ 0 h 132111"/>
                  <a:gd name="connsiteX8" fmla="*/ 73152 w 104108"/>
                  <a:gd name="connsiteY8" fmla="*/ 18955 h 132111"/>
                  <a:gd name="connsiteX9" fmla="*/ 49911 w 104108"/>
                  <a:gd name="connsiteY9" fmla="*/ 113824 h 132111"/>
                  <a:gd name="connsiteX10" fmla="*/ 85058 w 104108"/>
                  <a:gd name="connsiteY10" fmla="*/ 113824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108" h="132111">
                    <a:moveTo>
                      <a:pt x="85153" y="113824"/>
                    </a:moveTo>
                    <a:cubicBezTo>
                      <a:pt x="90011" y="113824"/>
                      <a:pt x="98774" y="113157"/>
                      <a:pt x="104108" y="110204"/>
                    </a:cubicBezTo>
                    <a:lnTo>
                      <a:pt x="95059" y="132112"/>
                    </a:lnTo>
                    <a:lnTo>
                      <a:pt x="0" y="132112"/>
                    </a:lnTo>
                    <a:cubicBezTo>
                      <a:pt x="3143" y="127826"/>
                      <a:pt x="5525" y="123634"/>
                      <a:pt x="8192" y="113157"/>
                    </a:cubicBezTo>
                    <a:lnTo>
                      <a:pt x="31242" y="18955"/>
                    </a:lnTo>
                    <a:cubicBezTo>
                      <a:pt x="33909" y="8477"/>
                      <a:pt x="33528" y="4286"/>
                      <a:pt x="32480" y="0"/>
                    </a:cubicBezTo>
                    <a:lnTo>
                      <a:pt x="81344" y="0"/>
                    </a:lnTo>
                    <a:cubicBezTo>
                      <a:pt x="78200" y="4286"/>
                      <a:pt x="75819" y="8382"/>
                      <a:pt x="73152" y="18955"/>
                    </a:cubicBezTo>
                    <a:lnTo>
                      <a:pt x="49911" y="113824"/>
                    </a:lnTo>
                    <a:lnTo>
                      <a:pt x="85058" y="11382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9" name="Freeform: Shape 478">
                <a:extLst>
                  <a:ext uri="{FF2B5EF4-FFF2-40B4-BE49-F238E27FC236}">
                    <a16:creationId xmlns:a16="http://schemas.microsoft.com/office/drawing/2014/main" id="{7A3629C8-05CD-46CF-8FF2-2F9CE4D64F31}"/>
                  </a:ext>
                </a:extLst>
              </p:cNvPr>
              <p:cNvSpPr/>
              <p:nvPr/>
            </p:nvSpPr>
            <p:spPr>
              <a:xfrm>
                <a:off x="3142606" y="3442361"/>
                <a:ext cx="123824" cy="80962"/>
              </a:xfrm>
              <a:custGeom>
                <a:avLst/>
                <a:gdLst>
                  <a:gd name="connsiteX0" fmla="*/ 66103 w 123824"/>
                  <a:gd name="connsiteY0" fmla="*/ 80867 h 80962"/>
                  <a:gd name="connsiteX1" fmla="*/ 66960 w 123824"/>
                  <a:gd name="connsiteY1" fmla="*/ 72485 h 80962"/>
                  <a:gd name="connsiteX2" fmla="*/ 66674 w 123824"/>
                  <a:gd name="connsiteY2" fmla="*/ 72485 h 80962"/>
                  <a:gd name="connsiteX3" fmla="*/ 54101 w 123824"/>
                  <a:gd name="connsiteY3" fmla="*/ 80867 h 80962"/>
                  <a:gd name="connsiteX4" fmla="*/ 21240 w 123824"/>
                  <a:gd name="connsiteY4" fmla="*/ 80867 h 80962"/>
                  <a:gd name="connsiteX5" fmla="*/ 1523 w 123824"/>
                  <a:gd name="connsiteY5" fmla="*/ 51435 h 80962"/>
                  <a:gd name="connsiteX6" fmla="*/ 9715 w 123824"/>
                  <a:gd name="connsiteY6" fmla="*/ 18574 h 80962"/>
                  <a:gd name="connsiteX7" fmla="*/ 9905 w 123824"/>
                  <a:gd name="connsiteY7" fmla="*/ 0 h 80962"/>
                  <a:gd name="connsiteX8" fmla="*/ 55054 w 123824"/>
                  <a:gd name="connsiteY8" fmla="*/ 0 h 80962"/>
                  <a:gd name="connsiteX9" fmla="*/ 40480 w 123824"/>
                  <a:gd name="connsiteY9" fmla="*/ 58388 h 80962"/>
                  <a:gd name="connsiteX10" fmla="*/ 45529 w 123824"/>
                  <a:gd name="connsiteY10" fmla="*/ 65056 h 80962"/>
                  <a:gd name="connsiteX11" fmla="*/ 60292 w 123824"/>
                  <a:gd name="connsiteY11" fmla="*/ 65056 h 80962"/>
                  <a:gd name="connsiteX12" fmla="*/ 68674 w 123824"/>
                  <a:gd name="connsiteY12" fmla="*/ 58388 h 80962"/>
                  <a:gd name="connsiteX13" fmla="*/ 78580 w 123824"/>
                  <a:gd name="connsiteY13" fmla="*/ 18669 h 80962"/>
                  <a:gd name="connsiteX14" fmla="*/ 78771 w 123824"/>
                  <a:gd name="connsiteY14" fmla="*/ 95 h 80962"/>
                  <a:gd name="connsiteX15" fmla="*/ 123824 w 123824"/>
                  <a:gd name="connsiteY15" fmla="*/ 95 h 80962"/>
                  <a:gd name="connsiteX16" fmla="*/ 108298 w 123824"/>
                  <a:gd name="connsiteY16" fmla="*/ 62389 h 80962"/>
                  <a:gd name="connsiteX17" fmla="*/ 108108 w 123824"/>
                  <a:gd name="connsiteY17" fmla="*/ 80963 h 80962"/>
                  <a:gd name="connsiteX18" fmla="*/ 66103 w 123824"/>
                  <a:gd name="connsiteY18" fmla="*/ 80963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824" h="80962">
                    <a:moveTo>
                      <a:pt x="66103" y="80867"/>
                    </a:moveTo>
                    <a:lnTo>
                      <a:pt x="66960" y="72485"/>
                    </a:lnTo>
                    <a:lnTo>
                      <a:pt x="66674" y="72485"/>
                    </a:lnTo>
                    <a:cubicBezTo>
                      <a:pt x="63721" y="76581"/>
                      <a:pt x="60102" y="80867"/>
                      <a:pt x="54101" y="80867"/>
                    </a:cubicBezTo>
                    <a:lnTo>
                      <a:pt x="21240" y="80867"/>
                    </a:lnTo>
                    <a:cubicBezTo>
                      <a:pt x="2095" y="80867"/>
                      <a:pt x="-2954" y="69532"/>
                      <a:pt x="1523" y="51435"/>
                    </a:cubicBezTo>
                    <a:lnTo>
                      <a:pt x="9715" y="18574"/>
                    </a:lnTo>
                    <a:cubicBezTo>
                      <a:pt x="12477" y="7429"/>
                      <a:pt x="11239" y="4096"/>
                      <a:pt x="9905" y="0"/>
                    </a:cubicBezTo>
                    <a:lnTo>
                      <a:pt x="55054" y="0"/>
                    </a:lnTo>
                    <a:lnTo>
                      <a:pt x="40480" y="58388"/>
                    </a:lnTo>
                    <a:cubicBezTo>
                      <a:pt x="39242" y="63341"/>
                      <a:pt x="40480" y="65056"/>
                      <a:pt x="45529" y="65056"/>
                    </a:cubicBezTo>
                    <a:lnTo>
                      <a:pt x="60292" y="65056"/>
                    </a:lnTo>
                    <a:cubicBezTo>
                      <a:pt x="65245" y="65056"/>
                      <a:pt x="67436" y="63341"/>
                      <a:pt x="68674" y="58388"/>
                    </a:cubicBezTo>
                    <a:lnTo>
                      <a:pt x="78580" y="18669"/>
                    </a:lnTo>
                    <a:cubicBezTo>
                      <a:pt x="81343" y="7525"/>
                      <a:pt x="80104" y="4191"/>
                      <a:pt x="78771" y="95"/>
                    </a:cubicBezTo>
                    <a:lnTo>
                      <a:pt x="123824" y="95"/>
                    </a:lnTo>
                    <a:lnTo>
                      <a:pt x="108298" y="62389"/>
                    </a:lnTo>
                    <a:cubicBezTo>
                      <a:pt x="105536" y="73533"/>
                      <a:pt x="106774" y="76867"/>
                      <a:pt x="108108" y="80963"/>
                    </a:cubicBezTo>
                    <a:lnTo>
                      <a:pt x="66103" y="8096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0" name="Freeform: Shape 479">
                <a:extLst>
                  <a:ext uri="{FF2B5EF4-FFF2-40B4-BE49-F238E27FC236}">
                    <a16:creationId xmlns:a16="http://schemas.microsoft.com/office/drawing/2014/main" id="{51C96C9B-609D-4C07-9DBC-3A317227790A}"/>
                  </a:ext>
                </a:extLst>
              </p:cNvPr>
              <p:cNvSpPr/>
              <p:nvPr/>
            </p:nvSpPr>
            <p:spPr>
              <a:xfrm>
                <a:off x="3252047" y="3442361"/>
                <a:ext cx="177172" cy="80867"/>
              </a:xfrm>
              <a:custGeom>
                <a:avLst/>
                <a:gdLst>
                  <a:gd name="connsiteX0" fmla="*/ 58484 w 177172"/>
                  <a:gd name="connsiteY0" fmla="*/ 0 h 80867"/>
                  <a:gd name="connsiteX1" fmla="*/ 57055 w 177172"/>
                  <a:gd name="connsiteY1" fmla="*/ 9811 h 80867"/>
                  <a:gd name="connsiteX2" fmla="*/ 57436 w 177172"/>
                  <a:gd name="connsiteY2" fmla="*/ 9811 h 80867"/>
                  <a:gd name="connsiteX3" fmla="*/ 70390 w 177172"/>
                  <a:gd name="connsiteY3" fmla="*/ 0 h 80867"/>
                  <a:gd name="connsiteX4" fmla="*/ 106680 w 177172"/>
                  <a:gd name="connsiteY4" fmla="*/ 0 h 80867"/>
                  <a:gd name="connsiteX5" fmla="*/ 118586 w 177172"/>
                  <a:gd name="connsiteY5" fmla="*/ 8763 h 80867"/>
                  <a:gd name="connsiteX6" fmla="*/ 118967 w 177172"/>
                  <a:gd name="connsiteY6" fmla="*/ 8763 h 80867"/>
                  <a:gd name="connsiteX7" fmla="*/ 130302 w 177172"/>
                  <a:gd name="connsiteY7" fmla="*/ 0 h 80867"/>
                  <a:gd name="connsiteX8" fmla="*/ 158210 w 177172"/>
                  <a:gd name="connsiteY8" fmla="*/ 0 h 80867"/>
                  <a:gd name="connsiteX9" fmla="*/ 174974 w 177172"/>
                  <a:gd name="connsiteY9" fmla="*/ 31623 h 80867"/>
                  <a:gd name="connsiteX10" fmla="*/ 167354 w 177172"/>
                  <a:gd name="connsiteY10" fmla="*/ 62293 h 80867"/>
                  <a:gd name="connsiteX11" fmla="*/ 167164 w 177172"/>
                  <a:gd name="connsiteY11" fmla="*/ 80867 h 80867"/>
                  <a:gd name="connsiteX12" fmla="*/ 121063 w 177172"/>
                  <a:gd name="connsiteY12" fmla="*/ 80867 h 80867"/>
                  <a:gd name="connsiteX13" fmla="*/ 130207 w 177172"/>
                  <a:gd name="connsiteY13" fmla="*/ 62293 h 80867"/>
                  <a:gd name="connsiteX14" fmla="*/ 140303 w 177172"/>
                  <a:gd name="connsiteY14" fmla="*/ 21717 h 80867"/>
                  <a:gd name="connsiteX15" fmla="*/ 136779 w 177172"/>
                  <a:gd name="connsiteY15" fmla="*/ 15907 h 80867"/>
                  <a:gd name="connsiteX16" fmla="*/ 123349 w 177172"/>
                  <a:gd name="connsiteY16" fmla="*/ 15907 h 80867"/>
                  <a:gd name="connsiteX17" fmla="*/ 116872 w 177172"/>
                  <a:gd name="connsiteY17" fmla="*/ 21717 h 80867"/>
                  <a:gd name="connsiteX18" fmla="*/ 106775 w 177172"/>
                  <a:gd name="connsiteY18" fmla="*/ 62293 h 80867"/>
                  <a:gd name="connsiteX19" fmla="*/ 106585 w 177172"/>
                  <a:gd name="connsiteY19" fmla="*/ 80867 h 80867"/>
                  <a:gd name="connsiteX20" fmla="*/ 60484 w 177172"/>
                  <a:gd name="connsiteY20" fmla="*/ 80867 h 80867"/>
                  <a:gd name="connsiteX21" fmla="*/ 69628 w 177172"/>
                  <a:gd name="connsiteY21" fmla="*/ 62293 h 80867"/>
                  <a:gd name="connsiteX22" fmla="*/ 79724 w 177172"/>
                  <a:gd name="connsiteY22" fmla="*/ 21717 h 80867"/>
                  <a:gd name="connsiteX23" fmla="*/ 76200 w 177172"/>
                  <a:gd name="connsiteY23" fmla="*/ 15907 h 80867"/>
                  <a:gd name="connsiteX24" fmla="*/ 62770 w 177172"/>
                  <a:gd name="connsiteY24" fmla="*/ 15907 h 80867"/>
                  <a:gd name="connsiteX25" fmla="*/ 56293 w 177172"/>
                  <a:gd name="connsiteY25" fmla="*/ 21717 h 80867"/>
                  <a:gd name="connsiteX26" fmla="*/ 46196 w 177172"/>
                  <a:gd name="connsiteY26" fmla="*/ 62293 h 80867"/>
                  <a:gd name="connsiteX27" fmla="*/ 46101 w 177172"/>
                  <a:gd name="connsiteY27" fmla="*/ 80867 h 80867"/>
                  <a:gd name="connsiteX28" fmla="*/ 0 w 177172"/>
                  <a:gd name="connsiteY28" fmla="*/ 80867 h 80867"/>
                  <a:gd name="connsiteX29" fmla="*/ 9049 w 177172"/>
                  <a:gd name="connsiteY29" fmla="*/ 62293 h 80867"/>
                  <a:gd name="connsiteX30" fmla="*/ 19907 w 177172"/>
                  <a:gd name="connsiteY30" fmla="*/ 18574 h 80867"/>
                  <a:gd name="connsiteX31" fmla="*/ 20098 w 177172"/>
                  <a:gd name="connsiteY31" fmla="*/ 0 h 80867"/>
                  <a:gd name="connsiteX32" fmla="*/ 58674 w 177172"/>
                  <a:gd name="connsiteY32"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7172" h="80867">
                    <a:moveTo>
                      <a:pt x="58484" y="0"/>
                    </a:moveTo>
                    <a:lnTo>
                      <a:pt x="57055" y="9811"/>
                    </a:lnTo>
                    <a:lnTo>
                      <a:pt x="57436" y="9811"/>
                    </a:lnTo>
                    <a:cubicBezTo>
                      <a:pt x="60389" y="4667"/>
                      <a:pt x="63532" y="0"/>
                      <a:pt x="70390" y="0"/>
                    </a:cubicBezTo>
                    <a:lnTo>
                      <a:pt x="106680" y="0"/>
                    </a:lnTo>
                    <a:cubicBezTo>
                      <a:pt x="116681" y="0"/>
                      <a:pt x="117824" y="2191"/>
                      <a:pt x="118586" y="8763"/>
                    </a:cubicBezTo>
                    <a:lnTo>
                      <a:pt x="118967" y="8763"/>
                    </a:lnTo>
                    <a:cubicBezTo>
                      <a:pt x="120491" y="5524"/>
                      <a:pt x="123349" y="0"/>
                      <a:pt x="130302" y="0"/>
                    </a:cubicBezTo>
                    <a:lnTo>
                      <a:pt x="158210" y="0"/>
                    </a:lnTo>
                    <a:cubicBezTo>
                      <a:pt x="171641" y="0"/>
                      <a:pt x="181832" y="3810"/>
                      <a:pt x="174974" y="31623"/>
                    </a:cubicBezTo>
                    <a:lnTo>
                      <a:pt x="167354" y="62293"/>
                    </a:lnTo>
                    <a:cubicBezTo>
                      <a:pt x="164592" y="73438"/>
                      <a:pt x="165830" y="76771"/>
                      <a:pt x="167164" y="80867"/>
                    </a:cubicBezTo>
                    <a:lnTo>
                      <a:pt x="121063" y="80867"/>
                    </a:lnTo>
                    <a:cubicBezTo>
                      <a:pt x="124492" y="76771"/>
                      <a:pt x="127349" y="73438"/>
                      <a:pt x="130207" y="62293"/>
                    </a:cubicBezTo>
                    <a:lnTo>
                      <a:pt x="140303" y="21717"/>
                    </a:lnTo>
                    <a:cubicBezTo>
                      <a:pt x="141351" y="17621"/>
                      <a:pt x="139827" y="15907"/>
                      <a:pt x="136779" y="15907"/>
                    </a:cubicBezTo>
                    <a:lnTo>
                      <a:pt x="123349" y="15907"/>
                    </a:lnTo>
                    <a:cubicBezTo>
                      <a:pt x="120301" y="15907"/>
                      <a:pt x="117919" y="17621"/>
                      <a:pt x="116872" y="21717"/>
                    </a:cubicBezTo>
                    <a:lnTo>
                      <a:pt x="106775" y="62293"/>
                    </a:lnTo>
                    <a:cubicBezTo>
                      <a:pt x="104013" y="73438"/>
                      <a:pt x="105251" y="76771"/>
                      <a:pt x="106585" y="80867"/>
                    </a:cubicBezTo>
                    <a:lnTo>
                      <a:pt x="60484" y="80867"/>
                    </a:lnTo>
                    <a:cubicBezTo>
                      <a:pt x="63913" y="76771"/>
                      <a:pt x="66770" y="73438"/>
                      <a:pt x="69628" y="62293"/>
                    </a:cubicBezTo>
                    <a:lnTo>
                      <a:pt x="79724" y="21717"/>
                    </a:lnTo>
                    <a:cubicBezTo>
                      <a:pt x="80772" y="17621"/>
                      <a:pt x="79248" y="15907"/>
                      <a:pt x="76200" y="15907"/>
                    </a:cubicBezTo>
                    <a:lnTo>
                      <a:pt x="62770" y="15907"/>
                    </a:lnTo>
                    <a:cubicBezTo>
                      <a:pt x="59722" y="15907"/>
                      <a:pt x="57341" y="17621"/>
                      <a:pt x="56293" y="21717"/>
                    </a:cubicBezTo>
                    <a:lnTo>
                      <a:pt x="46196" y="62293"/>
                    </a:lnTo>
                    <a:cubicBezTo>
                      <a:pt x="43434" y="73438"/>
                      <a:pt x="44672" y="76771"/>
                      <a:pt x="46101" y="80867"/>
                    </a:cubicBezTo>
                    <a:lnTo>
                      <a:pt x="0" y="80867"/>
                    </a:lnTo>
                    <a:cubicBezTo>
                      <a:pt x="3429" y="76771"/>
                      <a:pt x="6287" y="73438"/>
                      <a:pt x="9049" y="62293"/>
                    </a:cubicBezTo>
                    <a:lnTo>
                      <a:pt x="19907" y="18574"/>
                    </a:lnTo>
                    <a:cubicBezTo>
                      <a:pt x="22670" y="7429"/>
                      <a:pt x="21431" y="4096"/>
                      <a:pt x="20098" y="0"/>
                    </a:cubicBezTo>
                    <a:lnTo>
                      <a:pt x="58674"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1" name="Freeform: Shape 480">
                <a:extLst>
                  <a:ext uri="{FF2B5EF4-FFF2-40B4-BE49-F238E27FC236}">
                    <a16:creationId xmlns:a16="http://schemas.microsoft.com/office/drawing/2014/main" id="{63616342-8C3E-45EF-BE2B-85FBB4BAD810}"/>
                  </a:ext>
                </a:extLst>
              </p:cNvPr>
              <p:cNvSpPr/>
              <p:nvPr/>
            </p:nvSpPr>
            <p:spPr>
              <a:xfrm>
                <a:off x="3422735" y="3413119"/>
                <a:ext cx="72199" cy="110109"/>
              </a:xfrm>
              <a:custGeom>
                <a:avLst/>
                <a:gdLst>
                  <a:gd name="connsiteX0" fmla="*/ 72200 w 72199"/>
                  <a:gd name="connsiteY0" fmla="*/ 0 h 110109"/>
                  <a:gd name="connsiteX1" fmla="*/ 66866 w 72199"/>
                  <a:gd name="connsiteY1" fmla="*/ 21336 h 110109"/>
                  <a:gd name="connsiteX2" fmla="*/ 26956 w 72199"/>
                  <a:gd name="connsiteY2" fmla="*/ 21336 h 110109"/>
                  <a:gd name="connsiteX3" fmla="*/ 32290 w 72199"/>
                  <a:gd name="connsiteY3" fmla="*/ 0 h 110109"/>
                  <a:gd name="connsiteX4" fmla="*/ 72200 w 72199"/>
                  <a:gd name="connsiteY4" fmla="*/ 0 h 110109"/>
                  <a:gd name="connsiteX5" fmla="*/ 20003 w 72199"/>
                  <a:gd name="connsiteY5" fmla="*/ 47816 h 110109"/>
                  <a:gd name="connsiteX6" fmla="*/ 20098 w 72199"/>
                  <a:gd name="connsiteY6" fmla="*/ 29242 h 110109"/>
                  <a:gd name="connsiteX7" fmla="*/ 65246 w 72199"/>
                  <a:gd name="connsiteY7" fmla="*/ 29242 h 110109"/>
                  <a:gd name="connsiteX8" fmla="*/ 49721 w 72199"/>
                  <a:gd name="connsiteY8" fmla="*/ 91535 h 110109"/>
                  <a:gd name="connsiteX9" fmla="*/ 49530 w 72199"/>
                  <a:gd name="connsiteY9" fmla="*/ 110109 h 110109"/>
                  <a:gd name="connsiteX10" fmla="*/ 0 w 72199"/>
                  <a:gd name="connsiteY10" fmla="*/ 110109 h 110109"/>
                  <a:gd name="connsiteX11" fmla="*/ 9144 w 72199"/>
                  <a:gd name="connsiteY11" fmla="*/ 91535 h 110109"/>
                  <a:gd name="connsiteX12" fmla="*/ 20098 w 72199"/>
                  <a:gd name="connsiteY12" fmla="*/ 47816 h 110109"/>
                  <a:gd name="connsiteX13" fmla="*/ 20098 w 72199"/>
                  <a:gd name="connsiteY13" fmla="*/ 47816 h 11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99" h="110109">
                    <a:moveTo>
                      <a:pt x="72200" y="0"/>
                    </a:moveTo>
                    <a:lnTo>
                      <a:pt x="66866" y="21336"/>
                    </a:lnTo>
                    <a:lnTo>
                      <a:pt x="26956" y="21336"/>
                    </a:lnTo>
                    <a:lnTo>
                      <a:pt x="32290" y="0"/>
                    </a:lnTo>
                    <a:lnTo>
                      <a:pt x="72200" y="0"/>
                    </a:lnTo>
                    <a:close/>
                    <a:moveTo>
                      <a:pt x="20003" y="47816"/>
                    </a:moveTo>
                    <a:cubicBezTo>
                      <a:pt x="22765" y="36576"/>
                      <a:pt x="21527" y="33338"/>
                      <a:pt x="20098" y="29242"/>
                    </a:cubicBezTo>
                    <a:lnTo>
                      <a:pt x="65246" y="29242"/>
                    </a:lnTo>
                    <a:lnTo>
                      <a:pt x="49721" y="91535"/>
                    </a:lnTo>
                    <a:cubicBezTo>
                      <a:pt x="46958" y="102680"/>
                      <a:pt x="48197" y="106013"/>
                      <a:pt x="49530" y="110109"/>
                    </a:cubicBezTo>
                    <a:lnTo>
                      <a:pt x="0" y="110109"/>
                    </a:lnTo>
                    <a:cubicBezTo>
                      <a:pt x="3429" y="106013"/>
                      <a:pt x="6286" y="102680"/>
                      <a:pt x="9144" y="91535"/>
                    </a:cubicBezTo>
                    <a:lnTo>
                      <a:pt x="20098" y="47816"/>
                    </a:lnTo>
                    <a:lnTo>
                      <a:pt x="20098" y="4781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2" name="Freeform: Shape 481">
                <a:extLst>
                  <a:ext uri="{FF2B5EF4-FFF2-40B4-BE49-F238E27FC236}">
                    <a16:creationId xmlns:a16="http://schemas.microsoft.com/office/drawing/2014/main" id="{B0011635-6D8D-4546-B5A2-044F1B9A53A4}"/>
                  </a:ext>
                </a:extLst>
              </p:cNvPr>
              <p:cNvSpPr/>
              <p:nvPr/>
            </p:nvSpPr>
            <p:spPr>
              <a:xfrm>
                <a:off x="3476647" y="3442361"/>
                <a:ext cx="128205" cy="80867"/>
              </a:xfrm>
              <a:custGeom>
                <a:avLst/>
                <a:gdLst>
                  <a:gd name="connsiteX0" fmla="*/ 62008 w 128205"/>
                  <a:gd name="connsiteY0" fmla="*/ 0 h 80867"/>
                  <a:gd name="connsiteX1" fmla="*/ 61151 w 128205"/>
                  <a:gd name="connsiteY1" fmla="*/ 8477 h 80867"/>
                  <a:gd name="connsiteX2" fmla="*/ 61531 w 128205"/>
                  <a:gd name="connsiteY2" fmla="*/ 8477 h 80867"/>
                  <a:gd name="connsiteX3" fmla="*/ 74105 w 128205"/>
                  <a:gd name="connsiteY3" fmla="*/ 0 h 80867"/>
                  <a:gd name="connsiteX4" fmla="*/ 106966 w 128205"/>
                  <a:gd name="connsiteY4" fmla="*/ 0 h 80867"/>
                  <a:gd name="connsiteX5" fmla="*/ 126682 w 128205"/>
                  <a:gd name="connsiteY5" fmla="*/ 29432 h 80867"/>
                  <a:gd name="connsiteX6" fmla="*/ 118491 w 128205"/>
                  <a:gd name="connsiteY6" fmla="*/ 62293 h 80867"/>
                  <a:gd name="connsiteX7" fmla="*/ 118301 w 128205"/>
                  <a:gd name="connsiteY7" fmla="*/ 80867 h 80867"/>
                  <a:gd name="connsiteX8" fmla="*/ 68771 w 128205"/>
                  <a:gd name="connsiteY8" fmla="*/ 80867 h 80867"/>
                  <a:gd name="connsiteX9" fmla="*/ 77915 w 128205"/>
                  <a:gd name="connsiteY9" fmla="*/ 62293 h 80867"/>
                  <a:gd name="connsiteX10" fmla="*/ 87821 w 128205"/>
                  <a:gd name="connsiteY10" fmla="*/ 22479 h 80867"/>
                  <a:gd name="connsiteX11" fmla="*/ 82772 w 128205"/>
                  <a:gd name="connsiteY11" fmla="*/ 15811 h 80867"/>
                  <a:gd name="connsiteX12" fmla="*/ 68008 w 128205"/>
                  <a:gd name="connsiteY12" fmla="*/ 15811 h 80867"/>
                  <a:gd name="connsiteX13" fmla="*/ 59627 w 128205"/>
                  <a:gd name="connsiteY13" fmla="*/ 22479 h 80867"/>
                  <a:gd name="connsiteX14" fmla="*/ 49721 w 128205"/>
                  <a:gd name="connsiteY14" fmla="*/ 62293 h 80867"/>
                  <a:gd name="connsiteX15" fmla="*/ 49625 w 128205"/>
                  <a:gd name="connsiteY15" fmla="*/ 80867 h 80867"/>
                  <a:gd name="connsiteX16" fmla="*/ 0 w 128205"/>
                  <a:gd name="connsiteY16" fmla="*/ 80867 h 80867"/>
                  <a:gd name="connsiteX17" fmla="*/ 9144 w 128205"/>
                  <a:gd name="connsiteY17" fmla="*/ 62293 h 80867"/>
                  <a:gd name="connsiteX18" fmla="*/ 20003 w 128205"/>
                  <a:gd name="connsiteY18" fmla="*/ 18574 h 80867"/>
                  <a:gd name="connsiteX19" fmla="*/ 20193 w 128205"/>
                  <a:gd name="connsiteY19" fmla="*/ 0 h 80867"/>
                  <a:gd name="connsiteX20" fmla="*/ 62198 w 128205"/>
                  <a:gd name="connsiteY20"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205" h="80867">
                    <a:moveTo>
                      <a:pt x="62008" y="0"/>
                    </a:moveTo>
                    <a:lnTo>
                      <a:pt x="61151" y="8477"/>
                    </a:lnTo>
                    <a:lnTo>
                      <a:pt x="61531" y="8477"/>
                    </a:lnTo>
                    <a:cubicBezTo>
                      <a:pt x="64484" y="4382"/>
                      <a:pt x="68104" y="0"/>
                      <a:pt x="74105" y="0"/>
                    </a:cubicBezTo>
                    <a:lnTo>
                      <a:pt x="106966" y="0"/>
                    </a:lnTo>
                    <a:cubicBezTo>
                      <a:pt x="126111" y="0"/>
                      <a:pt x="131159" y="11335"/>
                      <a:pt x="126682" y="29432"/>
                    </a:cubicBezTo>
                    <a:lnTo>
                      <a:pt x="118491" y="62293"/>
                    </a:lnTo>
                    <a:cubicBezTo>
                      <a:pt x="115729" y="73438"/>
                      <a:pt x="116967" y="76771"/>
                      <a:pt x="118301" y="80867"/>
                    </a:cubicBezTo>
                    <a:lnTo>
                      <a:pt x="68771" y="80867"/>
                    </a:lnTo>
                    <a:cubicBezTo>
                      <a:pt x="72200" y="76771"/>
                      <a:pt x="75057" y="73438"/>
                      <a:pt x="77915" y="62293"/>
                    </a:cubicBezTo>
                    <a:lnTo>
                      <a:pt x="87821" y="22479"/>
                    </a:lnTo>
                    <a:cubicBezTo>
                      <a:pt x="89059" y="17526"/>
                      <a:pt x="87821" y="15811"/>
                      <a:pt x="82772" y="15811"/>
                    </a:cubicBezTo>
                    <a:lnTo>
                      <a:pt x="68008" y="15811"/>
                    </a:lnTo>
                    <a:cubicBezTo>
                      <a:pt x="62960" y="15811"/>
                      <a:pt x="60865" y="17526"/>
                      <a:pt x="59627" y="22479"/>
                    </a:cubicBezTo>
                    <a:lnTo>
                      <a:pt x="49721" y="62293"/>
                    </a:lnTo>
                    <a:cubicBezTo>
                      <a:pt x="46958" y="73438"/>
                      <a:pt x="48197" y="76771"/>
                      <a:pt x="49625" y="80867"/>
                    </a:cubicBezTo>
                    <a:lnTo>
                      <a:pt x="0" y="80867"/>
                    </a:lnTo>
                    <a:cubicBezTo>
                      <a:pt x="3429" y="76771"/>
                      <a:pt x="6286" y="73438"/>
                      <a:pt x="9144" y="62293"/>
                    </a:cubicBezTo>
                    <a:lnTo>
                      <a:pt x="20003" y="18574"/>
                    </a:lnTo>
                    <a:cubicBezTo>
                      <a:pt x="22765" y="7429"/>
                      <a:pt x="21527" y="4096"/>
                      <a:pt x="20193" y="0"/>
                    </a:cubicBezTo>
                    <a:lnTo>
                      <a:pt x="62198"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3" name="Freeform: Shape 482">
                <a:extLst>
                  <a:ext uri="{FF2B5EF4-FFF2-40B4-BE49-F238E27FC236}">
                    <a16:creationId xmlns:a16="http://schemas.microsoft.com/office/drawing/2014/main" id="{439F8D65-C24D-496F-ACFB-212A07AFA7E2}"/>
                  </a:ext>
                </a:extLst>
              </p:cNvPr>
              <p:cNvSpPr/>
              <p:nvPr/>
            </p:nvSpPr>
            <p:spPr>
              <a:xfrm>
                <a:off x="3603521" y="3442361"/>
                <a:ext cx="118109" cy="80867"/>
              </a:xfrm>
              <a:custGeom>
                <a:avLst/>
                <a:gdLst>
                  <a:gd name="connsiteX0" fmla="*/ 54482 w 118109"/>
                  <a:gd name="connsiteY0" fmla="*/ 42005 h 80867"/>
                  <a:gd name="connsiteX1" fmla="*/ 44195 w 118109"/>
                  <a:gd name="connsiteY1" fmla="*/ 48863 h 80867"/>
                  <a:gd name="connsiteX2" fmla="*/ 41909 w 118109"/>
                  <a:gd name="connsiteY2" fmla="*/ 58198 h 80867"/>
                  <a:gd name="connsiteX3" fmla="*/ 48767 w 118109"/>
                  <a:gd name="connsiteY3" fmla="*/ 65056 h 80867"/>
                  <a:gd name="connsiteX4" fmla="*/ 58196 w 118109"/>
                  <a:gd name="connsiteY4" fmla="*/ 65056 h 80867"/>
                  <a:gd name="connsiteX5" fmla="*/ 69722 w 118109"/>
                  <a:gd name="connsiteY5" fmla="*/ 53530 h 80867"/>
                  <a:gd name="connsiteX6" fmla="*/ 72579 w 118109"/>
                  <a:gd name="connsiteY6" fmla="*/ 42005 h 80867"/>
                  <a:gd name="connsiteX7" fmla="*/ 54482 w 118109"/>
                  <a:gd name="connsiteY7" fmla="*/ 42005 h 80867"/>
                  <a:gd name="connsiteX8" fmla="*/ 96487 w 118109"/>
                  <a:gd name="connsiteY8" fmla="*/ 0 h 80867"/>
                  <a:gd name="connsiteX9" fmla="*/ 116108 w 118109"/>
                  <a:gd name="connsiteY9" fmla="*/ 30480 h 80867"/>
                  <a:gd name="connsiteX10" fmla="*/ 107345 w 118109"/>
                  <a:gd name="connsiteY10" fmla="*/ 65723 h 80867"/>
                  <a:gd name="connsiteX11" fmla="*/ 107536 w 118109"/>
                  <a:gd name="connsiteY11" fmla="*/ 80867 h 80867"/>
                  <a:gd name="connsiteX12" fmla="*/ 66864 w 118109"/>
                  <a:gd name="connsiteY12" fmla="*/ 80867 h 80867"/>
                  <a:gd name="connsiteX13" fmla="*/ 67055 w 118109"/>
                  <a:gd name="connsiteY13" fmla="*/ 71914 h 80867"/>
                  <a:gd name="connsiteX14" fmla="*/ 66674 w 118109"/>
                  <a:gd name="connsiteY14" fmla="*/ 71914 h 80867"/>
                  <a:gd name="connsiteX15" fmla="*/ 47909 w 118109"/>
                  <a:gd name="connsiteY15" fmla="*/ 80867 h 80867"/>
                  <a:gd name="connsiteX16" fmla="*/ 18953 w 118109"/>
                  <a:gd name="connsiteY16" fmla="*/ 80867 h 80867"/>
                  <a:gd name="connsiteX17" fmla="*/ 1618 w 118109"/>
                  <a:gd name="connsiteY17" fmla="*/ 56388 h 80867"/>
                  <a:gd name="connsiteX18" fmla="*/ 3047 w 118109"/>
                  <a:gd name="connsiteY18" fmla="*/ 50578 h 80867"/>
                  <a:gd name="connsiteX19" fmla="*/ 32574 w 118109"/>
                  <a:gd name="connsiteY19" fmla="*/ 26098 h 80867"/>
                  <a:gd name="connsiteX20" fmla="*/ 69626 w 118109"/>
                  <a:gd name="connsiteY20" fmla="*/ 26098 h 80867"/>
                  <a:gd name="connsiteX21" fmla="*/ 77818 w 118109"/>
                  <a:gd name="connsiteY21" fmla="*/ 20955 h 80867"/>
                  <a:gd name="connsiteX22" fmla="*/ 72198 w 118109"/>
                  <a:gd name="connsiteY22" fmla="*/ 15811 h 80867"/>
                  <a:gd name="connsiteX23" fmla="*/ 31717 w 118109"/>
                  <a:gd name="connsiteY23" fmla="*/ 15811 h 80867"/>
                  <a:gd name="connsiteX24" fmla="*/ 14667 w 118109"/>
                  <a:gd name="connsiteY24" fmla="*/ 19240 h 80867"/>
                  <a:gd name="connsiteX25" fmla="*/ 22382 w 118109"/>
                  <a:gd name="connsiteY25" fmla="*/ 0 h 80867"/>
                  <a:gd name="connsiteX26" fmla="*/ 96392 w 118109"/>
                  <a:gd name="connsiteY26"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8109" h="80867">
                    <a:moveTo>
                      <a:pt x="54482" y="42005"/>
                    </a:moveTo>
                    <a:cubicBezTo>
                      <a:pt x="48290" y="42196"/>
                      <a:pt x="45623" y="43053"/>
                      <a:pt x="44195" y="48863"/>
                    </a:cubicBezTo>
                    <a:lnTo>
                      <a:pt x="41909" y="58198"/>
                    </a:lnTo>
                    <a:cubicBezTo>
                      <a:pt x="40385" y="64008"/>
                      <a:pt x="42671" y="64865"/>
                      <a:pt x="48767" y="65056"/>
                    </a:cubicBezTo>
                    <a:lnTo>
                      <a:pt x="58196" y="65056"/>
                    </a:lnTo>
                    <a:cubicBezTo>
                      <a:pt x="66007" y="65056"/>
                      <a:pt x="67150" y="63817"/>
                      <a:pt x="69722" y="53530"/>
                    </a:cubicBezTo>
                    <a:lnTo>
                      <a:pt x="72579" y="42005"/>
                    </a:lnTo>
                    <a:lnTo>
                      <a:pt x="54482" y="42005"/>
                    </a:lnTo>
                    <a:close/>
                    <a:moveTo>
                      <a:pt x="96487" y="0"/>
                    </a:moveTo>
                    <a:cubicBezTo>
                      <a:pt x="115918" y="0"/>
                      <a:pt x="121633" y="8287"/>
                      <a:pt x="116108" y="30480"/>
                    </a:cubicBezTo>
                    <a:lnTo>
                      <a:pt x="107345" y="65723"/>
                    </a:lnTo>
                    <a:cubicBezTo>
                      <a:pt x="105250" y="74009"/>
                      <a:pt x="105917" y="77629"/>
                      <a:pt x="107536" y="80867"/>
                    </a:cubicBezTo>
                    <a:lnTo>
                      <a:pt x="66864" y="80867"/>
                    </a:lnTo>
                    <a:lnTo>
                      <a:pt x="67055" y="71914"/>
                    </a:lnTo>
                    <a:lnTo>
                      <a:pt x="66674" y="71914"/>
                    </a:lnTo>
                    <a:cubicBezTo>
                      <a:pt x="62768" y="79153"/>
                      <a:pt x="58958" y="80867"/>
                      <a:pt x="47909" y="80867"/>
                    </a:cubicBezTo>
                    <a:lnTo>
                      <a:pt x="18953" y="80867"/>
                    </a:lnTo>
                    <a:cubicBezTo>
                      <a:pt x="761" y="80867"/>
                      <a:pt x="-2573" y="73342"/>
                      <a:pt x="1618" y="56388"/>
                    </a:cubicBezTo>
                    <a:lnTo>
                      <a:pt x="3047" y="50578"/>
                    </a:lnTo>
                    <a:cubicBezTo>
                      <a:pt x="7238" y="33719"/>
                      <a:pt x="14286" y="26098"/>
                      <a:pt x="32574" y="26098"/>
                    </a:cubicBezTo>
                    <a:lnTo>
                      <a:pt x="69626" y="26098"/>
                    </a:lnTo>
                    <a:cubicBezTo>
                      <a:pt x="75246" y="26098"/>
                      <a:pt x="76865" y="24765"/>
                      <a:pt x="77818" y="20955"/>
                    </a:cubicBezTo>
                    <a:cubicBezTo>
                      <a:pt x="78675" y="17335"/>
                      <a:pt x="77818" y="15811"/>
                      <a:pt x="72198" y="15811"/>
                    </a:cubicBezTo>
                    <a:lnTo>
                      <a:pt x="31717" y="15811"/>
                    </a:lnTo>
                    <a:cubicBezTo>
                      <a:pt x="24097" y="15811"/>
                      <a:pt x="20096" y="16859"/>
                      <a:pt x="14667" y="19240"/>
                    </a:cubicBezTo>
                    <a:lnTo>
                      <a:pt x="22382" y="0"/>
                    </a:lnTo>
                    <a:lnTo>
                      <a:pt x="96392"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4" name="Freeform: Shape 483">
                <a:extLst>
                  <a:ext uri="{FF2B5EF4-FFF2-40B4-BE49-F238E27FC236}">
                    <a16:creationId xmlns:a16="http://schemas.microsoft.com/office/drawing/2014/main" id="{2B4BC4C2-0171-4468-882B-5158BE17DCDC}"/>
                  </a:ext>
                </a:extLst>
              </p:cNvPr>
              <p:cNvSpPr/>
              <p:nvPr/>
            </p:nvSpPr>
            <p:spPr>
              <a:xfrm>
                <a:off x="3716105" y="3413119"/>
                <a:ext cx="72104" cy="110109"/>
              </a:xfrm>
              <a:custGeom>
                <a:avLst/>
                <a:gdLst>
                  <a:gd name="connsiteX0" fmla="*/ 72104 w 72104"/>
                  <a:gd name="connsiteY0" fmla="*/ 0 h 110109"/>
                  <a:gd name="connsiteX1" fmla="*/ 66770 w 72104"/>
                  <a:gd name="connsiteY1" fmla="*/ 21336 h 110109"/>
                  <a:gd name="connsiteX2" fmla="*/ 26860 w 72104"/>
                  <a:gd name="connsiteY2" fmla="*/ 21336 h 110109"/>
                  <a:gd name="connsiteX3" fmla="*/ 32195 w 72104"/>
                  <a:gd name="connsiteY3" fmla="*/ 0 h 110109"/>
                  <a:gd name="connsiteX4" fmla="*/ 72104 w 72104"/>
                  <a:gd name="connsiteY4" fmla="*/ 0 h 110109"/>
                  <a:gd name="connsiteX5" fmla="*/ 19907 w 72104"/>
                  <a:gd name="connsiteY5" fmla="*/ 47816 h 110109"/>
                  <a:gd name="connsiteX6" fmla="*/ 20098 w 72104"/>
                  <a:gd name="connsiteY6" fmla="*/ 29242 h 110109"/>
                  <a:gd name="connsiteX7" fmla="*/ 65246 w 72104"/>
                  <a:gd name="connsiteY7" fmla="*/ 29242 h 110109"/>
                  <a:gd name="connsiteX8" fmla="*/ 49721 w 72104"/>
                  <a:gd name="connsiteY8" fmla="*/ 91535 h 110109"/>
                  <a:gd name="connsiteX9" fmla="*/ 49530 w 72104"/>
                  <a:gd name="connsiteY9" fmla="*/ 110109 h 110109"/>
                  <a:gd name="connsiteX10" fmla="*/ 0 w 72104"/>
                  <a:gd name="connsiteY10" fmla="*/ 110109 h 110109"/>
                  <a:gd name="connsiteX11" fmla="*/ 9144 w 72104"/>
                  <a:gd name="connsiteY11" fmla="*/ 91535 h 110109"/>
                  <a:gd name="connsiteX12" fmla="*/ 20002 w 72104"/>
                  <a:gd name="connsiteY12" fmla="*/ 47816 h 110109"/>
                  <a:gd name="connsiteX13" fmla="*/ 20002 w 72104"/>
                  <a:gd name="connsiteY13" fmla="*/ 47816 h 11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04" h="110109">
                    <a:moveTo>
                      <a:pt x="72104" y="0"/>
                    </a:moveTo>
                    <a:lnTo>
                      <a:pt x="66770" y="21336"/>
                    </a:lnTo>
                    <a:lnTo>
                      <a:pt x="26860" y="21336"/>
                    </a:lnTo>
                    <a:lnTo>
                      <a:pt x="32195" y="0"/>
                    </a:lnTo>
                    <a:lnTo>
                      <a:pt x="72104" y="0"/>
                    </a:lnTo>
                    <a:close/>
                    <a:moveTo>
                      <a:pt x="19907" y="47816"/>
                    </a:moveTo>
                    <a:cubicBezTo>
                      <a:pt x="22670" y="36576"/>
                      <a:pt x="21431" y="33338"/>
                      <a:pt x="20098" y="29242"/>
                    </a:cubicBezTo>
                    <a:lnTo>
                      <a:pt x="65246" y="29242"/>
                    </a:lnTo>
                    <a:lnTo>
                      <a:pt x="49721" y="91535"/>
                    </a:lnTo>
                    <a:cubicBezTo>
                      <a:pt x="46958" y="102680"/>
                      <a:pt x="48197" y="106013"/>
                      <a:pt x="49530" y="110109"/>
                    </a:cubicBezTo>
                    <a:lnTo>
                      <a:pt x="0" y="110109"/>
                    </a:lnTo>
                    <a:cubicBezTo>
                      <a:pt x="3429" y="106013"/>
                      <a:pt x="6287" y="102680"/>
                      <a:pt x="9144" y="91535"/>
                    </a:cubicBezTo>
                    <a:lnTo>
                      <a:pt x="20002" y="47816"/>
                    </a:lnTo>
                    <a:lnTo>
                      <a:pt x="20002" y="4781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5" name="Freeform: Shape 484">
                <a:extLst>
                  <a:ext uri="{FF2B5EF4-FFF2-40B4-BE49-F238E27FC236}">
                    <a16:creationId xmlns:a16="http://schemas.microsoft.com/office/drawing/2014/main" id="{024D90B6-E154-4E78-9219-0EF6FA038BE2}"/>
                  </a:ext>
                </a:extLst>
              </p:cNvPr>
              <p:cNvSpPr/>
              <p:nvPr/>
            </p:nvSpPr>
            <p:spPr>
              <a:xfrm>
                <a:off x="3771446" y="3442361"/>
                <a:ext cx="103250" cy="80867"/>
              </a:xfrm>
              <a:custGeom>
                <a:avLst/>
                <a:gdLst>
                  <a:gd name="connsiteX0" fmla="*/ 60865 w 103250"/>
                  <a:gd name="connsiteY0" fmla="*/ 0 h 80867"/>
                  <a:gd name="connsiteX1" fmla="*/ 58960 w 103250"/>
                  <a:gd name="connsiteY1" fmla="*/ 13049 h 80867"/>
                  <a:gd name="connsiteX2" fmla="*/ 59341 w 103250"/>
                  <a:gd name="connsiteY2" fmla="*/ 13049 h 80867"/>
                  <a:gd name="connsiteX3" fmla="*/ 83439 w 103250"/>
                  <a:gd name="connsiteY3" fmla="*/ 0 h 80867"/>
                  <a:gd name="connsiteX4" fmla="*/ 103251 w 103250"/>
                  <a:gd name="connsiteY4" fmla="*/ 0 h 80867"/>
                  <a:gd name="connsiteX5" fmla="*/ 96679 w 103250"/>
                  <a:gd name="connsiteY5" fmla="*/ 26479 h 80867"/>
                  <a:gd name="connsiteX6" fmla="*/ 78867 w 103250"/>
                  <a:gd name="connsiteY6" fmla="*/ 22479 h 80867"/>
                  <a:gd name="connsiteX7" fmla="*/ 56293 w 103250"/>
                  <a:gd name="connsiteY7" fmla="*/ 36290 h 80867"/>
                  <a:gd name="connsiteX8" fmla="*/ 49816 w 103250"/>
                  <a:gd name="connsiteY8" fmla="*/ 62293 h 80867"/>
                  <a:gd name="connsiteX9" fmla="*/ 49625 w 103250"/>
                  <a:gd name="connsiteY9" fmla="*/ 80867 h 80867"/>
                  <a:gd name="connsiteX10" fmla="*/ 0 w 103250"/>
                  <a:gd name="connsiteY10" fmla="*/ 80867 h 80867"/>
                  <a:gd name="connsiteX11" fmla="*/ 9144 w 103250"/>
                  <a:gd name="connsiteY11" fmla="*/ 62293 h 80867"/>
                  <a:gd name="connsiteX12" fmla="*/ 20098 w 103250"/>
                  <a:gd name="connsiteY12" fmla="*/ 18574 h 80867"/>
                  <a:gd name="connsiteX13" fmla="*/ 20288 w 103250"/>
                  <a:gd name="connsiteY13" fmla="*/ 0 h 80867"/>
                  <a:gd name="connsiteX14" fmla="*/ 60960 w 103250"/>
                  <a:gd name="connsiteY14"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250" h="80867">
                    <a:moveTo>
                      <a:pt x="60865" y="0"/>
                    </a:moveTo>
                    <a:lnTo>
                      <a:pt x="58960" y="13049"/>
                    </a:lnTo>
                    <a:lnTo>
                      <a:pt x="59341" y="13049"/>
                    </a:lnTo>
                    <a:cubicBezTo>
                      <a:pt x="65722" y="3429"/>
                      <a:pt x="70866" y="0"/>
                      <a:pt x="83439" y="0"/>
                    </a:cubicBezTo>
                    <a:lnTo>
                      <a:pt x="103251" y="0"/>
                    </a:lnTo>
                    <a:lnTo>
                      <a:pt x="96679" y="26479"/>
                    </a:lnTo>
                    <a:cubicBezTo>
                      <a:pt x="92392" y="23527"/>
                      <a:pt x="90964" y="22479"/>
                      <a:pt x="78867" y="22479"/>
                    </a:cubicBezTo>
                    <a:cubicBezTo>
                      <a:pt x="62865" y="22479"/>
                      <a:pt x="59055" y="25241"/>
                      <a:pt x="56293" y="36290"/>
                    </a:cubicBezTo>
                    <a:lnTo>
                      <a:pt x="49816" y="62293"/>
                    </a:lnTo>
                    <a:cubicBezTo>
                      <a:pt x="47053" y="73438"/>
                      <a:pt x="48292" y="76771"/>
                      <a:pt x="49625" y="80867"/>
                    </a:cubicBezTo>
                    <a:lnTo>
                      <a:pt x="0" y="80867"/>
                    </a:lnTo>
                    <a:cubicBezTo>
                      <a:pt x="3429" y="76771"/>
                      <a:pt x="6382" y="73438"/>
                      <a:pt x="9144" y="62293"/>
                    </a:cubicBezTo>
                    <a:lnTo>
                      <a:pt x="20098" y="18574"/>
                    </a:lnTo>
                    <a:cubicBezTo>
                      <a:pt x="22860" y="7429"/>
                      <a:pt x="21622" y="4096"/>
                      <a:pt x="20288" y="0"/>
                    </a:cubicBezTo>
                    <a:lnTo>
                      <a:pt x="6096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6" name="Freeform: Shape 485">
                <a:extLst>
                  <a:ext uri="{FF2B5EF4-FFF2-40B4-BE49-F238E27FC236}">
                    <a16:creationId xmlns:a16="http://schemas.microsoft.com/office/drawing/2014/main" id="{29C0D580-1339-42D3-8E7B-9E93D9431EBA}"/>
                  </a:ext>
                </a:extLst>
              </p:cNvPr>
              <p:cNvSpPr/>
              <p:nvPr/>
            </p:nvSpPr>
            <p:spPr>
              <a:xfrm>
                <a:off x="3861635" y="3442170"/>
                <a:ext cx="119943" cy="80962"/>
              </a:xfrm>
              <a:custGeom>
                <a:avLst/>
                <a:gdLst>
                  <a:gd name="connsiteX0" fmla="*/ 76498 w 119943"/>
                  <a:gd name="connsiteY0" fmla="*/ 33528 h 80962"/>
                  <a:gd name="connsiteX1" fmla="*/ 79260 w 119943"/>
                  <a:gd name="connsiteY1" fmla="*/ 22479 h 80962"/>
                  <a:gd name="connsiteX2" fmla="*/ 75069 w 119943"/>
                  <a:gd name="connsiteY2" fmla="*/ 15907 h 80962"/>
                  <a:gd name="connsiteX3" fmla="*/ 58400 w 119943"/>
                  <a:gd name="connsiteY3" fmla="*/ 15907 h 80962"/>
                  <a:gd name="connsiteX4" fmla="*/ 50875 w 119943"/>
                  <a:gd name="connsiteY4" fmla="*/ 22479 h 80962"/>
                  <a:gd name="connsiteX5" fmla="*/ 48113 w 119943"/>
                  <a:gd name="connsiteY5" fmla="*/ 33528 h 80962"/>
                  <a:gd name="connsiteX6" fmla="*/ 76498 w 119943"/>
                  <a:gd name="connsiteY6" fmla="*/ 33528 h 80962"/>
                  <a:gd name="connsiteX7" fmla="*/ 44113 w 119943"/>
                  <a:gd name="connsiteY7" fmla="*/ 49340 h 80962"/>
                  <a:gd name="connsiteX8" fmla="*/ 42208 w 119943"/>
                  <a:gd name="connsiteY8" fmla="*/ 56864 h 80962"/>
                  <a:gd name="connsiteX9" fmla="*/ 49447 w 119943"/>
                  <a:gd name="connsiteY9" fmla="*/ 65151 h 80962"/>
                  <a:gd name="connsiteX10" fmla="*/ 88499 w 119943"/>
                  <a:gd name="connsiteY10" fmla="*/ 65151 h 80962"/>
                  <a:gd name="connsiteX11" fmla="*/ 107740 w 119943"/>
                  <a:gd name="connsiteY11" fmla="*/ 61722 h 80962"/>
                  <a:gd name="connsiteX12" fmla="*/ 99834 w 119943"/>
                  <a:gd name="connsiteY12" fmla="*/ 80963 h 80962"/>
                  <a:gd name="connsiteX13" fmla="*/ 18967 w 119943"/>
                  <a:gd name="connsiteY13" fmla="*/ 80963 h 80962"/>
                  <a:gd name="connsiteX14" fmla="*/ 1631 w 119943"/>
                  <a:gd name="connsiteY14" fmla="*/ 56483 h 80962"/>
                  <a:gd name="connsiteX15" fmla="*/ 9632 w 119943"/>
                  <a:gd name="connsiteY15" fmla="*/ 24479 h 80962"/>
                  <a:gd name="connsiteX16" fmla="*/ 39160 w 119943"/>
                  <a:gd name="connsiteY16" fmla="*/ 0 h 80962"/>
                  <a:gd name="connsiteX17" fmla="*/ 100977 w 119943"/>
                  <a:gd name="connsiteY17" fmla="*/ 0 h 80962"/>
                  <a:gd name="connsiteX18" fmla="*/ 118312 w 119943"/>
                  <a:gd name="connsiteY18" fmla="*/ 24479 h 80962"/>
                  <a:gd name="connsiteX19" fmla="*/ 112121 w 119943"/>
                  <a:gd name="connsiteY19" fmla="*/ 49244 h 80962"/>
                  <a:gd name="connsiteX20" fmla="*/ 44113 w 119943"/>
                  <a:gd name="connsiteY20" fmla="*/ 49244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943" h="80962">
                    <a:moveTo>
                      <a:pt x="76498" y="33528"/>
                    </a:moveTo>
                    <a:lnTo>
                      <a:pt x="79260" y="22479"/>
                    </a:lnTo>
                    <a:cubicBezTo>
                      <a:pt x="80403" y="17812"/>
                      <a:pt x="79546" y="15907"/>
                      <a:pt x="75069" y="15907"/>
                    </a:cubicBezTo>
                    <a:lnTo>
                      <a:pt x="58400" y="15907"/>
                    </a:lnTo>
                    <a:cubicBezTo>
                      <a:pt x="53923" y="15907"/>
                      <a:pt x="52018" y="17812"/>
                      <a:pt x="50875" y="22479"/>
                    </a:cubicBezTo>
                    <a:lnTo>
                      <a:pt x="48113" y="33528"/>
                    </a:lnTo>
                    <a:lnTo>
                      <a:pt x="76498" y="33528"/>
                    </a:lnTo>
                    <a:close/>
                    <a:moveTo>
                      <a:pt x="44113" y="49340"/>
                    </a:moveTo>
                    <a:lnTo>
                      <a:pt x="42208" y="56864"/>
                    </a:lnTo>
                    <a:cubicBezTo>
                      <a:pt x="40874" y="62675"/>
                      <a:pt x="42874" y="65151"/>
                      <a:pt x="49447" y="65151"/>
                    </a:cubicBezTo>
                    <a:lnTo>
                      <a:pt x="88499" y="65151"/>
                    </a:lnTo>
                    <a:cubicBezTo>
                      <a:pt x="96214" y="65151"/>
                      <a:pt x="100501" y="64580"/>
                      <a:pt x="107740" y="61722"/>
                    </a:cubicBezTo>
                    <a:lnTo>
                      <a:pt x="99834" y="80963"/>
                    </a:lnTo>
                    <a:lnTo>
                      <a:pt x="18967" y="80963"/>
                    </a:lnTo>
                    <a:cubicBezTo>
                      <a:pt x="679" y="80963"/>
                      <a:pt x="-2560" y="73438"/>
                      <a:pt x="1631" y="56483"/>
                    </a:cubicBezTo>
                    <a:lnTo>
                      <a:pt x="9632" y="24479"/>
                    </a:lnTo>
                    <a:cubicBezTo>
                      <a:pt x="13823" y="7620"/>
                      <a:pt x="20872" y="0"/>
                      <a:pt x="39160" y="0"/>
                    </a:cubicBezTo>
                    <a:lnTo>
                      <a:pt x="100977" y="0"/>
                    </a:lnTo>
                    <a:cubicBezTo>
                      <a:pt x="119265" y="0"/>
                      <a:pt x="122503" y="7525"/>
                      <a:pt x="118312" y="24479"/>
                    </a:cubicBezTo>
                    <a:lnTo>
                      <a:pt x="112121" y="49244"/>
                    </a:lnTo>
                    <a:lnTo>
                      <a:pt x="44113" y="492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7" name="Freeform: Shape 486">
                <a:extLst>
                  <a:ext uri="{FF2B5EF4-FFF2-40B4-BE49-F238E27FC236}">
                    <a16:creationId xmlns:a16="http://schemas.microsoft.com/office/drawing/2014/main" id="{B74B8ECF-882E-4FD4-BDA2-97ED7A744759}"/>
                  </a:ext>
                </a:extLst>
              </p:cNvPr>
              <p:cNvSpPr/>
              <p:nvPr/>
            </p:nvSpPr>
            <p:spPr>
              <a:xfrm>
                <a:off x="4017286" y="3399498"/>
                <a:ext cx="80867" cy="126777"/>
              </a:xfrm>
              <a:custGeom>
                <a:avLst/>
                <a:gdLst>
                  <a:gd name="connsiteX0" fmla="*/ 95 w 80867"/>
                  <a:gd name="connsiteY0" fmla="*/ 126778 h 126777"/>
                  <a:gd name="connsiteX1" fmla="*/ 6763 w 80867"/>
                  <a:gd name="connsiteY1" fmla="*/ 106966 h 126777"/>
                  <a:gd name="connsiteX2" fmla="*/ 28480 w 80867"/>
                  <a:gd name="connsiteY2" fmla="*/ 19812 h 126777"/>
                  <a:gd name="connsiteX3" fmla="*/ 31623 w 80867"/>
                  <a:gd name="connsiteY3" fmla="*/ 0 h 126777"/>
                  <a:gd name="connsiteX4" fmla="*/ 55435 w 80867"/>
                  <a:gd name="connsiteY4" fmla="*/ 0 h 126777"/>
                  <a:gd name="connsiteX5" fmla="*/ 48673 w 80867"/>
                  <a:gd name="connsiteY5" fmla="*/ 19812 h 126777"/>
                  <a:gd name="connsiteX6" fmla="*/ 24575 w 80867"/>
                  <a:gd name="connsiteY6" fmla="*/ 116491 h 126777"/>
                  <a:gd name="connsiteX7" fmla="*/ 55721 w 80867"/>
                  <a:gd name="connsiteY7" fmla="*/ 116491 h 126777"/>
                  <a:gd name="connsiteX8" fmla="*/ 80867 w 80867"/>
                  <a:gd name="connsiteY8" fmla="*/ 115062 h 126777"/>
                  <a:gd name="connsiteX9" fmla="*/ 76771 w 80867"/>
                  <a:gd name="connsiteY9" fmla="*/ 126778 h 126777"/>
                  <a:gd name="connsiteX10" fmla="*/ 0 w 80867"/>
                  <a:gd name="connsiteY10" fmla="*/ 126778 h 12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867" h="126777">
                    <a:moveTo>
                      <a:pt x="95" y="126778"/>
                    </a:moveTo>
                    <a:cubicBezTo>
                      <a:pt x="2857" y="121253"/>
                      <a:pt x="4572" y="116110"/>
                      <a:pt x="6763" y="106966"/>
                    </a:cubicBezTo>
                    <a:lnTo>
                      <a:pt x="28480" y="19812"/>
                    </a:lnTo>
                    <a:cubicBezTo>
                      <a:pt x="30766" y="10668"/>
                      <a:pt x="31623" y="5524"/>
                      <a:pt x="31623" y="0"/>
                    </a:cubicBezTo>
                    <a:lnTo>
                      <a:pt x="55435" y="0"/>
                    </a:lnTo>
                    <a:cubicBezTo>
                      <a:pt x="52673" y="5524"/>
                      <a:pt x="50959" y="10668"/>
                      <a:pt x="48673" y="19812"/>
                    </a:cubicBezTo>
                    <a:lnTo>
                      <a:pt x="24575" y="116491"/>
                    </a:lnTo>
                    <a:lnTo>
                      <a:pt x="55721" y="116491"/>
                    </a:lnTo>
                    <a:cubicBezTo>
                      <a:pt x="70390" y="116491"/>
                      <a:pt x="77152" y="115729"/>
                      <a:pt x="80867" y="115062"/>
                    </a:cubicBezTo>
                    <a:lnTo>
                      <a:pt x="76771" y="126778"/>
                    </a:lnTo>
                    <a:lnTo>
                      <a:pt x="0" y="126778"/>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8" name="Freeform: Shape 487">
                <a:extLst>
                  <a:ext uri="{FF2B5EF4-FFF2-40B4-BE49-F238E27FC236}">
                    <a16:creationId xmlns:a16="http://schemas.microsoft.com/office/drawing/2014/main" id="{649ED03E-408A-4D6C-BCBA-020DEE88C6C7}"/>
                  </a:ext>
                </a:extLst>
              </p:cNvPr>
              <p:cNvSpPr/>
              <p:nvPr/>
            </p:nvSpPr>
            <p:spPr>
              <a:xfrm>
                <a:off x="4089315" y="3426263"/>
                <a:ext cx="103971" cy="81438"/>
              </a:xfrm>
              <a:custGeom>
                <a:avLst/>
                <a:gdLst>
                  <a:gd name="connsiteX0" fmla="*/ 83799 w 103971"/>
                  <a:gd name="connsiteY0" fmla="*/ 37719 h 81438"/>
                  <a:gd name="connsiteX1" fmla="*/ 88943 w 103971"/>
                  <a:gd name="connsiteY1" fmla="*/ 16955 h 81438"/>
                  <a:gd name="connsiteX2" fmla="*/ 83704 w 103971"/>
                  <a:gd name="connsiteY2" fmla="*/ 7906 h 81438"/>
                  <a:gd name="connsiteX3" fmla="*/ 36365 w 103971"/>
                  <a:gd name="connsiteY3" fmla="*/ 7906 h 81438"/>
                  <a:gd name="connsiteX4" fmla="*/ 26649 w 103971"/>
                  <a:gd name="connsiteY4" fmla="*/ 16955 h 81438"/>
                  <a:gd name="connsiteX5" fmla="*/ 21506 w 103971"/>
                  <a:gd name="connsiteY5" fmla="*/ 37719 h 81438"/>
                  <a:gd name="connsiteX6" fmla="*/ 83704 w 103971"/>
                  <a:gd name="connsiteY6" fmla="*/ 37719 h 81438"/>
                  <a:gd name="connsiteX7" fmla="*/ 19601 w 103971"/>
                  <a:gd name="connsiteY7" fmla="*/ 45720 h 81438"/>
                  <a:gd name="connsiteX8" fmla="*/ 14934 w 103971"/>
                  <a:gd name="connsiteY8" fmla="*/ 64389 h 81438"/>
                  <a:gd name="connsiteX9" fmla="*/ 20172 w 103971"/>
                  <a:gd name="connsiteY9" fmla="*/ 73438 h 81438"/>
                  <a:gd name="connsiteX10" fmla="*/ 72179 w 103971"/>
                  <a:gd name="connsiteY10" fmla="*/ 73438 h 81438"/>
                  <a:gd name="connsiteX11" fmla="*/ 89895 w 103971"/>
                  <a:gd name="connsiteY11" fmla="*/ 71914 h 81438"/>
                  <a:gd name="connsiteX12" fmla="*/ 85800 w 103971"/>
                  <a:gd name="connsiteY12" fmla="*/ 81439 h 81438"/>
                  <a:gd name="connsiteX13" fmla="*/ 17315 w 103971"/>
                  <a:gd name="connsiteY13" fmla="*/ 81439 h 81438"/>
                  <a:gd name="connsiteX14" fmla="*/ 1408 w 103971"/>
                  <a:gd name="connsiteY14" fmla="*/ 60293 h 81438"/>
                  <a:gd name="connsiteX15" fmla="*/ 11219 w 103971"/>
                  <a:gd name="connsiteY15" fmla="*/ 21146 h 81438"/>
                  <a:gd name="connsiteX16" fmla="*/ 37603 w 103971"/>
                  <a:gd name="connsiteY16" fmla="*/ 0 h 81438"/>
                  <a:gd name="connsiteX17" fmla="*/ 86657 w 103971"/>
                  <a:gd name="connsiteY17" fmla="*/ 0 h 81438"/>
                  <a:gd name="connsiteX18" fmla="*/ 102564 w 103971"/>
                  <a:gd name="connsiteY18" fmla="*/ 21146 h 81438"/>
                  <a:gd name="connsiteX19" fmla="*/ 96468 w 103971"/>
                  <a:gd name="connsiteY19" fmla="*/ 45815 h 81438"/>
                  <a:gd name="connsiteX20" fmla="*/ 19696 w 103971"/>
                  <a:gd name="connsiteY20" fmla="*/ 45815 h 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971" h="81438">
                    <a:moveTo>
                      <a:pt x="83799" y="37719"/>
                    </a:moveTo>
                    <a:lnTo>
                      <a:pt x="88943" y="16955"/>
                    </a:lnTo>
                    <a:cubicBezTo>
                      <a:pt x="90753" y="9716"/>
                      <a:pt x="89800" y="7906"/>
                      <a:pt x="83704" y="7906"/>
                    </a:cubicBezTo>
                    <a:lnTo>
                      <a:pt x="36365" y="7906"/>
                    </a:lnTo>
                    <a:cubicBezTo>
                      <a:pt x="30269" y="7906"/>
                      <a:pt x="28459" y="9620"/>
                      <a:pt x="26649" y="16955"/>
                    </a:cubicBezTo>
                    <a:lnTo>
                      <a:pt x="21506" y="37719"/>
                    </a:lnTo>
                    <a:lnTo>
                      <a:pt x="83704" y="37719"/>
                    </a:lnTo>
                    <a:close/>
                    <a:moveTo>
                      <a:pt x="19601" y="45720"/>
                    </a:moveTo>
                    <a:lnTo>
                      <a:pt x="14934" y="64389"/>
                    </a:lnTo>
                    <a:cubicBezTo>
                      <a:pt x="13124" y="71628"/>
                      <a:pt x="14076" y="73438"/>
                      <a:pt x="20172" y="73438"/>
                    </a:cubicBezTo>
                    <a:lnTo>
                      <a:pt x="72179" y="73438"/>
                    </a:lnTo>
                    <a:cubicBezTo>
                      <a:pt x="80180" y="73438"/>
                      <a:pt x="84752" y="73057"/>
                      <a:pt x="89895" y="71914"/>
                    </a:cubicBezTo>
                    <a:lnTo>
                      <a:pt x="85800" y="81439"/>
                    </a:lnTo>
                    <a:lnTo>
                      <a:pt x="17315" y="81439"/>
                    </a:lnTo>
                    <a:cubicBezTo>
                      <a:pt x="1694" y="81439"/>
                      <a:pt x="-2592" y="76581"/>
                      <a:pt x="1408" y="60293"/>
                    </a:cubicBezTo>
                    <a:lnTo>
                      <a:pt x="11219" y="21146"/>
                    </a:lnTo>
                    <a:cubicBezTo>
                      <a:pt x="15315" y="4858"/>
                      <a:pt x="22077" y="0"/>
                      <a:pt x="37603" y="0"/>
                    </a:cubicBezTo>
                    <a:lnTo>
                      <a:pt x="86657" y="0"/>
                    </a:lnTo>
                    <a:cubicBezTo>
                      <a:pt x="102278" y="0"/>
                      <a:pt x="106564" y="4858"/>
                      <a:pt x="102564" y="21146"/>
                    </a:cubicBezTo>
                    <a:lnTo>
                      <a:pt x="96468" y="45815"/>
                    </a:lnTo>
                    <a:lnTo>
                      <a:pt x="19696" y="4581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9" name="Freeform: Shape 488">
                <a:extLst>
                  <a:ext uri="{FF2B5EF4-FFF2-40B4-BE49-F238E27FC236}">
                    <a16:creationId xmlns:a16="http://schemas.microsoft.com/office/drawing/2014/main" id="{4DEF124B-9AD8-4716-B6C0-F3AA0611E2EB}"/>
                  </a:ext>
                </a:extLst>
              </p:cNvPr>
              <p:cNvSpPr/>
              <p:nvPr/>
            </p:nvSpPr>
            <p:spPr>
              <a:xfrm>
                <a:off x="4192090" y="3396736"/>
                <a:ext cx="113231" cy="110966"/>
              </a:xfrm>
              <a:custGeom>
                <a:avLst/>
                <a:gdLst>
                  <a:gd name="connsiteX0" fmla="*/ 87038 w 113231"/>
                  <a:gd name="connsiteY0" fmla="*/ 46482 h 110966"/>
                  <a:gd name="connsiteX1" fmla="*/ 81799 w 113231"/>
                  <a:gd name="connsiteY1" fmla="*/ 37433 h 110966"/>
                  <a:gd name="connsiteX2" fmla="*/ 36365 w 113231"/>
                  <a:gd name="connsiteY2" fmla="*/ 37433 h 110966"/>
                  <a:gd name="connsiteX3" fmla="*/ 26649 w 113231"/>
                  <a:gd name="connsiteY3" fmla="*/ 46482 h 110966"/>
                  <a:gd name="connsiteX4" fmla="*/ 14838 w 113231"/>
                  <a:gd name="connsiteY4" fmla="*/ 94012 h 110966"/>
                  <a:gd name="connsiteX5" fmla="*/ 20077 w 113231"/>
                  <a:gd name="connsiteY5" fmla="*/ 103061 h 110966"/>
                  <a:gd name="connsiteX6" fmla="*/ 65511 w 113231"/>
                  <a:gd name="connsiteY6" fmla="*/ 103061 h 110966"/>
                  <a:gd name="connsiteX7" fmla="*/ 75227 w 113231"/>
                  <a:gd name="connsiteY7" fmla="*/ 94012 h 110966"/>
                  <a:gd name="connsiteX8" fmla="*/ 87038 w 113231"/>
                  <a:gd name="connsiteY8" fmla="*/ 46482 h 110966"/>
                  <a:gd name="connsiteX9" fmla="*/ 87038 w 113231"/>
                  <a:gd name="connsiteY9" fmla="*/ 46482 h 110966"/>
                  <a:gd name="connsiteX10" fmla="*/ 113232 w 113231"/>
                  <a:gd name="connsiteY10" fmla="*/ 0 h 110966"/>
                  <a:gd name="connsiteX11" fmla="*/ 89895 w 113231"/>
                  <a:gd name="connsiteY11" fmla="*/ 93631 h 110966"/>
                  <a:gd name="connsiteX12" fmla="*/ 87133 w 113231"/>
                  <a:gd name="connsiteY12" fmla="*/ 110966 h 110966"/>
                  <a:gd name="connsiteX13" fmla="*/ 72941 w 113231"/>
                  <a:gd name="connsiteY13" fmla="*/ 110966 h 110966"/>
                  <a:gd name="connsiteX14" fmla="*/ 73703 w 113231"/>
                  <a:gd name="connsiteY14" fmla="*/ 103823 h 110966"/>
                  <a:gd name="connsiteX15" fmla="*/ 73322 w 113231"/>
                  <a:gd name="connsiteY15" fmla="*/ 103823 h 110966"/>
                  <a:gd name="connsiteX16" fmla="*/ 60273 w 113231"/>
                  <a:gd name="connsiteY16" fmla="*/ 110966 h 110966"/>
                  <a:gd name="connsiteX17" fmla="*/ 17315 w 113231"/>
                  <a:gd name="connsiteY17" fmla="*/ 110966 h 110966"/>
                  <a:gd name="connsiteX18" fmla="*/ 1408 w 113231"/>
                  <a:gd name="connsiteY18" fmla="*/ 89821 h 110966"/>
                  <a:gd name="connsiteX19" fmla="*/ 11124 w 113231"/>
                  <a:gd name="connsiteY19" fmla="*/ 50673 h 110966"/>
                  <a:gd name="connsiteX20" fmla="*/ 37508 w 113231"/>
                  <a:gd name="connsiteY20" fmla="*/ 29528 h 110966"/>
                  <a:gd name="connsiteX21" fmla="*/ 79608 w 113231"/>
                  <a:gd name="connsiteY21" fmla="*/ 29528 h 110966"/>
                  <a:gd name="connsiteX22" fmla="*/ 86847 w 113231"/>
                  <a:gd name="connsiteY22" fmla="*/ 30385 h 110966"/>
                  <a:gd name="connsiteX23" fmla="*/ 89038 w 113231"/>
                  <a:gd name="connsiteY23" fmla="*/ 38195 h 110966"/>
                  <a:gd name="connsiteX24" fmla="*/ 89419 w 113231"/>
                  <a:gd name="connsiteY24" fmla="*/ 38195 h 110966"/>
                  <a:gd name="connsiteX25" fmla="*/ 94563 w 113231"/>
                  <a:gd name="connsiteY25" fmla="*/ 17431 h 110966"/>
                  <a:gd name="connsiteX26" fmla="*/ 97325 w 113231"/>
                  <a:gd name="connsiteY26" fmla="*/ 95 h 110966"/>
                  <a:gd name="connsiteX27" fmla="*/ 113136 w 113231"/>
                  <a:gd name="connsiteY27" fmla="*/ 95 h 11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231" h="110966">
                    <a:moveTo>
                      <a:pt x="87038" y="46482"/>
                    </a:moveTo>
                    <a:cubicBezTo>
                      <a:pt x="88848" y="39243"/>
                      <a:pt x="87895" y="37433"/>
                      <a:pt x="81799" y="37433"/>
                    </a:cubicBezTo>
                    <a:lnTo>
                      <a:pt x="36365" y="37433"/>
                    </a:lnTo>
                    <a:cubicBezTo>
                      <a:pt x="30269" y="37433"/>
                      <a:pt x="28459" y="39148"/>
                      <a:pt x="26649" y="46482"/>
                    </a:cubicBezTo>
                    <a:lnTo>
                      <a:pt x="14838" y="94012"/>
                    </a:lnTo>
                    <a:cubicBezTo>
                      <a:pt x="13029" y="101251"/>
                      <a:pt x="13981" y="103061"/>
                      <a:pt x="20077" y="103061"/>
                    </a:cubicBezTo>
                    <a:lnTo>
                      <a:pt x="65511" y="103061"/>
                    </a:lnTo>
                    <a:cubicBezTo>
                      <a:pt x="71607" y="103061"/>
                      <a:pt x="73417" y="101346"/>
                      <a:pt x="75227" y="94012"/>
                    </a:cubicBezTo>
                    <a:lnTo>
                      <a:pt x="87038" y="46482"/>
                    </a:lnTo>
                    <a:lnTo>
                      <a:pt x="87038" y="46482"/>
                    </a:lnTo>
                    <a:close/>
                    <a:moveTo>
                      <a:pt x="113232" y="0"/>
                    </a:moveTo>
                    <a:lnTo>
                      <a:pt x="89895" y="93631"/>
                    </a:lnTo>
                    <a:cubicBezTo>
                      <a:pt x="87895" y="101632"/>
                      <a:pt x="87133" y="106109"/>
                      <a:pt x="87133" y="110966"/>
                    </a:cubicBezTo>
                    <a:lnTo>
                      <a:pt x="72941" y="110966"/>
                    </a:lnTo>
                    <a:lnTo>
                      <a:pt x="73703" y="103823"/>
                    </a:lnTo>
                    <a:lnTo>
                      <a:pt x="73322" y="103823"/>
                    </a:lnTo>
                    <a:cubicBezTo>
                      <a:pt x="71512" y="109157"/>
                      <a:pt x="66845" y="110966"/>
                      <a:pt x="60273" y="110966"/>
                    </a:cubicBezTo>
                    <a:lnTo>
                      <a:pt x="17315" y="110966"/>
                    </a:lnTo>
                    <a:cubicBezTo>
                      <a:pt x="1694" y="110966"/>
                      <a:pt x="-2592" y="106109"/>
                      <a:pt x="1408" y="89821"/>
                    </a:cubicBezTo>
                    <a:lnTo>
                      <a:pt x="11124" y="50673"/>
                    </a:lnTo>
                    <a:cubicBezTo>
                      <a:pt x="15219" y="34385"/>
                      <a:pt x="21982" y="29528"/>
                      <a:pt x="37508" y="29528"/>
                    </a:cubicBezTo>
                    <a:lnTo>
                      <a:pt x="79608" y="29528"/>
                    </a:lnTo>
                    <a:cubicBezTo>
                      <a:pt x="82942" y="29528"/>
                      <a:pt x="85323" y="29718"/>
                      <a:pt x="86847" y="30385"/>
                    </a:cubicBezTo>
                    <a:cubicBezTo>
                      <a:pt x="88562" y="31051"/>
                      <a:pt x="89229" y="32480"/>
                      <a:pt x="89038" y="38195"/>
                    </a:cubicBezTo>
                    <a:lnTo>
                      <a:pt x="89419" y="38195"/>
                    </a:lnTo>
                    <a:lnTo>
                      <a:pt x="94563" y="17431"/>
                    </a:lnTo>
                    <a:cubicBezTo>
                      <a:pt x="96563" y="9430"/>
                      <a:pt x="97325" y="4953"/>
                      <a:pt x="97325" y="95"/>
                    </a:cubicBezTo>
                    <a:lnTo>
                      <a:pt x="113136" y="9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90" name="Group 489">
              <a:extLst>
                <a:ext uri="{FF2B5EF4-FFF2-40B4-BE49-F238E27FC236}">
                  <a16:creationId xmlns:a16="http://schemas.microsoft.com/office/drawing/2014/main" id="{2B122B2C-7869-44EF-901E-7F70ABD1E842}"/>
                </a:ext>
              </a:extLst>
            </p:cNvPr>
            <p:cNvGrpSpPr/>
            <p:nvPr userDrawn="1"/>
          </p:nvGrpSpPr>
          <p:grpSpPr>
            <a:xfrm>
              <a:off x="10157216" y="2322039"/>
              <a:ext cx="928261" cy="202000"/>
              <a:chOff x="5381625" y="3271837"/>
              <a:chExt cx="1432178" cy="311657"/>
            </a:xfrm>
          </p:grpSpPr>
          <p:sp>
            <p:nvSpPr>
              <p:cNvPr id="491" name="Freeform: Shape 490">
                <a:extLst>
                  <a:ext uri="{FF2B5EF4-FFF2-40B4-BE49-F238E27FC236}">
                    <a16:creationId xmlns:a16="http://schemas.microsoft.com/office/drawing/2014/main" id="{2CAFB14C-7EB4-4354-A6A9-F444019F1372}"/>
                  </a:ext>
                </a:extLst>
              </p:cNvPr>
              <p:cNvSpPr/>
              <p:nvPr/>
            </p:nvSpPr>
            <p:spPr>
              <a:xfrm>
                <a:off x="5381625" y="3271837"/>
                <a:ext cx="1385125" cy="59721"/>
              </a:xfrm>
              <a:custGeom>
                <a:avLst/>
                <a:gdLst>
                  <a:gd name="connsiteX0" fmla="*/ 1132618 w 1385125"/>
                  <a:gd name="connsiteY0" fmla="*/ 0 h 59721"/>
                  <a:gd name="connsiteX1" fmla="*/ 1130522 w 1385125"/>
                  <a:gd name="connsiteY1" fmla="*/ 2096 h 59721"/>
                  <a:gd name="connsiteX2" fmla="*/ 1130522 w 1385125"/>
                  <a:gd name="connsiteY2" fmla="*/ 57626 h 59721"/>
                  <a:gd name="connsiteX3" fmla="*/ 1132618 w 1385125"/>
                  <a:gd name="connsiteY3" fmla="*/ 59722 h 59721"/>
                  <a:gd name="connsiteX4" fmla="*/ 1383030 w 1385125"/>
                  <a:gd name="connsiteY4" fmla="*/ 59722 h 59721"/>
                  <a:gd name="connsiteX5" fmla="*/ 1385126 w 1385125"/>
                  <a:gd name="connsiteY5" fmla="*/ 57626 h 59721"/>
                  <a:gd name="connsiteX6" fmla="*/ 1385126 w 1385125"/>
                  <a:gd name="connsiteY6" fmla="*/ 2096 h 59721"/>
                  <a:gd name="connsiteX7" fmla="*/ 1383030 w 1385125"/>
                  <a:gd name="connsiteY7" fmla="*/ 0 h 59721"/>
                  <a:gd name="connsiteX8" fmla="*/ 1132618 w 1385125"/>
                  <a:gd name="connsiteY8" fmla="*/ 0 h 59721"/>
                  <a:gd name="connsiteX9" fmla="*/ 788575 w 1385125"/>
                  <a:gd name="connsiteY9" fmla="*/ 0 h 59721"/>
                  <a:gd name="connsiteX10" fmla="*/ 786479 w 1385125"/>
                  <a:gd name="connsiteY10" fmla="*/ 2096 h 59721"/>
                  <a:gd name="connsiteX11" fmla="*/ 786479 w 1385125"/>
                  <a:gd name="connsiteY11" fmla="*/ 57626 h 59721"/>
                  <a:gd name="connsiteX12" fmla="*/ 788575 w 1385125"/>
                  <a:gd name="connsiteY12" fmla="*/ 59722 h 59721"/>
                  <a:gd name="connsiteX13" fmla="*/ 1105376 w 1385125"/>
                  <a:gd name="connsiteY13" fmla="*/ 59722 h 59721"/>
                  <a:gd name="connsiteX14" fmla="*/ 1107472 w 1385125"/>
                  <a:gd name="connsiteY14" fmla="*/ 57626 h 59721"/>
                  <a:gd name="connsiteX15" fmla="*/ 1107472 w 1385125"/>
                  <a:gd name="connsiteY15" fmla="*/ 2096 h 59721"/>
                  <a:gd name="connsiteX16" fmla="*/ 1105376 w 1385125"/>
                  <a:gd name="connsiteY16" fmla="*/ 0 h 59721"/>
                  <a:gd name="connsiteX17" fmla="*/ 788575 w 1385125"/>
                  <a:gd name="connsiteY17" fmla="*/ 0 h 59721"/>
                  <a:gd name="connsiteX18" fmla="*/ 2096 w 1385125"/>
                  <a:gd name="connsiteY18" fmla="*/ 0 h 59721"/>
                  <a:gd name="connsiteX19" fmla="*/ 0 w 1385125"/>
                  <a:gd name="connsiteY19" fmla="*/ 2096 h 59721"/>
                  <a:gd name="connsiteX20" fmla="*/ 0 w 1385125"/>
                  <a:gd name="connsiteY20" fmla="*/ 57626 h 59721"/>
                  <a:gd name="connsiteX21" fmla="*/ 2096 w 1385125"/>
                  <a:gd name="connsiteY21" fmla="*/ 59722 h 59721"/>
                  <a:gd name="connsiteX22" fmla="*/ 761429 w 1385125"/>
                  <a:gd name="connsiteY22" fmla="*/ 59722 h 59721"/>
                  <a:gd name="connsiteX23" fmla="*/ 763524 w 1385125"/>
                  <a:gd name="connsiteY23" fmla="*/ 57626 h 59721"/>
                  <a:gd name="connsiteX24" fmla="*/ 763524 w 1385125"/>
                  <a:gd name="connsiteY24" fmla="*/ 2096 h 59721"/>
                  <a:gd name="connsiteX25" fmla="*/ 761429 w 1385125"/>
                  <a:gd name="connsiteY25" fmla="*/ 0 h 59721"/>
                  <a:gd name="connsiteX26" fmla="*/ 2096 w 1385125"/>
                  <a:gd name="connsiteY26" fmla="*/ 0 h 5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5125" h="59721">
                    <a:moveTo>
                      <a:pt x="1132618" y="0"/>
                    </a:moveTo>
                    <a:cubicBezTo>
                      <a:pt x="1131475" y="0"/>
                      <a:pt x="1130522" y="953"/>
                      <a:pt x="1130522" y="2096"/>
                    </a:cubicBezTo>
                    <a:lnTo>
                      <a:pt x="1130522" y="57626"/>
                    </a:lnTo>
                    <a:cubicBezTo>
                      <a:pt x="1130522" y="58769"/>
                      <a:pt x="1131475" y="59722"/>
                      <a:pt x="1132618" y="59722"/>
                    </a:cubicBezTo>
                    <a:lnTo>
                      <a:pt x="1383030" y="59722"/>
                    </a:lnTo>
                    <a:cubicBezTo>
                      <a:pt x="1384173" y="59722"/>
                      <a:pt x="1385126" y="58769"/>
                      <a:pt x="1385126" y="57626"/>
                    </a:cubicBezTo>
                    <a:lnTo>
                      <a:pt x="1385126" y="2096"/>
                    </a:lnTo>
                    <a:cubicBezTo>
                      <a:pt x="1385126" y="953"/>
                      <a:pt x="1384173" y="0"/>
                      <a:pt x="1383030" y="0"/>
                    </a:cubicBezTo>
                    <a:lnTo>
                      <a:pt x="1132618" y="0"/>
                    </a:lnTo>
                    <a:close/>
                    <a:moveTo>
                      <a:pt x="788575" y="0"/>
                    </a:moveTo>
                    <a:cubicBezTo>
                      <a:pt x="787432" y="0"/>
                      <a:pt x="786479" y="953"/>
                      <a:pt x="786479" y="2096"/>
                    </a:cubicBezTo>
                    <a:lnTo>
                      <a:pt x="786479" y="57626"/>
                    </a:lnTo>
                    <a:cubicBezTo>
                      <a:pt x="786479" y="58769"/>
                      <a:pt x="787432" y="59722"/>
                      <a:pt x="788575" y="59722"/>
                    </a:cubicBezTo>
                    <a:lnTo>
                      <a:pt x="1105376" y="59722"/>
                    </a:lnTo>
                    <a:cubicBezTo>
                      <a:pt x="1106519" y="59722"/>
                      <a:pt x="1107472" y="58769"/>
                      <a:pt x="1107472" y="57626"/>
                    </a:cubicBezTo>
                    <a:lnTo>
                      <a:pt x="1107472" y="2096"/>
                    </a:lnTo>
                    <a:cubicBezTo>
                      <a:pt x="1107472" y="953"/>
                      <a:pt x="1106519" y="0"/>
                      <a:pt x="1105376" y="0"/>
                    </a:cubicBezTo>
                    <a:lnTo>
                      <a:pt x="788575" y="0"/>
                    </a:lnTo>
                    <a:close/>
                    <a:moveTo>
                      <a:pt x="2096" y="0"/>
                    </a:moveTo>
                    <a:cubicBezTo>
                      <a:pt x="953" y="0"/>
                      <a:pt x="0" y="953"/>
                      <a:pt x="0" y="2096"/>
                    </a:cubicBezTo>
                    <a:lnTo>
                      <a:pt x="0" y="57626"/>
                    </a:lnTo>
                    <a:cubicBezTo>
                      <a:pt x="0" y="58769"/>
                      <a:pt x="953" y="59722"/>
                      <a:pt x="2096" y="59722"/>
                    </a:cubicBezTo>
                    <a:lnTo>
                      <a:pt x="761429" y="59722"/>
                    </a:lnTo>
                    <a:cubicBezTo>
                      <a:pt x="762572" y="59722"/>
                      <a:pt x="763524" y="58769"/>
                      <a:pt x="763524" y="57626"/>
                    </a:cubicBezTo>
                    <a:lnTo>
                      <a:pt x="763524" y="2096"/>
                    </a:lnTo>
                    <a:cubicBezTo>
                      <a:pt x="763429" y="953"/>
                      <a:pt x="762572" y="0"/>
                      <a:pt x="761429" y="0"/>
                    </a:cubicBezTo>
                    <a:lnTo>
                      <a:pt x="2096"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2" name="Freeform: Shape 491">
                <a:extLst>
                  <a:ext uri="{FF2B5EF4-FFF2-40B4-BE49-F238E27FC236}">
                    <a16:creationId xmlns:a16="http://schemas.microsoft.com/office/drawing/2014/main" id="{587CBA81-4867-413D-88D6-2A8257985E73}"/>
                  </a:ext>
                </a:extLst>
              </p:cNvPr>
              <p:cNvSpPr/>
              <p:nvPr/>
            </p:nvSpPr>
            <p:spPr>
              <a:xfrm>
                <a:off x="5381625" y="3271837"/>
                <a:ext cx="1385125" cy="59721"/>
              </a:xfrm>
              <a:custGeom>
                <a:avLst/>
                <a:gdLst>
                  <a:gd name="connsiteX0" fmla="*/ 0 w 1385125"/>
                  <a:gd name="connsiteY0" fmla="*/ 0 h 59721"/>
                  <a:gd name="connsiteX1" fmla="*/ 1385126 w 1385125"/>
                  <a:gd name="connsiteY1" fmla="*/ 0 h 59721"/>
                  <a:gd name="connsiteX2" fmla="*/ 1385126 w 1385125"/>
                  <a:gd name="connsiteY2" fmla="*/ 59722 h 59721"/>
                  <a:gd name="connsiteX3" fmla="*/ 0 w 1385125"/>
                  <a:gd name="connsiteY3" fmla="*/ 59722 h 59721"/>
                  <a:gd name="connsiteX4" fmla="*/ 0 w 1385125"/>
                  <a:gd name="connsiteY4" fmla="*/ 0 h 59721"/>
                  <a:gd name="connsiteX5" fmla="*/ 0 w 1385125"/>
                  <a:gd name="connsiteY5" fmla="*/ 0 h 5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25" h="59721">
                    <a:moveTo>
                      <a:pt x="0" y="0"/>
                    </a:moveTo>
                    <a:lnTo>
                      <a:pt x="1385126" y="0"/>
                    </a:lnTo>
                    <a:lnTo>
                      <a:pt x="1385126" y="59722"/>
                    </a:lnTo>
                    <a:lnTo>
                      <a:pt x="0" y="59722"/>
                    </a:lnTo>
                    <a:lnTo>
                      <a:pt x="0" y="0"/>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3" name="Freeform: Shape 492">
                <a:extLst>
                  <a:ext uri="{FF2B5EF4-FFF2-40B4-BE49-F238E27FC236}">
                    <a16:creationId xmlns:a16="http://schemas.microsoft.com/office/drawing/2014/main" id="{7672F3E8-3DFE-4784-BE9F-F3EF0CFA5974}"/>
                  </a:ext>
                </a:extLst>
              </p:cNvPr>
              <p:cNvSpPr/>
              <p:nvPr/>
            </p:nvSpPr>
            <p:spPr>
              <a:xfrm>
                <a:off x="5388863" y="3378707"/>
                <a:ext cx="1372171" cy="204787"/>
              </a:xfrm>
              <a:custGeom>
                <a:avLst/>
                <a:gdLst>
                  <a:gd name="connsiteX0" fmla="*/ 1371695 w 1372171"/>
                  <a:gd name="connsiteY0" fmla="*/ 145828 h 204787"/>
                  <a:gd name="connsiteX1" fmla="*/ 1356836 w 1372171"/>
                  <a:gd name="connsiteY1" fmla="*/ 192977 h 204787"/>
                  <a:gd name="connsiteX2" fmla="*/ 1314450 w 1372171"/>
                  <a:gd name="connsiteY2" fmla="*/ 204597 h 204787"/>
                  <a:gd name="connsiteX3" fmla="*/ 1229106 w 1372171"/>
                  <a:gd name="connsiteY3" fmla="*/ 204597 h 204787"/>
                  <a:gd name="connsiteX4" fmla="*/ 1188911 w 1372171"/>
                  <a:gd name="connsiteY4" fmla="*/ 190691 h 204787"/>
                  <a:gd name="connsiteX5" fmla="*/ 1172147 w 1372171"/>
                  <a:gd name="connsiteY5" fmla="*/ 145447 h 204787"/>
                  <a:gd name="connsiteX6" fmla="*/ 1174337 w 1372171"/>
                  <a:gd name="connsiteY6" fmla="*/ 142494 h 204787"/>
                  <a:gd name="connsiteX7" fmla="*/ 1191673 w 1372171"/>
                  <a:gd name="connsiteY7" fmla="*/ 142494 h 204787"/>
                  <a:gd name="connsiteX8" fmla="*/ 1194149 w 1372171"/>
                  <a:gd name="connsiteY8" fmla="*/ 145447 h 204787"/>
                  <a:gd name="connsiteX9" fmla="*/ 1206246 w 1372171"/>
                  <a:gd name="connsiteY9" fmla="*/ 172212 h 204787"/>
                  <a:gd name="connsiteX10" fmla="*/ 1234631 w 1372171"/>
                  <a:gd name="connsiteY10" fmla="*/ 178022 h 204787"/>
                  <a:gd name="connsiteX11" fmla="*/ 1313688 w 1372171"/>
                  <a:gd name="connsiteY11" fmla="*/ 178022 h 204787"/>
                  <a:gd name="connsiteX12" fmla="*/ 1339882 w 1372171"/>
                  <a:gd name="connsiteY12" fmla="*/ 171831 h 204787"/>
                  <a:gd name="connsiteX13" fmla="*/ 1349788 w 1372171"/>
                  <a:gd name="connsiteY13" fmla="*/ 145066 h 204787"/>
                  <a:gd name="connsiteX14" fmla="*/ 1334643 w 1372171"/>
                  <a:gd name="connsiteY14" fmla="*/ 118300 h 204787"/>
                  <a:gd name="connsiteX15" fmla="*/ 1295591 w 1372171"/>
                  <a:gd name="connsiteY15" fmla="*/ 112490 h 204787"/>
                  <a:gd name="connsiteX16" fmla="*/ 1288923 w 1372171"/>
                  <a:gd name="connsiteY16" fmla="*/ 112490 h 204787"/>
                  <a:gd name="connsiteX17" fmla="*/ 1280350 w 1372171"/>
                  <a:gd name="connsiteY17" fmla="*/ 112776 h 204787"/>
                  <a:gd name="connsiteX18" fmla="*/ 1271016 w 1372171"/>
                  <a:gd name="connsiteY18" fmla="*/ 112776 h 204787"/>
                  <a:gd name="connsiteX19" fmla="*/ 1267682 w 1372171"/>
                  <a:gd name="connsiteY19" fmla="*/ 113157 h 204787"/>
                  <a:gd name="connsiteX20" fmla="*/ 1264158 w 1372171"/>
                  <a:gd name="connsiteY20" fmla="*/ 113157 h 204787"/>
                  <a:gd name="connsiteX21" fmla="*/ 1253966 w 1372171"/>
                  <a:gd name="connsiteY21" fmla="*/ 113443 h 204787"/>
                  <a:gd name="connsiteX22" fmla="*/ 1246823 w 1372171"/>
                  <a:gd name="connsiteY22" fmla="*/ 113443 h 204787"/>
                  <a:gd name="connsiteX23" fmla="*/ 1194245 w 1372171"/>
                  <a:gd name="connsiteY23" fmla="*/ 103727 h 204787"/>
                  <a:gd name="connsiteX24" fmla="*/ 1170908 w 1372171"/>
                  <a:gd name="connsiteY24" fmla="*/ 55912 h 204787"/>
                  <a:gd name="connsiteX25" fmla="*/ 1224629 w 1372171"/>
                  <a:gd name="connsiteY25" fmla="*/ 0 h 204787"/>
                  <a:gd name="connsiteX26" fmla="*/ 1311688 w 1372171"/>
                  <a:gd name="connsiteY26" fmla="*/ 0 h 204787"/>
                  <a:gd name="connsiteX27" fmla="*/ 1370648 w 1372171"/>
                  <a:gd name="connsiteY27" fmla="*/ 59055 h 204787"/>
                  <a:gd name="connsiteX28" fmla="*/ 1368743 w 1372171"/>
                  <a:gd name="connsiteY28" fmla="*/ 61627 h 204787"/>
                  <a:gd name="connsiteX29" fmla="*/ 1350836 w 1372171"/>
                  <a:gd name="connsiteY29" fmla="*/ 61627 h 204787"/>
                  <a:gd name="connsiteX30" fmla="*/ 1348645 w 1372171"/>
                  <a:gd name="connsiteY30" fmla="*/ 59055 h 204787"/>
                  <a:gd name="connsiteX31" fmla="*/ 1336548 w 1372171"/>
                  <a:gd name="connsiteY31" fmla="*/ 32290 h 204787"/>
                  <a:gd name="connsiteX32" fmla="*/ 1308449 w 1372171"/>
                  <a:gd name="connsiteY32" fmla="*/ 26765 h 204787"/>
                  <a:gd name="connsiteX33" fmla="*/ 1224153 w 1372171"/>
                  <a:gd name="connsiteY33" fmla="*/ 26765 h 204787"/>
                  <a:gd name="connsiteX34" fmla="*/ 1201007 w 1372171"/>
                  <a:gd name="connsiteY34" fmla="*/ 32576 h 204787"/>
                  <a:gd name="connsiteX35" fmla="*/ 1193292 w 1372171"/>
                  <a:gd name="connsiteY35" fmla="*/ 56102 h 204787"/>
                  <a:gd name="connsiteX36" fmla="*/ 1208437 w 1372171"/>
                  <a:gd name="connsiteY36" fmla="*/ 80962 h 204787"/>
                  <a:gd name="connsiteX37" fmla="*/ 1247204 w 1372171"/>
                  <a:gd name="connsiteY37" fmla="*/ 87154 h 204787"/>
                  <a:gd name="connsiteX38" fmla="*/ 1255776 w 1372171"/>
                  <a:gd name="connsiteY38" fmla="*/ 87154 h 204787"/>
                  <a:gd name="connsiteX39" fmla="*/ 1269587 w 1372171"/>
                  <a:gd name="connsiteY39" fmla="*/ 86868 h 204787"/>
                  <a:gd name="connsiteX40" fmla="*/ 1273397 w 1372171"/>
                  <a:gd name="connsiteY40" fmla="*/ 86582 h 204787"/>
                  <a:gd name="connsiteX41" fmla="*/ 1277017 w 1372171"/>
                  <a:gd name="connsiteY41" fmla="*/ 86582 h 204787"/>
                  <a:gd name="connsiteX42" fmla="*/ 1285875 w 1372171"/>
                  <a:gd name="connsiteY42" fmla="*/ 86201 h 204787"/>
                  <a:gd name="connsiteX43" fmla="*/ 1291971 w 1372171"/>
                  <a:gd name="connsiteY43" fmla="*/ 86201 h 204787"/>
                  <a:gd name="connsiteX44" fmla="*/ 1347597 w 1372171"/>
                  <a:gd name="connsiteY44" fmla="*/ 96202 h 204787"/>
                  <a:gd name="connsiteX45" fmla="*/ 1372172 w 1372171"/>
                  <a:gd name="connsiteY45" fmla="*/ 145637 h 204787"/>
                  <a:gd name="connsiteX46" fmla="*/ 777240 w 1372171"/>
                  <a:gd name="connsiteY46" fmla="*/ 204407 h 204787"/>
                  <a:gd name="connsiteX47" fmla="*/ 759619 w 1372171"/>
                  <a:gd name="connsiteY47" fmla="*/ 204407 h 204787"/>
                  <a:gd name="connsiteX48" fmla="*/ 756761 w 1372171"/>
                  <a:gd name="connsiteY48" fmla="*/ 201454 h 204787"/>
                  <a:gd name="connsiteX49" fmla="*/ 756761 w 1372171"/>
                  <a:gd name="connsiteY49" fmla="*/ 3429 h 204787"/>
                  <a:gd name="connsiteX50" fmla="*/ 759619 w 1372171"/>
                  <a:gd name="connsiteY50" fmla="*/ 190 h 204787"/>
                  <a:gd name="connsiteX51" fmla="*/ 777240 w 1372171"/>
                  <a:gd name="connsiteY51" fmla="*/ 190 h 204787"/>
                  <a:gd name="connsiteX52" fmla="*/ 779717 w 1372171"/>
                  <a:gd name="connsiteY52" fmla="*/ 3429 h 204787"/>
                  <a:gd name="connsiteX53" fmla="*/ 779717 w 1372171"/>
                  <a:gd name="connsiteY53" fmla="*/ 201740 h 204787"/>
                  <a:gd name="connsiteX54" fmla="*/ 777240 w 1372171"/>
                  <a:gd name="connsiteY54" fmla="*/ 204692 h 204787"/>
                  <a:gd name="connsiteX55" fmla="*/ 1121188 w 1372171"/>
                  <a:gd name="connsiteY55" fmla="*/ 204692 h 204787"/>
                  <a:gd name="connsiteX56" fmla="*/ 1103567 w 1372171"/>
                  <a:gd name="connsiteY56" fmla="*/ 204692 h 204787"/>
                  <a:gd name="connsiteX57" fmla="*/ 1100709 w 1372171"/>
                  <a:gd name="connsiteY57" fmla="*/ 201740 h 204787"/>
                  <a:gd name="connsiteX58" fmla="*/ 1100709 w 1372171"/>
                  <a:gd name="connsiteY58" fmla="*/ 3429 h 204787"/>
                  <a:gd name="connsiteX59" fmla="*/ 1103567 w 1372171"/>
                  <a:gd name="connsiteY59" fmla="*/ 190 h 204787"/>
                  <a:gd name="connsiteX60" fmla="*/ 1121188 w 1372171"/>
                  <a:gd name="connsiteY60" fmla="*/ 190 h 204787"/>
                  <a:gd name="connsiteX61" fmla="*/ 1123760 w 1372171"/>
                  <a:gd name="connsiteY61" fmla="*/ 3429 h 204787"/>
                  <a:gd name="connsiteX62" fmla="*/ 1123760 w 1372171"/>
                  <a:gd name="connsiteY62" fmla="*/ 201740 h 204787"/>
                  <a:gd name="connsiteX63" fmla="*/ 1121188 w 1372171"/>
                  <a:gd name="connsiteY63" fmla="*/ 204692 h 204787"/>
                  <a:gd name="connsiteX64" fmla="*/ 1039940 w 1372171"/>
                  <a:gd name="connsiteY64" fmla="*/ 204692 h 204787"/>
                  <a:gd name="connsiteX65" fmla="*/ 1013270 w 1372171"/>
                  <a:gd name="connsiteY65" fmla="*/ 204692 h 204787"/>
                  <a:gd name="connsiteX66" fmla="*/ 1011555 w 1372171"/>
                  <a:gd name="connsiteY66" fmla="*/ 203740 h 204787"/>
                  <a:gd name="connsiteX67" fmla="*/ 869633 w 1372171"/>
                  <a:gd name="connsiteY67" fmla="*/ 21908 h 204787"/>
                  <a:gd name="connsiteX68" fmla="*/ 863727 w 1372171"/>
                  <a:gd name="connsiteY68" fmla="*/ 21908 h 204787"/>
                  <a:gd name="connsiteX69" fmla="*/ 863727 w 1372171"/>
                  <a:gd name="connsiteY69" fmla="*/ 201835 h 204787"/>
                  <a:gd name="connsiteX70" fmla="*/ 861060 w 1372171"/>
                  <a:gd name="connsiteY70" fmla="*/ 204788 h 204787"/>
                  <a:gd name="connsiteX71" fmla="*/ 842391 w 1372171"/>
                  <a:gd name="connsiteY71" fmla="*/ 204788 h 204787"/>
                  <a:gd name="connsiteX72" fmla="*/ 839724 w 1372171"/>
                  <a:gd name="connsiteY72" fmla="*/ 201835 h 204787"/>
                  <a:gd name="connsiteX73" fmla="*/ 839724 w 1372171"/>
                  <a:gd name="connsiteY73" fmla="*/ 3429 h 204787"/>
                  <a:gd name="connsiteX74" fmla="*/ 842391 w 1372171"/>
                  <a:gd name="connsiteY74" fmla="*/ 190 h 204787"/>
                  <a:gd name="connsiteX75" fmla="*/ 883539 w 1372171"/>
                  <a:gd name="connsiteY75" fmla="*/ 190 h 204787"/>
                  <a:gd name="connsiteX76" fmla="*/ 885635 w 1372171"/>
                  <a:gd name="connsiteY76" fmla="*/ 1524 h 204787"/>
                  <a:gd name="connsiteX77" fmla="*/ 1018318 w 1372171"/>
                  <a:gd name="connsiteY77" fmla="*/ 173641 h 204787"/>
                  <a:gd name="connsiteX78" fmla="*/ 1018318 w 1372171"/>
                  <a:gd name="connsiteY78" fmla="*/ 3429 h 204787"/>
                  <a:gd name="connsiteX79" fmla="*/ 1021271 w 1372171"/>
                  <a:gd name="connsiteY79" fmla="*/ 190 h 204787"/>
                  <a:gd name="connsiteX80" fmla="*/ 1039940 w 1372171"/>
                  <a:gd name="connsiteY80" fmla="*/ 190 h 204787"/>
                  <a:gd name="connsiteX81" fmla="*/ 1042607 w 1372171"/>
                  <a:gd name="connsiteY81" fmla="*/ 3429 h 204787"/>
                  <a:gd name="connsiteX82" fmla="*/ 1042607 w 1372171"/>
                  <a:gd name="connsiteY82" fmla="*/ 201740 h 204787"/>
                  <a:gd name="connsiteX83" fmla="*/ 1039940 w 1372171"/>
                  <a:gd name="connsiteY83" fmla="*/ 204692 h 204787"/>
                  <a:gd name="connsiteX84" fmla="*/ 691039 w 1372171"/>
                  <a:gd name="connsiteY84" fmla="*/ 204692 h 204787"/>
                  <a:gd name="connsiteX85" fmla="*/ 673132 w 1372171"/>
                  <a:gd name="connsiteY85" fmla="*/ 204692 h 204787"/>
                  <a:gd name="connsiteX86" fmla="*/ 670655 w 1372171"/>
                  <a:gd name="connsiteY86" fmla="*/ 201740 h 204787"/>
                  <a:gd name="connsiteX87" fmla="*/ 670655 w 1372171"/>
                  <a:gd name="connsiteY87" fmla="*/ 21812 h 204787"/>
                  <a:gd name="connsiteX88" fmla="*/ 665321 w 1372171"/>
                  <a:gd name="connsiteY88" fmla="*/ 21812 h 204787"/>
                  <a:gd name="connsiteX89" fmla="*/ 573881 w 1372171"/>
                  <a:gd name="connsiteY89" fmla="*/ 203930 h 204787"/>
                  <a:gd name="connsiteX90" fmla="*/ 571881 w 1372171"/>
                  <a:gd name="connsiteY90" fmla="*/ 204597 h 204787"/>
                  <a:gd name="connsiteX91" fmla="*/ 559784 w 1372171"/>
                  <a:gd name="connsiteY91" fmla="*/ 204597 h 204787"/>
                  <a:gd name="connsiteX92" fmla="*/ 558641 w 1372171"/>
                  <a:gd name="connsiteY92" fmla="*/ 204311 h 204787"/>
                  <a:gd name="connsiteX93" fmla="*/ 468059 w 1372171"/>
                  <a:gd name="connsiteY93" fmla="*/ 21812 h 204787"/>
                  <a:gd name="connsiteX94" fmla="*/ 463010 w 1372171"/>
                  <a:gd name="connsiteY94" fmla="*/ 21812 h 204787"/>
                  <a:gd name="connsiteX95" fmla="*/ 463010 w 1372171"/>
                  <a:gd name="connsiteY95" fmla="*/ 201740 h 204787"/>
                  <a:gd name="connsiteX96" fmla="*/ 460534 w 1372171"/>
                  <a:gd name="connsiteY96" fmla="*/ 204692 h 204787"/>
                  <a:gd name="connsiteX97" fmla="*/ 442341 w 1372171"/>
                  <a:gd name="connsiteY97" fmla="*/ 204692 h 204787"/>
                  <a:gd name="connsiteX98" fmla="*/ 439865 w 1372171"/>
                  <a:gd name="connsiteY98" fmla="*/ 201740 h 204787"/>
                  <a:gd name="connsiteX99" fmla="*/ 439865 w 1372171"/>
                  <a:gd name="connsiteY99" fmla="*/ 3429 h 204787"/>
                  <a:gd name="connsiteX100" fmla="*/ 442341 w 1372171"/>
                  <a:gd name="connsiteY100" fmla="*/ 190 h 204787"/>
                  <a:gd name="connsiteX101" fmla="*/ 482727 w 1372171"/>
                  <a:gd name="connsiteY101" fmla="*/ 190 h 204787"/>
                  <a:gd name="connsiteX102" fmla="*/ 484156 w 1372171"/>
                  <a:gd name="connsiteY102" fmla="*/ 476 h 204787"/>
                  <a:gd name="connsiteX103" fmla="*/ 566261 w 1372171"/>
                  <a:gd name="connsiteY103" fmla="*/ 167449 h 204787"/>
                  <a:gd name="connsiteX104" fmla="*/ 650939 w 1372171"/>
                  <a:gd name="connsiteY104" fmla="*/ 857 h 204787"/>
                  <a:gd name="connsiteX105" fmla="*/ 652939 w 1372171"/>
                  <a:gd name="connsiteY105" fmla="*/ 190 h 204787"/>
                  <a:gd name="connsiteX106" fmla="*/ 691039 w 1372171"/>
                  <a:gd name="connsiteY106" fmla="*/ 190 h 204787"/>
                  <a:gd name="connsiteX107" fmla="*/ 693039 w 1372171"/>
                  <a:gd name="connsiteY107" fmla="*/ 3429 h 204787"/>
                  <a:gd name="connsiteX108" fmla="*/ 693039 w 1372171"/>
                  <a:gd name="connsiteY108" fmla="*/ 201740 h 204787"/>
                  <a:gd name="connsiteX109" fmla="*/ 691039 w 1372171"/>
                  <a:gd name="connsiteY109" fmla="*/ 204692 h 204787"/>
                  <a:gd name="connsiteX110" fmla="*/ 400336 w 1372171"/>
                  <a:gd name="connsiteY110" fmla="*/ 111061 h 204787"/>
                  <a:gd name="connsiteX111" fmla="*/ 392621 w 1372171"/>
                  <a:gd name="connsiteY111" fmla="*/ 171450 h 204787"/>
                  <a:gd name="connsiteX112" fmla="*/ 364712 w 1372171"/>
                  <a:gd name="connsiteY112" fmla="*/ 198215 h 204787"/>
                  <a:gd name="connsiteX113" fmla="*/ 364427 w 1372171"/>
                  <a:gd name="connsiteY113" fmla="*/ 198596 h 204787"/>
                  <a:gd name="connsiteX114" fmla="*/ 311182 w 1372171"/>
                  <a:gd name="connsiteY114" fmla="*/ 204692 h 204787"/>
                  <a:gd name="connsiteX115" fmla="*/ 284321 w 1372171"/>
                  <a:gd name="connsiteY115" fmla="*/ 204692 h 204787"/>
                  <a:gd name="connsiteX116" fmla="*/ 230791 w 1372171"/>
                  <a:gd name="connsiteY116" fmla="*/ 198596 h 204787"/>
                  <a:gd name="connsiteX117" fmla="*/ 230219 w 1372171"/>
                  <a:gd name="connsiteY117" fmla="*/ 198215 h 204787"/>
                  <a:gd name="connsiteX118" fmla="*/ 202025 w 1372171"/>
                  <a:gd name="connsiteY118" fmla="*/ 171450 h 204787"/>
                  <a:gd name="connsiteX119" fmla="*/ 194405 w 1372171"/>
                  <a:gd name="connsiteY119" fmla="*/ 111061 h 204787"/>
                  <a:gd name="connsiteX120" fmla="*/ 194405 w 1372171"/>
                  <a:gd name="connsiteY120" fmla="*/ 3429 h 204787"/>
                  <a:gd name="connsiteX121" fmla="*/ 196691 w 1372171"/>
                  <a:gd name="connsiteY121" fmla="*/ 190 h 204787"/>
                  <a:gd name="connsiteX122" fmla="*/ 214598 w 1372171"/>
                  <a:gd name="connsiteY122" fmla="*/ 190 h 204787"/>
                  <a:gd name="connsiteX123" fmla="*/ 217170 w 1372171"/>
                  <a:gd name="connsiteY123" fmla="*/ 3429 h 204787"/>
                  <a:gd name="connsiteX124" fmla="*/ 217170 w 1372171"/>
                  <a:gd name="connsiteY124" fmla="*/ 110966 h 204787"/>
                  <a:gd name="connsiteX125" fmla="*/ 222599 w 1372171"/>
                  <a:gd name="connsiteY125" fmla="*/ 158115 h 204787"/>
                  <a:gd name="connsiteX126" fmla="*/ 241459 w 1372171"/>
                  <a:gd name="connsiteY126" fmla="*/ 174593 h 204787"/>
                  <a:gd name="connsiteX127" fmla="*/ 284512 w 1372171"/>
                  <a:gd name="connsiteY127" fmla="*/ 177832 h 204787"/>
                  <a:gd name="connsiteX128" fmla="*/ 311372 w 1372171"/>
                  <a:gd name="connsiteY128" fmla="*/ 177832 h 204787"/>
                  <a:gd name="connsiteX129" fmla="*/ 354425 w 1372171"/>
                  <a:gd name="connsiteY129" fmla="*/ 174593 h 204787"/>
                  <a:gd name="connsiteX130" fmla="*/ 372428 w 1372171"/>
                  <a:gd name="connsiteY130" fmla="*/ 158115 h 204787"/>
                  <a:gd name="connsiteX131" fmla="*/ 377571 w 1372171"/>
                  <a:gd name="connsiteY131" fmla="*/ 110966 h 204787"/>
                  <a:gd name="connsiteX132" fmla="*/ 377571 w 1372171"/>
                  <a:gd name="connsiteY132" fmla="*/ 3429 h 204787"/>
                  <a:gd name="connsiteX133" fmla="*/ 380429 w 1372171"/>
                  <a:gd name="connsiteY133" fmla="*/ 190 h 204787"/>
                  <a:gd name="connsiteX134" fmla="*/ 398050 w 1372171"/>
                  <a:gd name="connsiteY134" fmla="*/ 190 h 204787"/>
                  <a:gd name="connsiteX135" fmla="*/ 400622 w 1372171"/>
                  <a:gd name="connsiteY135" fmla="*/ 3429 h 204787"/>
                  <a:gd name="connsiteX136" fmla="*/ 400622 w 1372171"/>
                  <a:gd name="connsiteY136" fmla="*/ 110966 h 204787"/>
                  <a:gd name="connsiteX137" fmla="*/ 400622 w 1372171"/>
                  <a:gd name="connsiteY137" fmla="*/ 110966 h 204787"/>
                  <a:gd name="connsiteX138" fmla="*/ 153829 w 1372171"/>
                  <a:gd name="connsiteY138" fmla="*/ 204692 h 204787"/>
                  <a:gd name="connsiteX139" fmla="*/ 2667 w 1372171"/>
                  <a:gd name="connsiteY139" fmla="*/ 204692 h 204787"/>
                  <a:gd name="connsiteX140" fmla="*/ 0 w 1372171"/>
                  <a:gd name="connsiteY140" fmla="*/ 201740 h 204787"/>
                  <a:gd name="connsiteX141" fmla="*/ 0 w 1372171"/>
                  <a:gd name="connsiteY141" fmla="*/ 3429 h 204787"/>
                  <a:gd name="connsiteX142" fmla="*/ 2667 w 1372171"/>
                  <a:gd name="connsiteY142" fmla="*/ 190 h 204787"/>
                  <a:gd name="connsiteX143" fmla="*/ 21146 w 1372171"/>
                  <a:gd name="connsiteY143" fmla="*/ 190 h 204787"/>
                  <a:gd name="connsiteX144" fmla="*/ 23813 w 1372171"/>
                  <a:gd name="connsiteY144" fmla="*/ 3429 h 204787"/>
                  <a:gd name="connsiteX145" fmla="*/ 23813 w 1372171"/>
                  <a:gd name="connsiteY145" fmla="*/ 178118 h 204787"/>
                  <a:gd name="connsiteX146" fmla="*/ 153257 w 1372171"/>
                  <a:gd name="connsiteY146" fmla="*/ 178118 h 204787"/>
                  <a:gd name="connsiteX147" fmla="*/ 155924 w 1372171"/>
                  <a:gd name="connsiteY147" fmla="*/ 181070 h 204787"/>
                  <a:gd name="connsiteX148" fmla="*/ 155924 w 1372171"/>
                  <a:gd name="connsiteY148" fmla="*/ 201740 h 204787"/>
                  <a:gd name="connsiteX149" fmla="*/ 153257 w 1372171"/>
                  <a:gd name="connsiteY149" fmla="*/ 204692 h 20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372171" h="204787">
                    <a:moveTo>
                      <a:pt x="1371695" y="145828"/>
                    </a:moveTo>
                    <a:cubicBezTo>
                      <a:pt x="1371695" y="167449"/>
                      <a:pt x="1366742" y="183261"/>
                      <a:pt x="1356836" y="192977"/>
                    </a:cubicBezTo>
                    <a:cubicBezTo>
                      <a:pt x="1347978" y="201073"/>
                      <a:pt x="1333976" y="204597"/>
                      <a:pt x="1314450" y="204597"/>
                    </a:cubicBezTo>
                    <a:lnTo>
                      <a:pt x="1229106" y="204597"/>
                    </a:lnTo>
                    <a:cubicBezTo>
                      <a:pt x="1211771" y="204597"/>
                      <a:pt x="1198531" y="200025"/>
                      <a:pt x="1188911" y="190691"/>
                    </a:cubicBezTo>
                    <a:cubicBezTo>
                      <a:pt x="1177576" y="180308"/>
                      <a:pt x="1172147" y="165164"/>
                      <a:pt x="1172147" y="145447"/>
                    </a:cubicBezTo>
                    <a:cubicBezTo>
                      <a:pt x="1172147" y="143542"/>
                      <a:pt x="1173004" y="142494"/>
                      <a:pt x="1174337" y="142494"/>
                    </a:cubicBezTo>
                    <a:lnTo>
                      <a:pt x="1191673" y="142494"/>
                    </a:lnTo>
                    <a:cubicBezTo>
                      <a:pt x="1193292" y="142494"/>
                      <a:pt x="1194149" y="143447"/>
                      <a:pt x="1194149" y="145447"/>
                    </a:cubicBezTo>
                    <a:cubicBezTo>
                      <a:pt x="1194435" y="158401"/>
                      <a:pt x="1197674" y="167354"/>
                      <a:pt x="1206246" y="172212"/>
                    </a:cubicBezTo>
                    <a:cubicBezTo>
                      <a:pt x="1211961" y="175736"/>
                      <a:pt x="1221677" y="178022"/>
                      <a:pt x="1234631" y="178022"/>
                    </a:cubicBezTo>
                    <a:lnTo>
                      <a:pt x="1313688" y="178022"/>
                    </a:lnTo>
                    <a:cubicBezTo>
                      <a:pt x="1326071" y="178022"/>
                      <a:pt x="1334357" y="175736"/>
                      <a:pt x="1339882" y="171831"/>
                    </a:cubicBezTo>
                    <a:cubicBezTo>
                      <a:pt x="1347311" y="166687"/>
                      <a:pt x="1349788" y="157639"/>
                      <a:pt x="1349788" y="145066"/>
                    </a:cubicBezTo>
                    <a:cubicBezTo>
                      <a:pt x="1349788" y="131826"/>
                      <a:pt x="1344835" y="123158"/>
                      <a:pt x="1334643" y="118300"/>
                    </a:cubicBezTo>
                    <a:cubicBezTo>
                      <a:pt x="1326642" y="114110"/>
                      <a:pt x="1313212" y="112490"/>
                      <a:pt x="1295591" y="112490"/>
                    </a:cubicBezTo>
                    <a:lnTo>
                      <a:pt x="1288923" y="112490"/>
                    </a:lnTo>
                    <a:cubicBezTo>
                      <a:pt x="1286447" y="112490"/>
                      <a:pt x="1283684" y="112490"/>
                      <a:pt x="1280350" y="112776"/>
                    </a:cubicBezTo>
                    <a:lnTo>
                      <a:pt x="1271016" y="112776"/>
                    </a:lnTo>
                    <a:cubicBezTo>
                      <a:pt x="1270159" y="112776"/>
                      <a:pt x="1269111" y="113157"/>
                      <a:pt x="1267682" y="113157"/>
                    </a:cubicBezTo>
                    <a:lnTo>
                      <a:pt x="1264158" y="113157"/>
                    </a:lnTo>
                    <a:cubicBezTo>
                      <a:pt x="1260253" y="113443"/>
                      <a:pt x="1256919" y="113443"/>
                      <a:pt x="1253966" y="113443"/>
                    </a:cubicBezTo>
                    <a:lnTo>
                      <a:pt x="1246823" y="113443"/>
                    </a:lnTo>
                    <a:cubicBezTo>
                      <a:pt x="1223391" y="113443"/>
                      <a:pt x="1205770" y="110204"/>
                      <a:pt x="1194245" y="103727"/>
                    </a:cubicBezTo>
                    <a:cubicBezTo>
                      <a:pt x="1178528" y="94964"/>
                      <a:pt x="1170908" y="79153"/>
                      <a:pt x="1170908" y="55912"/>
                    </a:cubicBezTo>
                    <a:cubicBezTo>
                      <a:pt x="1170908" y="18764"/>
                      <a:pt x="1188815" y="0"/>
                      <a:pt x="1224629" y="0"/>
                    </a:cubicBezTo>
                    <a:lnTo>
                      <a:pt x="1311688" y="0"/>
                    </a:lnTo>
                    <a:cubicBezTo>
                      <a:pt x="1351121" y="0"/>
                      <a:pt x="1370648" y="19717"/>
                      <a:pt x="1370648" y="59055"/>
                    </a:cubicBezTo>
                    <a:cubicBezTo>
                      <a:pt x="1370648" y="60674"/>
                      <a:pt x="1370076" y="61627"/>
                      <a:pt x="1368743" y="61627"/>
                    </a:cubicBezTo>
                    <a:lnTo>
                      <a:pt x="1350836" y="61627"/>
                    </a:lnTo>
                    <a:cubicBezTo>
                      <a:pt x="1349407" y="61627"/>
                      <a:pt x="1348645" y="60674"/>
                      <a:pt x="1348645" y="59055"/>
                    </a:cubicBezTo>
                    <a:cubicBezTo>
                      <a:pt x="1348359" y="46482"/>
                      <a:pt x="1345025" y="37052"/>
                      <a:pt x="1336548" y="32290"/>
                    </a:cubicBezTo>
                    <a:cubicBezTo>
                      <a:pt x="1330166" y="28765"/>
                      <a:pt x="1320832" y="26765"/>
                      <a:pt x="1308449" y="26765"/>
                    </a:cubicBezTo>
                    <a:lnTo>
                      <a:pt x="1224153" y="26765"/>
                    </a:lnTo>
                    <a:cubicBezTo>
                      <a:pt x="1212818" y="26765"/>
                      <a:pt x="1205389" y="28956"/>
                      <a:pt x="1201007" y="32576"/>
                    </a:cubicBezTo>
                    <a:cubicBezTo>
                      <a:pt x="1195769" y="36481"/>
                      <a:pt x="1193292" y="44196"/>
                      <a:pt x="1193292" y="56102"/>
                    </a:cubicBezTo>
                    <a:cubicBezTo>
                      <a:pt x="1193292" y="68009"/>
                      <a:pt x="1198245" y="76105"/>
                      <a:pt x="1208437" y="80962"/>
                    </a:cubicBezTo>
                    <a:cubicBezTo>
                      <a:pt x="1217009" y="85153"/>
                      <a:pt x="1229868" y="87154"/>
                      <a:pt x="1247204" y="87154"/>
                    </a:cubicBezTo>
                    <a:lnTo>
                      <a:pt x="1255776" y="87154"/>
                    </a:lnTo>
                    <a:cubicBezTo>
                      <a:pt x="1259586" y="87154"/>
                      <a:pt x="1264349" y="87154"/>
                      <a:pt x="1269587" y="86868"/>
                    </a:cubicBezTo>
                    <a:cubicBezTo>
                      <a:pt x="1270730" y="86868"/>
                      <a:pt x="1272064" y="86582"/>
                      <a:pt x="1273397" y="86582"/>
                    </a:cubicBezTo>
                    <a:lnTo>
                      <a:pt x="1277017" y="86582"/>
                    </a:lnTo>
                    <a:cubicBezTo>
                      <a:pt x="1280350" y="86201"/>
                      <a:pt x="1283399" y="86201"/>
                      <a:pt x="1285875" y="86201"/>
                    </a:cubicBezTo>
                    <a:lnTo>
                      <a:pt x="1291971" y="86201"/>
                    </a:lnTo>
                    <a:cubicBezTo>
                      <a:pt x="1317022" y="86201"/>
                      <a:pt x="1335215" y="89821"/>
                      <a:pt x="1347597" y="96202"/>
                    </a:cubicBezTo>
                    <a:cubicBezTo>
                      <a:pt x="1363885" y="105537"/>
                      <a:pt x="1372172" y="122015"/>
                      <a:pt x="1372172" y="145637"/>
                    </a:cubicBezTo>
                    <a:moveTo>
                      <a:pt x="777240" y="204407"/>
                    </a:moveTo>
                    <a:lnTo>
                      <a:pt x="759619" y="204407"/>
                    </a:lnTo>
                    <a:cubicBezTo>
                      <a:pt x="757809" y="204407"/>
                      <a:pt x="756761" y="203454"/>
                      <a:pt x="756761" y="201454"/>
                    </a:cubicBezTo>
                    <a:lnTo>
                      <a:pt x="756761" y="3429"/>
                    </a:lnTo>
                    <a:cubicBezTo>
                      <a:pt x="756761" y="1143"/>
                      <a:pt x="757809" y="190"/>
                      <a:pt x="759619" y="190"/>
                    </a:cubicBezTo>
                    <a:lnTo>
                      <a:pt x="777240" y="190"/>
                    </a:lnTo>
                    <a:cubicBezTo>
                      <a:pt x="779050" y="190"/>
                      <a:pt x="779717" y="1143"/>
                      <a:pt x="779717" y="3429"/>
                    </a:cubicBezTo>
                    <a:lnTo>
                      <a:pt x="779717" y="201740"/>
                    </a:lnTo>
                    <a:cubicBezTo>
                      <a:pt x="779717" y="203644"/>
                      <a:pt x="778955" y="204692"/>
                      <a:pt x="777240" y="204692"/>
                    </a:cubicBezTo>
                    <a:moveTo>
                      <a:pt x="1121188" y="204692"/>
                    </a:moveTo>
                    <a:lnTo>
                      <a:pt x="1103567" y="204692"/>
                    </a:lnTo>
                    <a:cubicBezTo>
                      <a:pt x="1101757" y="204692"/>
                      <a:pt x="1100709" y="203740"/>
                      <a:pt x="1100709" y="201740"/>
                    </a:cubicBezTo>
                    <a:lnTo>
                      <a:pt x="1100709" y="3429"/>
                    </a:lnTo>
                    <a:cubicBezTo>
                      <a:pt x="1100709" y="1143"/>
                      <a:pt x="1101757" y="190"/>
                      <a:pt x="1103567" y="190"/>
                    </a:cubicBezTo>
                    <a:lnTo>
                      <a:pt x="1121188" y="190"/>
                    </a:lnTo>
                    <a:cubicBezTo>
                      <a:pt x="1122998" y="190"/>
                      <a:pt x="1123760" y="1143"/>
                      <a:pt x="1123760" y="3429"/>
                    </a:cubicBezTo>
                    <a:lnTo>
                      <a:pt x="1123760" y="201740"/>
                    </a:lnTo>
                    <a:cubicBezTo>
                      <a:pt x="1123760" y="203644"/>
                      <a:pt x="1122998" y="204692"/>
                      <a:pt x="1121188" y="204692"/>
                    </a:cubicBezTo>
                    <a:moveTo>
                      <a:pt x="1039940" y="204692"/>
                    </a:moveTo>
                    <a:lnTo>
                      <a:pt x="1013270" y="204692"/>
                    </a:lnTo>
                    <a:cubicBezTo>
                      <a:pt x="1012412" y="204692"/>
                      <a:pt x="1011841" y="204407"/>
                      <a:pt x="1011555" y="203740"/>
                    </a:cubicBezTo>
                    <a:lnTo>
                      <a:pt x="869633" y="21908"/>
                    </a:lnTo>
                    <a:lnTo>
                      <a:pt x="863727" y="21908"/>
                    </a:lnTo>
                    <a:lnTo>
                      <a:pt x="863727" y="201835"/>
                    </a:lnTo>
                    <a:cubicBezTo>
                      <a:pt x="863727" y="203740"/>
                      <a:pt x="862870" y="204788"/>
                      <a:pt x="861060" y="204788"/>
                    </a:cubicBezTo>
                    <a:lnTo>
                      <a:pt x="842391" y="204788"/>
                    </a:lnTo>
                    <a:cubicBezTo>
                      <a:pt x="840581" y="204788"/>
                      <a:pt x="839724" y="203835"/>
                      <a:pt x="839724" y="201835"/>
                    </a:cubicBezTo>
                    <a:lnTo>
                      <a:pt x="839724" y="3429"/>
                    </a:lnTo>
                    <a:cubicBezTo>
                      <a:pt x="839724" y="1143"/>
                      <a:pt x="840581" y="190"/>
                      <a:pt x="842391" y="190"/>
                    </a:cubicBezTo>
                    <a:lnTo>
                      <a:pt x="883539" y="190"/>
                    </a:lnTo>
                    <a:cubicBezTo>
                      <a:pt x="884111" y="190"/>
                      <a:pt x="884682" y="476"/>
                      <a:pt x="885635" y="1524"/>
                    </a:cubicBezTo>
                    <a:lnTo>
                      <a:pt x="1018318" y="173641"/>
                    </a:lnTo>
                    <a:lnTo>
                      <a:pt x="1018318" y="3429"/>
                    </a:lnTo>
                    <a:cubicBezTo>
                      <a:pt x="1018318" y="1143"/>
                      <a:pt x="1019175" y="190"/>
                      <a:pt x="1021271" y="190"/>
                    </a:cubicBezTo>
                    <a:lnTo>
                      <a:pt x="1039940" y="190"/>
                    </a:lnTo>
                    <a:cubicBezTo>
                      <a:pt x="1041749" y="190"/>
                      <a:pt x="1042607" y="1143"/>
                      <a:pt x="1042607" y="3429"/>
                    </a:cubicBezTo>
                    <a:lnTo>
                      <a:pt x="1042607" y="201740"/>
                    </a:lnTo>
                    <a:cubicBezTo>
                      <a:pt x="1042607" y="203644"/>
                      <a:pt x="1041749" y="204692"/>
                      <a:pt x="1039940" y="204692"/>
                    </a:cubicBezTo>
                    <a:moveTo>
                      <a:pt x="691039" y="204692"/>
                    </a:moveTo>
                    <a:lnTo>
                      <a:pt x="673132" y="204692"/>
                    </a:lnTo>
                    <a:cubicBezTo>
                      <a:pt x="671417" y="204692"/>
                      <a:pt x="670655" y="203740"/>
                      <a:pt x="670655" y="201740"/>
                    </a:cubicBezTo>
                    <a:lnTo>
                      <a:pt x="670655" y="21812"/>
                    </a:lnTo>
                    <a:lnTo>
                      <a:pt x="665321" y="21812"/>
                    </a:lnTo>
                    <a:lnTo>
                      <a:pt x="573881" y="203930"/>
                    </a:lnTo>
                    <a:cubicBezTo>
                      <a:pt x="573881" y="203930"/>
                      <a:pt x="572738" y="204597"/>
                      <a:pt x="571881" y="204597"/>
                    </a:cubicBezTo>
                    <a:lnTo>
                      <a:pt x="559784" y="204597"/>
                    </a:lnTo>
                    <a:cubicBezTo>
                      <a:pt x="558927" y="204597"/>
                      <a:pt x="558641" y="204311"/>
                      <a:pt x="558641" y="204311"/>
                    </a:cubicBezTo>
                    <a:lnTo>
                      <a:pt x="468059" y="21812"/>
                    </a:lnTo>
                    <a:lnTo>
                      <a:pt x="463010" y="21812"/>
                    </a:lnTo>
                    <a:lnTo>
                      <a:pt x="463010" y="201740"/>
                    </a:lnTo>
                    <a:cubicBezTo>
                      <a:pt x="463010" y="203644"/>
                      <a:pt x="462153" y="204692"/>
                      <a:pt x="460534" y="204692"/>
                    </a:cubicBezTo>
                    <a:lnTo>
                      <a:pt x="442341" y="204692"/>
                    </a:lnTo>
                    <a:cubicBezTo>
                      <a:pt x="440627" y="204692"/>
                      <a:pt x="439865" y="203740"/>
                      <a:pt x="439865" y="201740"/>
                    </a:cubicBezTo>
                    <a:lnTo>
                      <a:pt x="439865" y="3429"/>
                    </a:lnTo>
                    <a:cubicBezTo>
                      <a:pt x="439865" y="1143"/>
                      <a:pt x="440722" y="190"/>
                      <a:pt x="442341" y="190"/>
                    </a:cubicBezTo>
                    <a:lnTo>
                      <a:pt x="482727" y="190"/>
                    </a:lnTo>
                    <a:cubicBezTo>
                      <a:pt x="483870" y="190"/>
                      <a:pt x="484156" y="476"/>
                      <a:pt x="484156" y="476"/>
                    </a:cubicBezTo>
                    <a:lnTo>
                      <a:pt x="566261" y="167449"/>
                    </a:lnTo>
                    <a:lnTo>
                      <a:pt x="650939" y="857"/>
                    </a:lnTo>
                    <a:cubicBezTo>
                      <a:pt x="650939" y="857"/>
                      <a:pt x="652082" y="190"/>
                      <a:pt x="652939" y="190"/>
                    </a:cubicBezTo>
                    <a:lnTo>
                      <a:pt x="691039" y="190"/>
                    </a:lnTo>
                    <a:cubicBezTo>
                      <a:pt x="692468" y="190"/>
                      <a:pt x="693039" y="1143"/>
                      <a:pt x="693039" y="3429"/>
                    </a:cubicBezTo>
                    <a:lnTo>
                      <a:pt x="693039" y="201740"/>
                    </a:lnTo>
                    <a:cubicBezTo>
                      <a:pt x="693039" y="203644"/>
                      <a:pt x="692468" y="204692"/>
                      <a:pt x="691039" y="204692"/>
                    </a:cubicBezTo>
                    <a:moveTo>
                      <a:pt x="400336" y="111061"/>
                    </a:moveTo>
                    <a:cubicBezTo>
                      <a:pt x="400336" y="138494"/>
                      <a:pt x="397764" y="158496"/>
                      <a:pt x="392621" y="171450"/>
                    </a:cubicBezTo>
                    <a:cubicBezTo>
                      <a:pt x="387191" y="184690"/>
                      <a:pt x="378143" y="193739"/>
                      <a:pt x="364712" y="198215"/>
                    </a:cubicBezTo>
                    <a:cubicBezTo>
                      <a:pt x="364712" y="198215"/>
                      <a:pt x="364617" y="198342"/>
                      <a:pt x="364427" y="198596"/>
                    </a:cubicBezTo>
                    <a:cubicBezTo>
                      <a:pt x="353854" y="202502"/>
                      <a:pt x="336233" y="204692"/>
                      <a:pt x="311182" y="204692"/>
                    </a:cubicBezTo>
                    <a:lnTo>
                      <a:pt x="284321" y="204692"/>
                    </a:lnTo>
                    <a:cubicBezTo>
                      <a:pt x="259271" y="204692"/>
                      <a:pt x="241935" y="202406"/>
                      <a:pt x="230791" y="198596"/>
                    </a:cubicBezTo>
                    <a:cubicBezTo>
                      <a:pt x="230791" y="198596"/>
                      <a:pt x="230600" y="198470"/>
                      <a:pt x="230219" y="198215"/>
                    </a:cubicBezTo>
                    <a:cubicBezTo>
                      <a:pt x="216599" y="193358"/>
                      <a:pt x="207740" y="184309"/>
                      <a:pt x="202025" y="171450"/>
                    </a:cubicBezTo>
                    <a:cubicBezTo>
                      <a:pt x="196596" y="158496"/>
                      <a:pt x="194405" y="138208"/>
                      <a:pt x="194405" y="111061"/>
                    </a:cubicBezTo>
                    <a:lnTo>
                      <a:pt x="194405" y="3429"/>
                    </a:lnTo>
                    <a:cubicBezTo>
                      <a:pt x="194405" y="1143"/>
                      <a:pt x="195263" y="190"/>
                      <a:pt x="196691" y="190"/>
                    </a:cubicBezTo>
                    <a:lnTo>
                      <a:pt x="214598" y="190"/>
                    </a:lnTo>
                    <a:cubicBezTo>
                      <a:pt x="216313" y="190"/>
                      <a:pt x="217170" y="1143"/>
                      <a:pt x="217170" y="3429"/>
                    </a:cubicBezTo>
                    <a:lnTo>
                      <a:pt x="217170" y="110966"/>
                    </a:lnTo>
                    <a:cubicBezTo>
                      <a:pt x="217170" y="132969"/>
                      <a:pt x="218885" y="148781"/>
                      <a:pt x="222599" y="158115"/>
                    </a:cubicBezTo>
                    <a:cubicBezTo>
                      <a:pt x="226028" y="166878"/>
                      <a:pt x="232315" y="172307"/>
                      <a:pt x="241459" y="174593"/>
                    </a:cubicBezTo>
                    <a:cubicBezTo>
                      <a:pt x="248888" y="176879"/>
                      <a:pt x="263176" y="177832"/>
                      <a:pt x="284512" y="177832"/>
                    </a:cubicBezTo>
                    <a:lnTo>
                      <a:pt x="311372" y="177832"/>
                    </a:lnTo>
                    <a:cubicBezTo>
                      <a:pt x="332708" y="177832"/>
                      <a:pt x="346996" y="176879"/>
                      <a:pt x="354425" y="174593"/>
                    </a:cubicBezTo>
                    <a:cubicBezTo>
                      <a:pt x="363569" y="172307"/>
                      <a:pt x="369570" y="166783"/>
                      <a:pt x="372428" y="158115"/>
                    </a:cubicBezTo>
                    <a:cubicBezTo>
                      <a:pt x="376714" y="149066"/>
                      <a:pt x="377571" y="133255"/>
                      <a:pt x="377571" y="110966"/>
                    </a:cubicBezTo>
                    <a:lnTo>
                      <a:pt x="377571" y="3429"/>
                    </a:lnTo>
                    <a:cubicBezTo>
                      <a:pt x="377571" y="1143"/>
                      <a:pt x="378428" y="190"/>
                      <a:pt x="380429" y="190"/>
                    </a:cubicBezTo>
                    <a:lnTo>
                      <a:pt x="398050" y="190"/>
                    </a:lnTo>
                    <a:cubicBezTo>
                      <a:pt x="399764" y="190"/>
                      <a:pt x="400622" y="1143"/>
                      <a:pt x="400622" y="3429"/>
                    </a:cubicBezTo>
                    <a:lnTo>
                      <a:pt x="400622" y="110966"/>
                    </a:lnTo>
                    <a:lnTo>
                      <a:pt x="400622" y="110966"/>
                    </a:lnTo>
                    <a:close/>
                    <a:moveTo>
                      <a:pt x="153829" y="204692"/>
                    </a:moveTo>
                    <a:lnTo>
                      <a:pt x="2667" y="204692"/>
                    </a:lnTo>
                    <a:cubicBezTo>
                      <a:pt x="953" y="204692"/>
                      <a:pt x="0" y="203740"/>
                      <a:pt x="0" y="201740"/>
                    </a:cubicBezTo>
                    <a:lnTo>
                      <a:pt x="0" y="3429"/>
                    </a:lnTo>
                    <a:cubicBezTo>
                      <a:pt x="0" y="1143"/>
                      <a:pt x="857" y="190"/>
                      <a:pt x="2667" y="190"/>
                    </a:cubicBezTo>
                    <a:lnTo>
                      <a:pt x="21146" y="190"/>
                    </a:lnTo>
                    <a:cubicBezTo>
                      <a:pt x="22860" y="190"/>
                      <a:pt x="23813" y="1143"/>
                      <a:pt x="23813" y="3429"/>
                    </a:cubicBezTo>
                    <a:lnTo>
                      <a:pt x="23813" y="178118"/>
                    </a:lnTo>
                    <a:lnTo>
                      <a:pt x="153257" y="178118"/>
                    </a:lnTo>
                    <a:cubicBezTo>
                      <a:pt x="154972" y="178118"/>
                      <a:pt x="155924" y="179070"/>
                      <a:pt x="155924" y="181070"/>
                    </a:cubicBezTo>
                    <a:lnTo>
                      <a:pt x="155924" y="201740"/>
                    </a:lnTo>
                    <a:cubicBezTo>
                      <a:pt x="155924" y="203644"/>
                      <a:pt x="155067" y="204692"/>
                      <a:pt x="153257" y="204692"/>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4" name="Freeform: Shape 493">
                <a:extLst>
                  <a:ext uri="{FF2B5EF4-FFF2-40B4-BE49-F238E27FC236}">
                    <a16:creationId xmlns:a16="http://schemas.microsoft.com/office/drawing/2014/main" id="{6695A66C-3F05-4E0B-9FA3-76433C247442}"/>
                  </a:ext>
                </a:extLst>
              </p:cNvPr>
              <p:cNvSpPr/>
              <p:nvPr/>
            </p:nvSpPr>
            <p:spPr>
              <a:xfrm>
                <a:off x="6770274" y="3539298"/>
                <a:ext cx="43529" cy="44100"/>
              </a:xfrm>
              <a:custGeom>
                <a:avLst/>
                <a:gdLst>
                  <a:gd name="connsiteX0" fmla="*/ 17717 w 43529"/>
                  <a:gd name="connsiteY0" fmla="*/ 21145 h 44100"/>
                  <a:gd name="connsiteX1" fmla="*/ 20574 w 43529"/>
                  <a:gd name="connsiteY1" fmla="*/ 21145 h 44100"/>
                  <a:gd name="connsiteX2" fmla="*/ 26575 w 43529"/>
                  <a:gd name="connsiteY2" fmla="*/ 16955 h 44100"/>
                  <a:gd name="connsiteX3" fmla="*/ 20574 w 43529"/>
                  <a:gd name="connsiteY3" fmla="*/ 12668 h 44100"/>
                  <a:gd name="connsiteX4" fmla="*/ 17717 w 43529"/>
                  <a:gd name="connsiteY4" fmla="*/ 12859 h 44100"/>
                  <a:gd name="connsiteX5" fmla="*/ 17717 w 43529"/>
                  <a:gd name="connsiteY5" fmla="*/ 21145 h 44100"/>
                  <a:gd name="connsiteX6" fmla="*/ 17717 w 43529"/>
                  <a:gd name="connsiteY6" fmla="*/ 21145 h 44100"/>
                  <a:gd name="connsiteX7" fmla="*/ 17717 w 43529"/>
                  <a:gd name="connsiteY7" fmla="*/ 34766 h 44100"/>
                  <a:gd name="connsiteX8" fmla="*/ 13811 w 43529"/>
                  <a:gd name="connsiteY8" fmla="*/ 34766 h 44100"/>
                  <a:gd name="connsiteX9" fmla="*/ 13811 w 43529"/>
                  <a:gd name="connsiteY9" fmla="*/ 10192 h 44100"/>
                  <a:gd name="connsiteX10" fmla="*/ 20765 w 43529"/>
                  <a:gd name="connsiteY10" fmla="*/ 9620 h 44100"/>
                  <a:gd name="connsiteX11" fmla="*/ 28385 w 43529"/>
                  <a:gd name="connsiteY11" fmla="*/ 11430 h 44100"/>
                  <a:gd name="connsiteX12" fmla="*/ 30671 w 43529"/>
                  <a:gd name="connsiteY12" fmla="*/ 16478 h 44100"/>
                  <a:gd name="connsiteX13" fmla="*/ 25908 w 43529"/>
                  <a:gd name="connsiteY13" fmla="*/ 22384 h 44100"/>
                  <a:gd name="connsiteX14" fmla="*/ 25908 w 43529"/>
                  <a:gd name="connsiteY14" fmla="*/ 22574 h 44100"/>
                  <a:gd name="connsiteX15" fmla="*/ 30004 w 43529"/>
                  <a:gd name="connsiteY15" fmla="*/ 28575 h 44100"/>
                  <a:gd name="connsiteX16" fmla="*/ 31528 w 43529"/>
                  <a:gd name="connsiteY16" fmla="*/ 34671 h 44100"/>
                  <a:gd name="connsiteX17" fmla="*/ 27432 w 43529"/>
                  <a:gd name="connsiteY17" fmla="*/ 34671 h 44100"/>
                  <a:gd name="connsiteX18" fmla="*/ 25718 w 43529"/>
                  <a:gd name="connsiteY18" fmla="*/ 28384 h 44100"/>
                  <a:gd name="connsiteX19" fmla="*/ 20479 w 43529"/>
                  <a:gd name="connsiteY19" fmla="*/ 24098 h 44100"/>
                  <a:gd name="connsiteX20" fmla="*/ 17717 w 43529"/>
                  <a:gd name="connsiteY20" fmla="*/ 24098 h 44100"/>
                  <a:gd name="connsiteX21" fmla="*/ 17717 w 43529"/>
                  <a:gd name="connsiteY21" fmla="*/ 34671 h 44100"/>
                  <a:gd name="connsiteX22" fmla="*/ 17717 w 43529"/>
                  <a:gd name="connsiteY22" fmla="*/ 34671 h 44100"/>
                  <a:gd name="connsiteX23" fmla="*/ 21812 w 43529"/>
                  <a:gd name="connsiteY23" fmla="*/ 3429 h 44100"/>
                  <a:gd name="connsiteX24" fmla="*/ 4191 w 43529"/>
                  <a:gd name="connsiteY24" fmla="*/ 22003 h 44100"/>
                  <a:gd name="connsiteX25" fmla="*/ 21908 w 43529"/>
                  <a:gd name="connsiteY25" fmla="*/ 40672 h 44100"/>
                  <a:gd name="connsiteX26" fmla="*/ 39529 w 43529"/>
                  <a:gd name="connsiteY26" fmla="*/ 22098 h 44100"/>
                  <a:gd name="connsiteX27" fmla="*/ 21908 w 43529"/>
                  <a:gd name="connsiteY27" fmla="*/ 3429 h 44100"/>
                  <a:gd name="connsiteX28" fmla="*/ 21812 w 43529"/>
                  <a:gd name="connsiteY28" fmla="*/ 3429 h 44100"/>
                  <a:gd name="connsiteX29" fmla="*/ 21908 w 43529"/>
                  <a:gd name="connsiteY29" fmla="*/ 0 h 44100"/>
                  <a:gd name="connsiteX30" fmla="*/ 43529 w 43529"/>
                  <a:gd name="connsiteY30" fmla="*/ 22003 h 44100"/>
                  <a:gd name="connsiteX31" fmla="*/ 21812 w 43529"/>
                  <a:gd name="connsiteY31" fmla="*/ 44101 h 44100"/>
                  <a:gd name="connsiteX32" fmla="*/ 0 w 43529"/>
                  <a:gd name="connsiteY32" fmla="*/ 22003 h 44100"/>
                  <a:gd name="connsiteX33" fmla="*/ 21812 w 43529"/>
                  <a:gd name="connsiteY33" fmla="*/ 0 h 44100"/>
                  <a:gd name="connsiteX34" fmla="*/ 21908 w 43529"/>
                  <a:gd name="connsiteY34" fmla="*/ 0 h 4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529" h="44100">
                    <a:moveTo>
                      <a:pt x="17717" y="21145"/>
                    </a:moveTo>
                    <a:lnTo>
                      <a:pt x="20574" y="21145"/>
                    </a:lnTo>
                    <a:cubicBezTo>
                      <a:pt x="23813" y="21145"/>
                      <a:pt x="26575" y="20003"/>
                      <a:pt x="26575" y="16955"/>
                    </a:cubicBezTo>
                    <a:cubicBezTo>
                      <a:pt x="26575" y="14764"/>
                      <a:pt x="25051" y="12668"/>
                      <a:pt x="20574" y="12668"/>
                    </a:cubicBezTo>
                    <a:cubicBezTo>
                      <a:pt x="19336" y="12668"/>
                      <a:pt x="18479" y="12764"/>
                      <a:pt x="17717" y="12859"/>
                    </a:cubicBezTo>
                    <a:lnTo>
                      <a:pt x="17717" y="21145"/>
                    </a:lnTo>
                    <a:lnTo>
                      <a:pt x="17717" y="21145"/>
                    </a:lnTo>
                    <a:close/>
                    <a:moveTo>
                      <a:pt x="17717" y="34766"/>
                    </a:moveTo>
                    <a:lnTo>
                      <a:pt x="13811" y="34766"/>
                    </a:lnTo>
                    <a:lnTo>
                      <a:pt x="13811" y="10192"/>
                    </a:lnTo>
                    <a:cubicBezTo>
                      <a:pt x="15907" y="9906"/>
                      <a:pt x="17812" y="9620"/>
                      <a:pt x="20765" y="9620"/>
                    </a:cubicBezTo>
                    <a:cubicBezTo>
                      <a:pt x="24479" y="9620"/>
                      <a:pt x="26956" y="10382"/>
                      <a:pt x="28385" y="11430"/>
                    </a:cubicBezTo>
                    <a:cubicBezTo>
                      <a:pt x="29813" y="12478"/>
                      <a:pt x="30671" y="14192"/>
                      <a:pt x="30671" y="16478"/>
                    </a:cubicBezTo>
                    <a:cubicBezTo>
                      <a:pt x="30671" y="19717"/>
                      <a:pt x="28575" y="21622"/>
                      <a:pt x="25908" y="22384"/>
                    </a:cubicBezTo>
                    <a:lnTo>
                      <a:pt x="25908" y="22574"/>
                    </a:lnTo>
                    <a:cubicBezTo>
                      <a:pt x="28004" y="22955"/>
                      <a:pt x="29528" y="24956"/>
                      <a:pt x="30004" y="28575"/>
                    </a:cubicBezTo>
                    <a:cubicBezTo>
                      <a:pt x="30575" y="32385"/>
                      <a:pt x="31147" y="33814"/>
                      <a:pt x="31528" y="34671"/>
                    </a:cubicBezTo>
                    <a:lnTo>
                      <a:pt x="27432" y="34671"/>
                    </a:lnTo>
                    <a:cubicBezTo>
                      <a:pt x="26861" y="33909"/>
                      <a:pt x="26289" y="31623"/>
                      <a:pt x="25718" y="28384"/>
                    </a:cubicBezTo>
                    <a:cubicBezTo>
                      <a:pt x="25146" y="25241"/>
                      <a:pt x="23622" y="24098"/>
                      <a:pt x="20479" y="24098"/>
                    </a:cubicBezTo>
                    <a:lnTo>
                      <a:pt x="17717" y="24098"/>
                    </a:lnTo>
                    <a:lnTo>
                      <a:pt x="17717" y="34671"/>
                    </a:lnTo>
                    <a:lnTo>
                      <a:pt x="17717" y="34671"/>
                    </a:lnTo>
                    <a:close/>
                    <a:moveTo>
                      <a:pt x="21812" y="3429"/>
                    </a:moveTo>
                    <a:cubicBezTo>
                      <a:pt x="12097" y="3429"/>
                      <a:pt x="4191" y="11716"/>
                      <a:pt x="4191" y="22003"/>
                    </a:cubicBezTo>
                    <a:cubicBezTo>
                      <a:pt x="4191" y="32290"/>
                      <a:pt x="12097" y="40672"/>
                      <a:pt x="21908" y="40672"/>
                    </a:cubicBezTo>
                    <a:cubicBezTo>
                      <a:pt x="31718" y="40767"/>
                      <a:pt x="39529" y="32480"/>
                      <a:pt x="39529" y="22098"/>
                    </a:cubicBezTo>
                    <a:cubicBezTo>
                      <a:pt x="39529" y="11716"/>
                      <a:pt x="31718" y="3429"/>
                      <a:pt x="21908" y="3429"/>
                    </a:cubicBezTo>
                    <a:lnTo>
                      <a:pt x="21812" y="3429"/>
                    </a:lnTo>
                    <a:close/>
                    <a:moveTo>
                      <a:pt x="21908" y="0"/>
                    </a:moveTo>
                    <a:cubicBezTo>
                      <a:pt x="33909" y="0"/>
                      <a:pt x="43529" y="9811"/>
                      <a:pt x="43529" y="22003"/>
                    </a:cubicBezTo>
                    <a:cubicBezTo>
                      <a:pt x="43529" y="34195"/>
                      <a:pt x="33909" y="44101"/>
                      <a:pt x="21812" y="44101"/>
                    </a:cubicBezTo>
                    <a:cubicBezTo>
                      <a:pt x="9716" y="44101"/>
                      <a:pt x="0" y="34385"/>
                      <a:pt x="0" y="22003"/>
                    </a:cubicBezTo>
                    <a:cubicBezTo>
                      <a:pt x="0" y="9620"/>
                      <a:pt x="9811" y="0"/>
                      <a:pt x="21812" y="0"/>
                    </a:cubicBezTo>
                    <a:lnTo>
                      <a:pt x="21908"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8" name="Group 7">
            <a:extLst>
              <a:ext uri="{FF2B5EF4-FFF2-40B4-BE49-F238E27FC236}">
                <a16:creationId xmlns:a16="http://schemas.microsoft.com/office/drawing/2014/main" id="{02BD87A4-B6E9-4545-B5DC-F926EAB60073}"/>
              </a:ext>
            </a:extLst>
          </p:cNvPr>
          <p:cNvGrpSpPr/>
          <p:nvPr userDrawn="1"/>
        </p:nvGrpSpPr>
        <p:grpSpPr>
          <a:xfrm>
            <a:off x="3339354" y="2837445"/>
            <a:ext cx="3555638" cy="207062"/>
            <a:chOff x="3339354" y="2837445"/>
            <a:chExt cx="3555638" cy="207062"/>
          </a:xfrm>
        </p:grpSpPr>
        <p:grpSp>
          <p:nvGrpSpPr>
            <p:cNvPr id="281" name="Group 280">
              <a:extLst>
                <a:ext uri="{FF2B5EF4-FFF2-40B4-BE49-F238E27FC236}">
                  <a16:creationId xmlns:a16="http://schemas.microsoft.com/office/drawing/2014/main" id="{C99F5EE0-7F53-4901-BF6E-4B4F6EECFD56}"/>
                </a:ext>
              </a:extLst>
            </p:cNvPr>
            <p:cNvGrpSpPr/>
            <p:nvPr userDrawn="1"/>
          </p:nvGrpSpPr>
          <p:grpSpPr>
            <a:xfrm>
              <a:off x="6184062" y="2884762"/>
              <a:ext cx="710930" cy="112429"/>
              <a:chOff x="4485636" y="5285289"/>
              <a:chExt cx="1647078" cy="260474"/>
            </a:xfrm>
          </p:grpSpPr>
          <p:sp>
            <p:nvSpPr>
              <p:cNvPr id="282" name="Freeform: Shape 281">
                <a:extLst>
                  <a:ext uri="{FF2B5EF4-FFF2-40B4-BE49-F238E27FC236}">
                    <a16:creationId xmlns:a16="http://schemas.microsoft.com/office/drawing/2014/main" id="{A7F68628-0297-4579-A080-337CA88492C6}"/>
                  </a:ext>
                </a:extLst>
              </p:cNvPr>
              <p:cNvSpPr/>
              <p:nvPr/>
            </p:nvSpPr>
            <p:spPr>
              <a:xfrm>
                <a:off x="4485636" y="5287795"/>
                <a:ext cx="363009" cy="254206"/>
              </a:xfrm>
              <a:custGeom>
                <a:avLst/>
                <a:gdLst>
                  <a:gd name="connsiteX0" fmla="*/ 0 w 363009"/>
                  <a:gd name="connsiteY0" fmla="*/ 0 h 254206"/>
                  <a:gd name="connsiteX1" fmla="*/ 30836 w 363009"/>
                  <a:gd name="connsiteY1" fmla="*/ 0 h 254206"/>
                  <a:gd name="connsiteX2" fmla="*/ 92256 w 363009"/>
                  <a:gd name="connsiteY2" fmla="*/ 183009 h 254206"/>
                  <a:gd name="connsiteX3" fmla="*/ 178496 w 363009"/>
                  <a:gd name="connsiteY3" fmla="*/ 0 h 254206"/>
                  <a:gd name="connsiteX4" fmla="*/ 184764 w 363009"/>
                  <a:gd name="connsiteY4" fmla="*/ 0 h 254206"/>
                  <a:gd name="connsiteX5" fmla="*/ 270001 w 363009"/>
                  <a:gd name="connsiteY5" fmla="*/ 183009 h 254206"/>
                  <a:gd name="connsiteX6" fmla="*/ 332424 w 363009"/>
                  <a:gd name="connsiteY6" fmla="*/ 0 h 254206"/>
                  <a:gd name="connsiteX7" fmla="*/ 363009 w 363009"/>
                  <a:gd name="connsiteY7" fmla="*/ 0 h 254206"/>
                  <a:gd name="connsiteX8" fmla="*/ 276769 w 363009"/>
                  <a:gd name="connsiteY8" fmla="*/ 254207 h 254206"/>
                  <a:gd name="connsiteX9" fmla="*/ 271003 w 363009"/>
                  <a:gd name="connsiteY9" fmla="*/ 254207 h 254206"/>
                  <a:gd name="connsiteX10" fmla="*/ 181755 w 363009"/>
                  <a:gd name="connsiteY10" fmla="*/ 61671 h 254206"/>
                  <a:gd name="connsiteX11" fmla="*/ 90752 w 363009"/>
                  <a:gd name="connsiteY11" fmla="*/ 254207 h 254206"/>
                  <a:gd name="connsiteX12" fmla="*/ 85237 w 363009"/>
                  <a:gd name="connsiteY12" fmla="*/ 254207 h 254206"/>
                  <a:gd name="connsiteX13" fmla="*/ 0 w 363009"/>
                  <a:gd name="connsiteY13" fmla="*/ 0 h 254206"/>
                  <a:gd name="connsiteX14" fmla="*/ 0 w 363009"/>
                  <a:gd name="connsiteY14"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3009" h="254206">
                    <a:moveTo>
                      <a:pt x="0" y="0"/>
                    </a:moveTo>
                    <a:lnTo>
                      <a:pt x="30836" y="0"/>
                    </a:lnTo>
                    <a:lnTo>
                      <a:pt x="92256" y="183009"/>
                    </a:lnTo>
                    <a:lnTo>
                      <a:pt x="178496" y="0"/>
                    </a:lnTo>
                    <a:lnTo>
                      <a:pt x="184764" y="0"/>
                    </a:lnTo>
                    <a:lnTo>
                      <a:pt x="270001" y="183009"/>
                    </a:lnTo>
                    <a:lnTo>
                      <a:pt x="332424" y="0"/>
                    </a:lnTo>
                    <a:lnTo>
                      <a:pt x="363009" y="0"/>
                    </a:lnTo>
                    <a:lnTo>
                      <a:pt x="276769" y="254207"/>
                    </a:lnTo>
                    <a:lnTo>
                      <a:pt x="271003" y="254207"/>
                    </a:lnTo>
                    <a:lnTo>
                      <a:pt x="181755" y="61671"/>
                    </a:lnTo>
                    <a:lnTo>
                      <a:pt x="90752" y="254207"/>
                    </a:lnTo>
                    <a:lnTo>
                      <a:pt x="85237" y="254207"/>
                    </a:lnTo>
                    <a:lnTo>
                      <a:pt x="0" y="0"/>
                    </a:lnTo>
                    <a:lnTo>
                      <a:pt x="0"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0B4B4FB9-C4C2-441D-920C-A72431B167F0}"/>
                  </a:ext>
                </a:extLst>
              </p:cNvPr>
              <p:cNvSpPr/>
              <p:nvPr/>
            </p:nvSpPr>
            <p:spPr>
              <a:xfrm>
                <a:off x="4889759" y="5287795"/>
                <a:ext cx="30083" cy="254206"/>
              </a:xfrm>
              <a:custGeom>
                <a:avLst/>
                <a:gdLst>
                  <a:gd name="connsiteX0" fmla="*/ 0 w 30083"/>
                  <a:gd name="connsiteY0" fmla="*/ 0 h 254206"/>
                  <a:gd name="connsiteX1" fmla="*/ 30084 w 30083"/>
                  <a:gd name="connsiteY1" fmla="*/ 0 h 254206"/>
                  <a:gd name="connsiteX2" fmla="*/ 30084 w 30083"/>
                  <a:gd name="connsiteY2" fmla="*/ 254207 h 254206"/>
                  <a:gd name="connsiteX3" fmla="*/ 0 w 30083"/>
                  <a:gd name="connsiteY3" fmla="*/ 254207 h 254206"/>
                  <a:gd name="connsiteX4" fmla="*/ 0 w 30083"/>
                  <a:gd name="connsiteY4" fmla="*/ 0 h 254206"/>
                  <a:gd name="connsiteX5" fmla="*/ 0 w 30083"/>
                  <a:gd name="connsiteY5"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83" h="254206">
                    <a:moveTo>
                      <a:pt x="0" y="0"/>
                    </a:moveTo>
                    <a:lnTo>
                      <a:pt x="30084" y="0"/>
                    </a:lnTo>
                    <a:lnTo>
                      <a:pt x="30084" y="254207"/>
                    </a:lnTo>
                    <a:lnTo>
                      <a:pt x="0" y="254207"/>
                    </a:lnTo>
                    <a:lnTo>
                      <a:pt x="0" y="0"/>
                    </a:lnTo>
                    <a:lnTo>
                      <a:pt x="0"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254353C0-E85D-406B-8789-15112EC3B02E}"/>
                  </a:ext>
                </a:extLst>
              </p:cNvPr>
              <p:cNvSpPr/>
              <p:nvPr/>
            </p:nvSpPr>
            <p:spPr>
              <a:xfrm>
                <a:off x="4972238" y="5287795"/>
                <a:ext cx="236156" cy="254206"/>
              </a:xfrm>
              <a:custGeom>
                <a:avLst/>
                <a:gdLst>
                  <a:gd name="connsiteX0" fmla="*/ 0 w 236156"/>
                  <a:gd name="connsiteY0" fmla="*/ 254207 h 254206"/>
                  <a:gd name="connsiteX1" fmla="*/ 0 w 236156"/>
                  <a:gd name="connsiteY1" fmla="*/ 0 h 254206"/>
                  <a:gd name="connsiteX2" fmla="*/ 6518 w 236156"/>
                  <a:gd name="connsiteY2" fmla="*/ 0 h 254206"/>
                  <a:gd name="connsiteX3" fmla="*/ 206574 w 236156"/>
                  <a:gd name="connsiteY3" fmla="*/ 194792 h 254206"/>
                  <a:gd name="connsiteX4" fmla="*/ 206574 w 236156"/>
                  <a:gd name="connsiteY4" fmla="*/ 0 h 254206"/>
                  <a:gd name="connsiteX5" fmla="*/ 236157 w 236156"/>
                  <a:gd name="connsiteY5" fmla="*/ 0 h 254206"/>
                  <a:gd name="connsiteX6" fmla="*/ 236157 w 236156"/>
                  <a:gd name="connsiteY6" fmla="*/ 254207 h 254206"/>
                  <a:gd name="connsiteX7" fmla="*/ 229388 w 236156"/>
                  <a:gd name="connsiteY7" fmla="*/ 254207 h 254206"/>
                  <a:gd name="connsiteX8" fmla="*/ 31086 w 236156"/>
                  <a:gd name="connsiteY8" fmla="*/ 61671 h 254206"/>
                  <a:gd name="connsiteX9" fmla="*/ 31086 w 236156"/>
                  <a:gd name="connsiteY9" fmla="*/ 254207 h 254206"/>
                  <a:gd name="connsiteX10" fmla="*/ 0 w 236156"/>
                  <a:gd name="connsiteY10" fmla="*/ 254207 h 254206"/>
                  <a:gd name="connsiteX11" fmla="*/ 0 w 236156"/>
                  <a:gd name="connsiteY11" fmla="*/ 254207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56" h="254206">
                    <a:moveTo>
                      <a:pt x="0" y="254207"/>
                    </a:moveTo>
                    <a:lnTo>
                      <a:pt x="0" y="0"/>
                    </a:lnTo>
                    <a:lnTo>
                      <a:pt x="6518" y="0"/>
                    </a:lnTo>
                    <a:lnTo>
                      <a:pt x="206574" y="194792"/>
                    </a:lnTo>
                    <a:lnTo>
                      <a:pt x="206574" y="0"/>
                    </a:lnTo>
                    <a:lnTo>
                      <a:pt x="236157" y="0"/>
                    </a:lnTo>
                    <a:lnTo>
                      <a:pt x="236157" y="254207"/>
                    </a:lnTo>
                    <a:lnTo>
                      <a:pt x="229388" y="254207"/>
                    </a:lnTo>
                    <a:lnTo>
                      <a:pt x="31086" y="61671"/>
                    </a:lnTo>
                    <a:lnTo>
                      <a:pt x="31086" y="254207"/>
                    </a:lnTo>
                    <a:lnTo>
                      <a:pt x="0" y="254207"/>
                    </a:lnTo>
                    <a:lnTo>
                      <a:pt x="0" y="254207"/>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235E7F1C-6682-49EA-B104-95B07401304D}"/>
                  </a:ext>
                </a:extLst>
              </p:cNvPr>
              <p:cNvSpPr/>
              <p:nvPr/>
            </p:nvSpPr>
            <p:spPr>
              <a:xfrm>
                <a:off x="5564134" y="5287795"/>
                <a:ext cx="236156" cy="254206"/>
              </a:xfrm>
              <a:custGeom>
                <a:avLst/>
                <a:gdLst>
                  <a:gd name="connsiteX0" fmla="*/ 0 w 236156"/>
                  <a:gd name="connsiteY0" fmla="*/ 254207 h 254206"/>
                  <a:gd name="connsiteX1" fmla="*/ 0 w 236156"/>
                  <a:gd name="connsiteY1" fmla="*/ 0 h 254206"/>
                  <a:gd name="connsiteX2" fmla="*/ 6518 w 236156"/>
                  <a:gd name="connsiteY2" fmla="*/ 0 h 254206"/>
                  <a:gd name="connsiteX3" fmla="*/ 206574 w 236156"/>
                  <a:gd name="connsiteY3" fmla="*/ 194792 h 254206"/>
                  <a:gd name="connsiteX4" fmla="*/ 206574 w 236156"/>
                  <a:gd name="connsiteY4" fmla="*/ 0 h 254206"/>
                  <a:gd name="connsiteX5" fmla="*/ 236157 w 236156"/>
                  <a:gd name="connsiteY5" fmla="*/ 0 h 254206"/>
                  <a:gd name="connsiteX6" fmla="*/ 236157 w 236156"/>
                  <a:gd name="connsiteY6" fmla="*/ 254207 h 254206"/>
                  <a:gd name="connsiteX7" fmla="*/ 229638 w 236156"/>
                  <a:gd name="connsiteY7" fmla="*/ 254207 h 254206"/>
                  <a:gd name="connsiteX8" fmla="*/ 31086 w 236156"/>
                  <a:gd name="connsiteY8" fmla="*/ 61671 h 254206"/>
                  <a:gd name="connsiteX9" fmla="*/ 31086 w 236156"/>
                  <a:gd name="connsiteY9" fmla="*/ 254207 h 254206"/>
                  <a:gd name="connsiteX10" fmla="*/ 0 w 236156"/>
                  <a:gd name="connsiteY10" fmla="*/ 254207 h 254206"/>
                  <a:gd name="connsiteX11" fmla="*/ 0 w 236156"/>
                  <a:gd name="connsiteY11" fmla="*/ 254207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56" h="254206">
                    <a:moveTo>
                      <a:pt x="0" y="254207"/>
                    </a:moveTo>
                    <a:lnTo>
                      <a:pt x="0" y="0"/>
                    </a:lnTo>
                    <a:lnTo>
                      <a:pt x="6518" y="0"/>
                    </a:lnTo>
                    <a:lnTo>
                      <a:pt x="206574" y="194792"/>
                    </a:lnTo>
                    <a:lnTo>
                      <a:pt x="206574" y="0"/>
                    </a:lnTo>
                    <a:lnTo>
                      <a:pt x="236157" y="0"/>
                    </a:lnTo>
                    <a:lnTo>
                      <a:pt x="236157" y="254207"/>
                    </a:lnTo>
                    <a:lnTo>
                      <a:pt x="229638" y="254207"/>
                    </a:lnTo>
                    <a:lnTo>
                      <a:pt x="31086" y="61671"/>
                    </a:lnTo>
                    <a:lnTo>
                      <a:pt x="31086" y="254207"/>
                    </a:lnTo>
                    <a:lnTo>
                      <a:pt x="0" y="254207"/>
                    </a:lnTo>
                    <a:lnTo>
                      <a:pt x="0" y="254207"/>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7F24AB90-0D3B-4E40-9DA0-41D0BB79BF6C}"/>
                  </a:ext>
                </a:extLst>
              </p:cNvPr>
              <p:cNvSpPr/>
              <p:nvPr/>
            </p:nvSpPr>
            <p:spPr>
              <a:xfrm>
                <a:off x="5842909" y="5287795"/>
                <a:ext cx="289805" cy="254206"/>
              </a:xfrm>
              <a:custGeom>
                <a:avLst/>
                <a:gdLst>
                  <a:gd name="connsiteX0" fmla="*/ 145906 w 289805"/>
                  <a:gd name="connsiteY0" fmla="*/ 53900 h 254206"/>
                  <a:gd name="connsiteX1" fmla="*/ 94262 w 289805"/>
                  <a:gd name="connsiteY1" fmla="*/ 145906 h 254206"/>
                  <a:gd name="connsiteX2" fmla="*/ 197048 w 289805"/>
                  <a:gd name="connsiteY2" fmla="*/ 145906 h 254206"/>
                  <a:gd name="connsiteX3" fmla="*/ 145655 w 289805"/>
                  <a:gd name="connsiteY3" fmla="*/ 53900 h 254206"/>
                  <a:gd name="connsiteX4" fmla="*/ 145655 w 289805"/>
                  <a:gd name="connsiteY4" fmla="*/ 53900 h 254206"/>
                  <a:gd name="connsiteX5" fmla="*/ 149666 w 289805"/>
                  <a:gd name="connsiteY5" fmla="*/ 0 h 254206"/>
                  <a:gd name="connsiteX6" fmla="*/ 289806 w 289805"/>
                  <a:gd name="connsiteY6" fmla="*/ 254207 h 254206"/>
                  <a:gd name="connsiteX7" fmla="*/ 257466 w 289805"/>
                  <a:gd name="connsiteY7" fmla="*/ 254207 h 254206"/>
                  <a:gd name="connsiteX8" fmla="*/ 210084 w 289805"/>
                  <a:gd name="connsiteY8" fmla="*/ 170474 h 254206"/>
                  <a:gd name="connsiteX9" fmla="*/ 80474 w 289805"/>
                  <a:gd name="connsiteY9" fmla="*/ 170474 h 254206"/>
                  <a:gd name="connsiteX10" fmla="*/ 33593 w 289805"/>
                  <a:gd name="connsiteY10" fmla="*/ 254207 h 254206"/>
                  <a:gd name="connsiteX11" fmla="*/ 0 w 289805"/>
                  <a:gd name="connsiteY11" fmla="*/ 254207 h 254206"/>
                  <a:gd name="connsiteX12" fmla="*/ 142396 w 289805"/>
                  <a:gd name="connsiteY12" fmla="*/ 0 h 254206"/>
                  <a:gd name="connsiteX13" fmla="*/ 149666 w 289805"/>
                  <a:gd name="connsiteY13"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9805" h="254206">
                    <a:moveTo>
                      <a:pt x="145906" y="53900"/>
                    </a:moveTo>
                    <a:lnTo>
                      <a:pt x="94262" y="145906"/>
                    </a:lnTo>
                    <a:lnTo>
                      <a:pt x="197048" y="145906"/>
                    </a:lnTo>
                    <a:lnTo>
                      <a:pt x="145655" y="53900"/>
                    </a:lnTo>
                    <a:lnTo>
                      <a:pt x="145655" y="53900"/>
                    </a:lnTo>
                    <a:close/>
                    <a:moveTo>
                      <a:pt x="149666" y="0"/>
                    </a:moveTo>
                    <a:lnTo>
                      <a:pt x="289806" y="254207"/>
                    </a:lnTo>
                    <a:lnTo>
                      <a:pt x="257466" y="254207"/>
                    </a:lnTo>
                    <a:lnTo>
                      <a:pt x="210084" y="170474"/>
                    </a:lnTo>
                    <a:lnTo>
                      <a:pt x="80474" y="170474"/>
                    </a:lnTo>
                    <a:lnTo>
                      <a:pt x="33593" y="254207"/>
                    </a:lnTo>
                    <a:lnTo>
                      <a:pt x="0" y="254207"/>
                    </a:lnTo>
                    <a:lnTo>
                      <a:pt x="142396" y="0"/>
                    </a:lnTo>
                    <a:lnTo>
                      <a:pt x="149666"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D70EB884-8BF3-40D7-8F49-EE340138559D}"/>
                  </a:ext>
                </a:extLst>
              </p:cNvPr>
              <p:cNvSpPr/>
              <p:nvPr/>
            </p:nvSpPr>
            <p:spPr>
              <a:xfrm>
                <a:off x="6076308" y="5286793"/>
                <a:ext cx="56156" cy="55654"/>
              </a:xfrm>
              <a:custGeom>
                <a:avLst/>
                <a:gdLst>
                  <a:gd name="connsiteX0" fmla="*/ 20557 w 56156"/>
                  <a:gd name="connsiteY0" fmla="*/ 26323 h 55654"/>
                  <a:gd name="connsiteX1" fmla="*/ 26574 w 56156"/>
                  <a:gd name="connsiteY1" fmla="*/ 26323 h 55654"/>
                  <a:gd name="connsiteX2" fmla="*/ 32340 w 56156"/>
                  <a:gd name="connsiteY2" fmla="*/ 25070 h 55654"/>
                  <a:gd name="connsiteX3" fmla="*/ 33844 w 56156"/>
                  <a:gd name="connsiteY3" fmla="*/ 21811 h 55654"/>
                  <a:gd name="connsiteX4" fmla="*/ 33092 w 56156"/>
                  <a:gd name="connsiteY4" fmla="*/ 19304 h 55654"/>
                  <a:gd name="connsiteX5" fmla="*/ 31086 w 56156"/>
                  <a:gd name="connsiteY5" fmla="*/ 17799 h 55654"/>
                  <a:gd name="connsiteX6" fmla="*/ 26323 w 56156"/>
                  <a:gd name="connsiteY6" fmla="*/ 17298 h 55654"/>
                  <a:gd name="connsiteX7" fmla="*/ 20808 w 56156"/>
                  <a:gd name="connsiteY7" fmla="*/ 17298 h 55654"/>
                  <a:gd name="connsiteX8" fmla="*/ 20808 w 56156"/>
                  <a:gd name="connsiteY8" fmla="*/ 26323 h 55654"/>
                  <a:gd name="connsiteX9" fmla="*/ 20808 w 56156"/>
                  <a:gd name="connsiteY9" fmla="*/ 26323 h 55654"/>
                  <a:gd name="connsiteX10" fmla="*/ 15794 w 56156"/>
                  <a:gd name="connsiteY10" fmla="*/ 43371 h 55654"/>
                  <a:gd name="connsiteX11" fmla="*/ 15794 w 56156"/>
                  <a:gd name="connsiteY11" fmla="*/ 13036 h 55654"/>
                  <a:gd name="connsiteX12" fmla="*/ 26072 w 56156"/>
                  <a:gd name="connsiteY12" fmla="*/ 13036 h 55654"/>
                  <a:gd name="connsiteX13" fmla="*/ 33844 w 56156"/>
                  <a:gd name="connsiteY13" fmla="*/ 13788 h 55654"/>
                  <a:gd name="connsiteX14" fmla="*/ 37604 w 56156"/>
                  <a:gd name="connsiteY14" fmla="*/ 16797 h 55654"/>
                  <a:gd name="connsiteX15" fmla="*/ 39109 w 56156"/>
                  <a:gd name="connsiteY15" fmla="*/ 21309 h 55654"/>
                  <a:gd name="connsiteX16" fmla="*/ 36852 w 56156"/>
                  <a:gd name="connsiteY16" fmla="*/ 27075 h 55654"/>
                  <a:gd name="connsiteX17" fmla="*/ 30585 w 56156"/>
                  <a:gd name="connsiteY17" fmla="*/ 29833 h 55654"/>
                  <a:gd name="connsiteX18" fmla="*/ 33092 w 56156"/>
                  <a:gd name="connsiteY18" fmla="*/ 31337 h 55654"/>
                  <a:gd name="connsiteX19" fmla="*/ 37604 w 56156"/>
                  <a:gd name="connsiteY19" fmla="*/ 37354 h 55654"/>
                  <a:gd name="connsiteX20" fmla="*/ 41365 w 56156"/>
                  <a:gd name="connsiteY20" fmla="*/ 43371 h 55654"/>
                  <a:gd name="connsiteX21" fmla="*/ 35348 w 56156"/>
                  <a:gd name="connsiteY21" fmla="*/ 43371 h 55654"/>
                  <a:gd name="connsiteX22" fmla="*/ 32591 w 56156"/>
                  <a:gd name="connsiteY22" fmla="*/ 38607 h 55654"/>
                  <a:gd name="connsiteX23" fmla="*/ 27577 w 56156"/>
                  <a:gd name="connsiteY23" fmla="*/ 31588 h 55654"/>
                  <a:gd name="connsiteX24" fmla="*/ 23565 w 56156"/>
                  <a:gd name="connsiteY24" fmla="*/ 30585 h 55654"/>
                  <a:gd name="connsiteX25" fmla="*/ 20808 w 56156"/>
                  <a:gd name="connsiteY25" fmla="*/ 30585 h 55654"/>
                  <a:gd name="connsiteX26" fmla="*/ 20808 w 56156"/>
                  <a:gd name="connsiteY26" fmla="*/ 43371 h 55654"/>
                  <a:gd name="connsiteX27" fmla="*/ 16044 w 56156"/>
                  <a:gd name="connsiteY27" fmla="*/ 43371 h 55654"/>
                  <a:gd name="connsiteX28" fmla="*/ 28078 w 56156"/>
                  <a:gd name="connsiteY28" fmla="*/ 4513 h 55654"/>
                  <a:gd name="connsiteX29" fmla="*/ 16546 w 56156"/>
                  <a:gd name="connsiteY29" fmla="*/ 7521 h 55654"/>
                  <a:gd name="connsiteX30" fmla="*/ 7772 w 56156"/>
                  <a:gd name="connsiteY30" fmla="*/ 16045 h 55654"/>
                  <a:gd name="connsiteX31" fmla="*/ 4513 w 56156"/>
                  <a:gd name="connsiteY31" fmla="*/ 27827 h 55654"/>
                  <a:gd name="connsiteX32" fmla="*/ 7521 w 56156"/>
                  <a:gd name="connsiteY32" fmla="*/ 39359 h 55654"/>
                  <a:gd name="connsiteX33" fmla="*/ 16295 w 56156"/>
                  <a:gd name="connsiteY33" fmla="*/ 47883 h 55654"/>
                  <a:gd name="connsiteX34" fmla="*/ 27827 w 56156"/>
                  <a:gd name="connsiteY34" fmla="*/ 50891 h 55654"/>
                  <a:gd name="connsiteX35" fmla="*/ 39359 w 56156"/>
                  <a:gd name="connsiteY35" fmla="*/ 47883 h 55654"/>
                  <a:gd name="connsiteX36" fmla="*/ 47883 w 56156"/>
                  <a:gd name="connsiteY36" fmla="*/ 39359 h 55654"/>
                  <a:gd name="connsiteX37" fmla="*/ 50892 w 56156"/>
                  <a:gd name="connsiteY37" fmla="*/ 27827 h 55654"/>
                  <a:gd name="connsiteX38" fmla="*/ 47632 w 56156"/>
                  <a:gd name="connsiteY38" fmla="*/ 16045 h 55654"/>
                  <a:gd name="connsiteX39" fmla="*/ 38858 w 56156"/>
                  <a:gd name="connsiteY39" fmla="*/ 7521 h 55654"/>
                  <a:gd name="connsiteX40" fmla="*/ 27326 w 56156"/>
                  <a:gd name="connsiteY40" fmla="*/ 4513 h 55654"/>
                  <a:gd name="connsiteX41" fmla="*/ 27326 w 56156"/>
                  <a:gd name="connsiteY41" fmla="*/ 4513 h 55654"/>
                  <a:gd name="connsiteX42" fmla="*/ 28078 w 56156"/>
                  <a:gd name="connsiteY42" fmla="*/ 0 h 55654"/>
                  <a:gd name="connsiteX43" fmla="*/ 41866 w 56156"/>
                  <a:gd name="connsiteY43" fmla="*/ 3510 h 55654"/>
                  <a:gd name="connsiteX44" fmla="*/ 52396 w 56156"/>
                  <a:gd name="connsiteY44" fmla="*/ 13788 h 55654"/>
                  <a:gd name="connsiteX45" fmla="*/ 56156 w 56156"/>
                  <a:gd name="connsiteY45" fmla="*/ 27827 h 55654"/>
                  <a:gd name="connsiteX46" fmla="*/ 52396 w 56156"/>
                  <a:gd name="connsiteY46" fmla="*/ 41616 h 55654"/>
                  <a:gd name="connsiteX47" fmla="*/ 42117 w 56156"/>
                  <a:gd name="connsiteY47" fmla="*/ 51894 h 55654"/>
                  <a:gd name="connsiteX48" fmla="*/ 28078 w 56156"/>
                  <a:gd name="connsiteY48" fmla="*/ 55655 h 55654"/>
                  <a:gd name="connsiteX49" fmla="*/ 14039 w 56156"/>
                  <a:gd name="connsiteY49" fmla="*/ 51894 h 55654"/>
                  <a:gd name="connsiteX50" fmla="*/ 3760 w 56156"/>
                  <a:gd name="connsiteY50" fmla="*/ 41616 h 55654"/>
                  <a:gd name="connsiteX51" fmla="*/ 0 w 56156"/>
                  <a:gd name="connsiteY51" fmla="*/ 27827 h 55654"/>
                  <a:gd name="connsiteX52" fmla="*/ 3760 w 56156"/>
                  <a:gd name="connsiteY52" fmla="*/ 13788 h 55654"/>
                  <a:gd name="connsiteX53" fmla="*/ 14290 w 56156"/>
                  <a:gd name="connsiteY53" fmla="*/ 3510 h 55654"/>
                  <a:gd name="connsiteX54" fmla="*/ 28078 w 56156"/>
                  <a:gd name="connsiteY54" fmla="*/ 0 h 55654"/>
                  <a:gd name="connsiteX55" fmla="*/ 28078 w 56156"/>
                  <a:gd name="connsiteY55" fmla="*/ 0 h 5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6156" h="55654">
                    <a:moveTo>
                      <a:pt x="20557" y="26323"/>
                    </a:moveTo>
                    <a:lnTo>
                      <a:pt x="26574" y="26323"/>
                    </a:lnTo>
                    <a:cubicBezTo>
                      <a:pt x="29332" y="26323"/>
                      <a:pt x="31337" y="25822"/>
                      <a:pt x="32340" y="25070"/>
                    </a:cubicBezTo>
                    <a:cubicBezTo>
                      <a:pt x="33343" y="24318"/>
                      <a:pt x="33844" y="23064"/>
                      <a:pt x="33844" y="21811"/>
                    </a:cubicBezTo>
                    <a:cubicBezTo>
                      <a:pt x="33844" y="20808"/>
                      <a:pt x="33844" y="20056"/>
                      <a:pt x="33092" y="19304"/>
                    </a:cubicBezTo>
                    <a:cubicBezTo>
                      <a:pt x="32591" y="18552"/>
                      <a:pt x="31839" y="18050"/>
                      <a:pt x="31086" y="17799"/>
                    </a:cubicBezTo>
                    <a:cubicBezTo>
                      <a:pt x="30084" y="17549"/>
                      <a:pt x="28579" y="17298"/>
                      <a:pt x="26323" y="17298"/>
                    </a:cubicBezTo>
                    <a:lnTo>
                      <a:pt x="20808" y="17298"/>
                    </a:lnTo>
                    <a:lnTo>
                      <a:pt x="20808" y="26323"/>
                    </a:lnTo>
                    <a:lnTo>
                      <a:pt x="20808" y="26323"/>
                    </a:lnTo>
                    <a:close/>
                    <a:moveTo>
                      <a:pt x="15794" y="43371"/>
                    </a:moveTo>
                    <a:lnTo>
                      <a:pt x="15794" y="13036"/>
                    </a:lnTo>
                    <a:lnTo>
                      <a:pt x="26072" y="13036"/>
                    </a:lnTo>
                    <a:cubicBezTo>
                      <a:pt x="29582" y="13036"/>
                      <a:pt x="32089" y="13287"/>
                      <a:pt x="33844" y="13788"/>
                    </a:cubicBezTo>
                    <a:cubicBezTo>
                      <a:pt x="35348" y="14290"/>
                      <a:pt x="36602" y="15293"/>
                      <a:pt x="37604" y="16797"/>
                    </a:cubicBezTo>
                    <a:cubicBezTo>
                      <a:pt x="38607" y="18301"/>
                      <a:pt x="39109" y="19554"/>
                      <a:pt x="39109" y="21309"/>
                    </a:cubicBezTo>
                    <a:cubicBezTo>
                      <a:pt x="39109" y="23566"/>
                      <a:pt x="38357" y="25320"/>
                      <a:pt x="36852" y="27075"/>
                    </a:cubicBezTo>
                    <a:cubicBezTo>
                      <a:pt x="35348" y="28830"/>
                      <a:pt x="33092" y="29582"/>
                      <a:pt x="30585" y="29833"/>
                    </a:cubicBezTo>
                    <a:cubicBezTo>
                      <a:pt x="31588" y="30334"/>
                      <a:pt x="32591" y="30836"/>
                      <a:pt x="33092" y="31337"/>
                    </a:cubicBezTo>
                    <a:cubicBezTo>
                      <a:pt x="34345" y="32591"/>
                      <a:pt x="35850" y="34596"/>
                      <a:pt x="37604" y="37354"/>
                    </a:cubicBezTo>
                    <a:lnTo>
                      <a:pt x="41365" y="43371"/>
                    </a:lnTo>
                    <a:lnTo>
                      <a:pt x="35348" y="43371"/>
                    </a:lnTo>
                    <a:lnTo>
                      <a:pt x="32591" y="38607"/>
                    </a:lnTo>
                    <a:cubicBezTo>
                      <a:pt x="30585" y="34847"/>
                      <a:pt x="28830" y="32591"/>
                      <a:pt x="27577" y="31588"/>
                    </a:cubicBezTo>
                    <a:cubicBezTo>
                      <a:pt x="26574" y="30836"/>
                      <a:pt x="25320" y="30585"/>
                      <a:pt x="23565" y="30585"/>
                    </a:cubicBezTo>
                    <a:lnTo>
                      <a:pt x="20808" y="30585"/>
                    </a:lnTo>
                    <a:lnTo>
                      <a:pt x="20808" y="43371"/>
                    </a:lnTo>
                    <a:lnTo>
                      <a:pt x="16044" y="43371"/>
                    </a:lnTo>
                    <a:close/>
                    <a:moveTo>
                      <a:pt x="28078" y="4513"/>
                    </a:moveTo>
                    <a:cubicBezTo>
                      <a:pt x="24067" y="4513"/>
                      <a:pt x="20306" y="5515"/>
                      <a:pt x="16546" y="7521"/>
                    </a:cubicBezTo>
                    <a:cubicBezTo>
                      <a:pt x="12786" y="9526"/>
                      <a:pt x="10028" y="12535"/>
                      <a:pt x="7772" y="16045"/>
                    </a:cubicBezTo>
                    <a:cubicBezTo>
                      <a:pt x="5766" y="19805"/>
                      <a:pt x="4513" y="23566"/>
                      <a:pt x="4513" y="27827"/>
                    </a:cubicBezTo>
                    <a:cubicBezTo>
                      <a:pt x="4513" y="32089"/>
                      <a:pt x="5515" y="35599"/>
                      <a:pt x="7521" y="39359"/>
                    </a:cubicBezTo>
                    <a:cubicBezTo>
                      <a:pt x="9527" y="43120"/>
                      <a:pt x="12535" y="45878"/>
                      <a:pt x="16295" y="47883"/>
                    </a:cubicBezTo>
                    <a:cubicBezTo>
                      <a:pt x="20056" y="49889"/>
                      <a:pt x="23816" y="50891"/>
                      <a:pt x="27827" y="50891"/>
                    </a:cubicBezTo>
                    <a:cubicBezTo>
                      <a:pt x="31839" y="50891"/>
                      <a:pt x="35599" y="49889"/>
                      <a:pt x="39359" y="47883"/>
                    </a:cubicBezTo>
                    <a:cubicBezTo>
                      <a:pt x="43120" y="45878"/>
                      <a:pt x="45877" y="42869"/>
                      <a:pt x="47883" y="39359"/>
                    </a:cubicBezTo>
                    <a:cubicBezTo>
                      <a:pt x="49889" y="35599"/>
                      <a:pt x="50892" y="31839"/>
                      <a:pt x="50892" y="27827"/>
                    </a:cubicBezTo>
                    <a:cubicBezTo>
                      <a:pt x="50892" y="23816"/>
                      <a:pt x="49889" y="19805"/>
                      <a:pt x="47632" y="16045"/>
                    </a:cubicBezTo>
                    <a:cubicBezTo>
                      <a:pt x="45627" y="12284"/>
                      <a:pt x="42619" y="9526"/>
                      <a:pt x="38858" y="7521"/>
                    </a:cubicBezTo>
                    <a:cubicBezTo>
                      <a:pt x="35098" y="5515"/>
                      <a:pt x="31337" y="4513"/>
                      <a:pt x="27326" y="4513"/>
                    </a:cubicBezTo>
                    <a:lnTo>
                      <a:pt x="27326" y="4513"/>
                    </a:lnTo>
                    <a:close/>
                    <a:moveTo>
                      <a:pt x="28078" y="0"/>
                    </a:moveTo>
                    <a:cubicBezTo>
                      <a:pt x="32841" y="0"/>
                      <a:pt x="37354" y="1253"/>
                      <a:pt x="41866" y="3510"/>
                    </a:cubicBezTo>
                    <a:cubicBezTo>
                      <a:pt x="46379" y="6017"/>
                      <a:pt x="49889" y="9276"/>
                      <a:pt x="52396" y="13788"/>
                    </a:cubicBezTo>
                    <a:cubicBezTo>
                      <a:pt x="54903" y="18301"/>
                      <a:pt x="56156" y="23064"/>
                      <a:pt x="56156" y="27827"/>
                    </a:cubicBezTo>
                    <a:cubicBezTo>
                      <a:pt x="56156" y="32591"/>
                      <a:pt x="54903" y="37354"/>
                      <a:pt x="52396" y="41616"/>
                    </a:cubicBezTo>
                    <a:cubicBezTo>
                      <a:pt x="49889" y="46128"/>
                      <a:pt x="46379" y="49638"/>
                      <a:pt x="42117" y="51894"/>
                    </a:cubicBezTo>
                    <a:cubicBezTo>
                      <a:pt x="37604" y="54401"/>
                      <a:pt x="33092" y="55655"/>
                      <a:pt x="28078" y="55655"/>
                    </a:cubicBezTo>
                    <a:cubicBezTo>
                      <a:pt x="23064" y="55655"/>
                      <a:pt x="18552" y="54401"/>
                      <a:pt x="14039" y="51894"/>
                    </a:cubicBezTo>
                    <a:cubicBezTo>
                      <a:pt x="9527" y="49387"/>
                      <a:pt x="6267" y="45878"/>
                      <a:pt x="3760" y="41616"/>
                    </a:cubicBezTo>
                    <a:cubicBezTo>
                      <a:pt x="1253" y="37103"/>
                      <a:pt x="0" y="32591"/>
                      <a:pt x="0" y="27827"/>
                    </a:cubicBezTo>
                    <a:cubicBezTo>
                      <a:pt x="0" y="23064"/>
                      <a:pt x="1253" y="18301"/>
                      <a:pt x="3760" y="13788"/>
                    </a:cubicBezTo>
                    <a:cubicBezTo>
                      <a:pt x="6267" y="9276"/>
                      <a:pt x="9777" y="5766"/>
                      <a:pt x="14290" y="3510"/>
                    </a:cubicBezTo>
                    <a:cubicBezTo>
                      <a:pt x="18802" y="1003"/>
                      <a:pt x="23315" y="0"/>
                      <a:pt x="28078" y="0"/>
                    </a:cubicBezTo>
                    <a:lnTo>
                      <a:pt x="28078"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6E3F2E8C-2ED7-4639-8737-F6A71D1B4379}"/>
                  </a:ext>
                </a:extLst>
              </p:cNvPr>
              <p:cNvSpPr/>
              <p:nvPr/>
            </p:nvSpPr>
            <p:spPr>
              <a:xfrm>
                <a:off x="5255025" y="5285289"/>
                <a:ext cx="260223" cy="260474"/>
              </a:xfrm>
              <a:custGeom>
                <a:avLst/>
                <a:gdLst>
                  <a:gd name="connsiteX0" fmla="*/ 130112 w 260223"/>
                  <a:gd name="connsiteY0" fmla="*/ 25070 h 260474"/>
                  <a:gd name="connsiteX1" fmla="*/ 25070 w 260223"/>
                  <a:gd name="connsiteY1" fmla="*/ 130112 h 260474"/>
                  <a:gd name="connsiteX2" fmla="*/ 130112 w 260223"/>
                  <a:gd name="connsiteY2" fmla="*/ 235154 h 260474"/>
                  <a:gd name="connsiteX3" fmla="*/ 235154 w 260223"/>
                  <a:gd name="connsiteY3" fmla="*/ 130112 h 260474"/>
                  <a:gd name="connsiteX4" fmla="*/ 130112 w 260223"/>
                  <a:gd name="connsiteY4" fmla="*/ 25070 h 260474"/>
                  <a:gd name="connsiteX5" fmla="*/ 130112 w 260223"/>
                  <a:gd name="connsiteY5" fmla="*/ 25070 h 260474"/>
                  <a:gd name="connsiteX6" fmla="*/ 130112 w 260223"/>
                  <a:gd name="connsiteY6" fmla="*/ 260474 h 260474"/>
                  <a:gd name="connsiteX7" fmla="*/ 0 w 260223"/>
                  <a:gd name="connsiteY7" fmla="*/ 130362 h 260474"/>
                  <a:gd name="connsiteX8" fmla="*/ 130112 w 260223"/>
                  <a:gd name="connsiteY8" fmla="*/ 0 h 260474"/>
                  <a:gd name="connsiteX9" fmla="*/ 260223 w 260223"/>
                  <a:gd name="connsiteY9" fmla="*/ 130112 h 260474"/>
                  <a:gd name="connsiteX10" fmla="*/ 130112 w 260223"/>
                  <a:gd name="connsiteY10" fmla="*/ 260223 h 260474"/>
                  <a:gd name="connsiteX11" fmla="*/ 130112 w 260223"/>
                  <a:gd name="connsiteY11" fmla="*/ 260223 h 26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223" h="260474">
                    <a:moveTo>
                      <a:pt x="130112" y="25070"/>
                    </a:moveTo>
                    <a:cubicBezTo>
                      <a:pt x="72201" y="25070"/>
                      <a:pt x="25070" y="72201"/>
                      <a:pt x="25070" y="130112"/>
                    </a:cubicBezTo>
                    <a:cubicBezTo>
                      <a:pt x="25070" y="188023"/>
                      <a:pt x="72201" y="235154"/>
                      <a:pt x="130112" y="235154"/>
                    </a:cubicBezTo>
                    <a:cubicBezTo>
                      <a:pt x="188023" y="235154"/>
                      <a:pt x="235154" y="188023"/>
                      <a:pt x="235154" y="130112"/>
                    </a:cubicBezTo>
                    <a:cubicBezTo>
                      <a:pt x="235154" y="72201"/>
                      <a:pt x="188023" y="25070"/>
                      <a:pt x="130112" y="25070"/>
                    </a:cubicBezTo>
                    <a:lnTo>
                      <a:pt x="130112" y="25070"/>
                    </a:lnTo>
                    <a:close/>
                    <a:moveTo>
                      <a:pt x="130112" y="260474"/>
                    </a:moveTo>
                    <a:cubicBezTo>
                      <a:pt x="58412" y="260474"/>
                      <a:pt x="0" y="202062"/>
                      <a:pt x="0" y="130362"/>
                    </a:cubicBezTo>
                    <a:cubicBezTo>
                      <a:pt x="0" y="58663"/>
                      <a:pt x="58412" y="0"/>
                      <a:pt x="130112" y="0"/>
                    </a:cubicBezTo>
                    <a:cubicBezTo>
                      <a:pt x="201811" y="0"/>
                      <a:pt x="260223" y="58412"/>
                      <a:pt x="260223" y="130112"/>
                    </a:cubicBezTo>
                    <a:cubicBezTo>
                      <a:pt x="260223" y="201811"/>
                      <a:pt x="201811" y="260223"/>
                      <a:pt x="130112" y="260223"/>
                    </a:cubicBezTo>
                    <a:lnTo>
                      <a:pt x="130112" y="260223"/>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95" name="Group 494">
              <a:extLst>
                <a:ext uri="{FF2B5EF4-FFF2-40B4-BE49-F238E27FC236}">
                  <a16:creationId xmlns:a16="http://schemas.microsoft.com/office/drawing/2014/main" id="{2C696A8E-1C58-4B94-BBFB-A3CEDDC4B6D4}"/>
                </a:ext>
              </a:extLst>
            </p:cNvPr>
            <p:cNvGrpSpPr/>
            <p:nvPr userDrawn="1"/>
          </p:nvGrpSpPr>
          <p:grpSpPr>
            <a:xfrm>
              <a:off x="3339354" y="2864280"/>
              <a:ext cx="1352315" cy="153392"/>
              <a:chOff x="4724400" y="3271837"/>
              <a:chExt cx="2743390" cy="311181"/>
            </a:xfrm>
          </p:grpSpPr>
          <p:sp>
            <p:nvSpPr>
              <p:cNvPr id="496" name="Freeform: Shape 495">
                <a:extLst>
                  <a:ext uri="{FF2B5EF4-FFF2-40B4-BE49-F238E27FC236}">
                    <a16:creationId xmlns:a16="http://schemas.microsoft.com/office/drawing/2014/main" id="{57DB58DE-9972-4BB1-92FE-ABA1DF86F4B0}"/>
                  </a:ext>
                </a:extLst>
              </p:cNvPr>
              <p:cNvSpPr/>
              <p:nvPr/>
            </p:nvSpPr>
            <p:spPr>
              <a:xfrm>
                <a:off x="4724400" y="3272598"/>
                <a:ext cx="323468" cy="310133"/>
              </a:xfrm>
              <a:custGeom>
                <a:avLst/>
                <a:gdLst>
                  <a:gd name="connsiteX0" fmla="*/ 0 w 323468"/>
                  <a:gd name="connsiteY0" fmla="*/ 0 h 310133"/>
                  <a:gd name="connsiteX1" fmla="*/ 93536 w 323468"/>
                  <a:gd name="connsiteY1" fmla="*/ 0 h 310133"/>
                  <a:gd name="connsiteX2" fmla="*/ 161544 w 323468"/>
                  <a:gd name="connsiteY2" fmla="*/ 214789 h 310133"/>
                  <a:gd name="connsiteX3" fmla="*/ 163354 w 323468"/>
                  <a:gd name="connsiteY3" fmla="*/ 214789 h 310133"/>
                  <a:gd name="connsiteX4" fmla="*/ 230886 w 323468"/>
                  <a:gd name="connsiteY4" fmla="*/ 0 h 310133"/>
                  <a:gd name="connsiteX5" fmla="*/ 323469 w 323468"/>
                  <a:gd name="connsiteY5" fmla="*/ 0 h 310133"/>
                  <a:gd name="connsiteX6" fmla="*/ 323469 w 323468"/>
                  <a:gd name="connsiteY6" fmla="*/ 310134 h 310133"/>
                  <a:gd name="connsiteX7" fmla="*/ 255937 w 323468"/>
                  <a:gd name="connsiteY7" fmla="*/ 310134 h 310133"/>
                  <a:gd name="connsiteX8" fmla="*/ 255937 w 323468"/>
                  <a:gd name="connsiteY8" fmla="*/ 81915 h 310133"/>
                  <a:gd name="connsiteX9" fmla="*/ 254603 w 323468"/>
                  <a:gd name="connsiteY9" fmla="*/ 81915 h 310133"/>
                  <a:gd name="connsiteX10" fmla="*/ 182594 w 323468"/>
                  <a:gd name="connsiteY10" fmla="*/ 310134 h 310133"/>
                  <a:gd name="connsiteX11" fmla="*/ 130683 w 323468"/>
                  <a:gd name="connsiteY11" fmla="*/ 310134 h 310133"/>
                  <a:gd name="connsiteX12" fmla="*/ 59531 w 323468"/>
                  <a:gd name="connsiteY12" fmla="*/ 81915 h 310133"/>
                  <a:gd name="connsiteX13" fmla="*/ 57722 w 323468"/>
                  <a:gd name="connsiteY13" fmla="*/ 81915 h 310133"/>
                  <a:gd name="connsiteX14" fmla="*/ 57722 w 323468"/>
                  <a:gd name="connsiteY14" fmla="*/ 310134 h 310133"/>
                  <a:gd name="connsiteX15" fmla="*/ 0 w 323468"/>
                  <a:gd name="connsiteY15" fmla="*/ 310134 h 310133"/>
                  <a:gd name="connsiteX16" fmla="*/ 0 w 323468"/>
                  <a:gd name="connsiteY16" fmla="*/ 0 h 31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468" h="310133">
                    <a:moveTo>
                      <a:pt x="0" y="0"/>
                    </a:moveTo>
                    <a:lnTo>
                      <a:pt x="93536" y="0"/>
                    </a:lnTo>
                    <a:lnTo>
                      <a:pt x="161544" y="214789"/>
                    </a:lnTo>
                    <a:lnTo>
                      <a:pt x="163354" y="214789"/>
                    </a:lnTo>
                    <a:lnTo>
                      <a:pt x="230886" y="0"/>
                    </a:lnTo>
                    <a:lnTo>
                      <a:pt x="323469" y="0"/>
                    </a:lnTo>
                    <a:lnTo>
                      <a:pt x="323469" y="310134"/>
                    </a:lnTo>
                    <a:lnTo>
                      <a:pt x="255937" y="310134"/>
                    </a:lnTo>
                    <a:lnTo>
                      <a:pt x="255937" y="81915"/>
                    </a:lnTo>
                    <a:lnTo>
                      <a:pt x="254603" y="81915"/>
                    </a:lnTo>
                    <a:lnTo>
                      <a:pt x="182594" y="310134"/>
                    </a:lnTo>
                    <a:lnTo>
                      <a:pt x="130683" y="310134"/>
                    </a:lnTo>
                    <a:lnTo>
                      <a:pt x="59531" y="81915"/>
                    </a:lnTo>
                    <a:lnTo>
                      <a:pt x="57722" y="81915"/>
                    </a:lnTo>
                    <a:lnTo>
                      <a:pt x="57722" y="310134"/>
                    </a:lnTo>
                    <a:lnTo>
                      <a:pt x="0" y="310134"/>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7" name="Freeform: Shape 496">
                <a:extLst>
                  <a:ext uri="{FF2B5EF4-FFF2-40B4-BE49-F238E27FC236}">
                    <a16:creationId xmlns:a16="http://schemas.microsoft.com/office/drawing/2014/main" id="{88788465-573E-4A6C-87DE-2412B1875EDA}"/>
                  </a:ext>
                </a:extLst>
              </p:cNvPr>
              <p:cNvSpPr/>
              <p:nvPr/>
            </p:nvSpPr>
            <p:spPr>
              <a:xfrm>
                <a:off x="5107019" y="3272598"/>
                <a:ext cx="290798" cy="310038"/>
              </a:xfrm>
              <a:custGeom>
                <a:avLst/>
                <a:gdLst>
                  <a:gd name="connsiteX0" fmla="*/ 110014 w 290798"/>
                  <a:gd name="connsiteY0" fmla="*/ 0 h 310038"/>
                  <a:gd name="connsiteX1" fmla="*/ 181642 w 290798"/>
                  <a:gd name="connsiteY1" fmla="*/ 0 h 310038"/>
                  <a:gd name="connsiteX2" fmla="*/ 290798 w 290798"/>
                  <a:gd name="connsiteY2" fmla="*/ 310039 h 310038"/>
                  <a:gd name="connsiteX3" fmla="*/ 220599 w 290798"/>
                  <a:gd name="connsiteY3" fmla="*/ 310039 h 310038"/>
                  <a:gd name="connsiteX4" fmla="*/ 196025 w 290798"/>
                  <a:gd name="connsiteY4" fmla="*/ 238411 h 310038"/>
                  <a:gd name="connsiteX5" fmla="*/ 86392 w 290798"/>
                  <a:gd name="connsiteY5" fmla="*/ 238411 h 310038"/>
                  <a:gd name="connsiteX6" fmla="*/ 62198 w 290798"/>
                  <a:gd name="connsiteY6" fmla="*/ 310039 h 310038"/>
                  <a:gd name="connsiteX7" fmla="*/ 0 w 290798"/>
                  <a:gd name="connsiteY7" fmla="*/ 310039 h 310038"/>
                  <a:gd name="connsiteX8" fmla="*/ 110014 w 290798"/>
                  <a:gd name="connsiteY8" fmla="*/ 0 h 310038"/>
                  <a:gd name="connsiteX9" fmla="*/ 101060 w 290798"/>
                  <a:gd name="connsiteY9" fmla="*/ 191072 h 310038"/>
                  <a:gd name="connsiteX10" fmla="*/ 180213 w 290798"/>
                  <a:gd name="connsiteY10" fmla="*/ 191072 h 310038"/>
                  <a:gd name="connsiteX11" fmla="*/ 141256 w 290798"/>
                  <a:gd name="connsiteY11" fmla="*/ 75629 h 310038"/>
                  <a:gd name="connsiteX12" fmla="*/ 139446 w 290798"/>
                  <a:gd name="connsiteY12" fmla="*/ 75629 h 310038"/>
                  <a:gd name="connsiteX13" fmla="*/ 100965 w 290798"/>
                  <a:gd name="connsiteY13" fmla="*/ 191072 h 3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798" h="310038">
                    <a:moveTo>
                      <a:pt x="110014" y="0"/>
                    </a:moveTo>
                    <a:lnTo>
                      <a:pt x="181642" y="0"/>
                    </a:lnTo>
                    <a:lnTo>
                      <a:pt x="290798" y="310039"/>
                    </a:lnTo>
                    <a:lnTo>
                      <a:pt x="220599" y="310039"/>
                    </a:lnTo>
                    <a:lnTo>
                      <a:pt x="196025" y="238411"/>
                    </a:lnTo>
                    <a:lnTo>
                      <a:pt x="86392" y="238411"/>
                    </a:lnTo>
                    <a:lnTo>
                      <a:pt x="62198" y="310039"/>
                    </a:lnTo>
                    <a:lnTo>
                      <a:pt x="0" y="310039"/>
                    </a:lnTo>
                    <a:lnTo>
                      <a:pt x="110014" y="0"/>
                    </a:lnTo>
                    <a:close/>
                    <a:moveTo>
                      <a:pt x="101060" y="191072"/>
                    </a:moveTo>
                    <a:lnTo>
                      <a:pt x="180213" y="191072"/>
                    </a:lnTo>
                    <a:lnTo>
                      <a:pt x="141256" y="75629"/>
                    </a:lnTo>
                    <a:lnTo>
                      <a:pt x="139446" y="75629"/>
                    </a:lnTo>
                    <a:lnTo>
                      <a:pt x="100965" y="191072"/>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8" name="Freeform: Shape 497">
                <a:extLst>
                  <a:ext uri="{FF2B5EF4-FFF2-40B4-BE49-F238E27FC236}">
                    <a16:creationId xmlns:a16="http://schemas.microsoft.com/office/drawing/2014/main" id="{3AEBEA0B-5F74-44B1-AF41-8899C68F8110}"/>
                  </a:ext>
                </a:extLst>
              </p:cNvPr>
              <p:cNvSpPr/>
              <p:nvPr/>
            </p:nvSpPr>
            <p:spPr>
              <a:xfrm>
                <a:off x="5457348" y="3272598"/>
                <a:ext cx="246602" cy="310038"/>
              </a:xfrm>
              <a:custGeom>
                <a:avLst/>
                <a:gdLst>
                  <a:gd name="connsiteX0" fmla="*/ 0 w 246602"/>
                  <a:gd name="connsiteY0" fmla="*/ 0 h 310038"/>
                  <a:gd name="connsiteX1" fmla="*/ 114586 w 246602"/>
                  <a:gd name="connsiteY1" fmla="*/ 0 h 310038"/>
                  <a:gd name="connsiteX2" fmla="*/ 226886 w 246602"/>
                  <a:gd name="connsiteY2" fmla="*/ 93059 h 310038"/>
                  <a:gd name="connsiteX3" fmla="*/ 172784 w 246602"/>
                  <a:gd name="connsiteY3" fmla="*/ 172688 h 310038"/>
                  <a:gd name="connsiteX4" fmla="*/ 172784 w 246602"/>
                  <a:gd name="connsiteY4" fmla="*/ 174498 h 310038"/>
                  <a:gd name="connsiteX5" fmla="*/ 246602 w 246602"/>
                  <a:gd name="connsiteY5" fmla="*/ 310039 h 310038"/>
                  <a:gd name="connsiteX6" fmla="*/ 173641 w 246602"/>
                  <a:gd name="connsiteY6" fmla="*/ 310039 h 310038"/>
                  <a:gd name="connsiteX7" fmla="*/ 109633 w 246602"/>
                  <a:gd name="connsiteY7" fmla="*/ 189738 h 310038"/>
                  <a:gd name="connsiteX8" fmla="*/ 68485 w 246602"/>
                  <a:gd name="connsiteY8" fmla="*/ 189738 h 310038"/>
                  <a:gd name="connsiteX9" fmla="*/ 68485 w 246602"/>
                  <a:gd name="connsiteY9" fmla="*/ 310039 h 310038"/>
                  <a:gd name="connsiteX10" fmla="*/ 0 w 246602"/>
                  <a:gd name="connsiteY10" fmla="*/ 310039 h 310038"/>
                  <a:gd name="connsiteX11" fmla="*/ 0 w 246602"/>
                  <a:gd name="connsiteY11" fmla="*/ 0 h 310038"/>
                  <a:gd name="connsiteX12" fmla="*/ 106013 w 246602"/>
                  <a:gd name="connsiteY12" fmla="*/ 145447 h 310038"/>
                  <a:gd name="connsiteX13" fmla="*/ 157448 w 246602"/>
                  <a:gd name="connsiteY13" fmla="*/ 95726 h 310038"/>
                  <a:gd name="connsiteX14" fmla="*/ 105537 w 246602"/>
                  <a:gd name="connsiteY14" fmla="*/ 49149 h 310038"/>
                  <a:gd name="connsiteX15" fmla="*/ 67532 w 246602"/>
                  <a:gd name="connsiteY15" fmla="*/ 49149 h 310038"/>
                  <a:gd name="connsiteX16" fmla="*/ 67532 w 246602"/>
                  <a:gd name="connsiteY16" fmla="*/ 145447 h 310038"/>
                  <a:gd name="connsiteX17" fmla="*/ 106013 w 246602"/>
                  <a:gd name="connsiteY17" fmla="*/ 145447 h 3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6602" h="310038">
                    <a:moveTo>
                      <a:pt x="0" y="0"/>
                    </a:moveTo>
                    <a:lnTo>
                      <a:pt x="114586" y="0"/>
                    </a:lnTo>
                    <a:cubicBezTo>
                      <a:pt x="188881" y="0"/>
                      <a:pt x="226886" y="30004"/>
                      <a:pt x="226886" y="93059"/>
                    </a:cubicBezTo>
                    <a:cubicBezTo>
                      <a:pt x="226886" y="136493"/>
                      <a:pt x="206312" y="158877"/>
                      <a:pt x="172784" y="172688"/>
                    </a:cubicBezTo>
                    <a:lnTo>
                      <a:pt x="172784" y="174498"/>
                    </a:lnTo>
                    <a:lnTo>
                      <a:pt x="246602" y="310039"/>
                    </a:lnTo>
                    <a:lnTo>
                      <a:pt x="173641" y="310039"/>
                    </a:lnTo>
                    <a:lnTo>
                      <a:pt x="109633" y="189738"/>
                    </a:lnTo>
                    <a:lnTo>
                      <a:pt x="68485" y="189738"/>
                    </a:lnTo>
                    <a:lnTo>
                      <a:pt x="68485" y="310039"/>
                    </a:lnTo>
                    <a:lnTo>
                      <a:pt x="0" y="310039"/>
                    </a:lnTo>
                    <a:lnTo>
                      <a:pt x="0" y="0"/>
                    </a:lnTo>
                    <a:close/>
                    <a:moveTo>
                      <a:pt x="106013" y="145447"/>
                    </a:moveTo>
                    <a:cubicBezTo>
                      <a:pt x="142685" y="145447"/>
                      <a:pt x="157448" y="129350"/>
                      <a:pt x="157448" y="95726"/>
                    </a:cubicBezTo>
                    <a:cubicBezTo>
                      <a:pt x="157448" y="62103"/>
                      <a:pt x="142208" y="49149"/>
                      <a:pt x="105537" y="49149"/>
                    </a:cubicBezTo>
                    <a:lnTo>
                      <a:pt x="67532" y="49149"/>
                    </a:lnTo>
                    <a:lnTo>
                      <a:pt x="67532" y="145447"/>
                    </a:lnTo>
                    <a:lnTo>
                      <a:pt x="106013" y="145447"/>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9" name="Freeform: Shape 498">
                <a:extLst>
                  <a:ext uri="{FF2B5EF4-FFF2-40B4-BE49-F238E27FC236}">
                    <a16:creationId xmlns:a16="http://schemas.microsoft.com/office/drawing/2014/main" id="{3098CA61-00D9-4D52-985A-1F52742A09C4}"/>
                  </a:ext>
                </a:extLst>
              </p:cNvPr>
              <p:cNvSpPr/>
              <p:nvPr/>
            </p:nvSpPr>
            <p:spPr>
              <a:xfrm>
                <a:off x="5764244" y="3272598"/>
                <a:ext cx="255555" cy="310133"/>
              </a:xfrm>
              <a:custGeom>
                <a:avLst/>
                <a:gdLst>
                  <a:gd name="connsiteX0" fmla="*/ 95 w 255555"/>
                  <a:gd name="connsiteY0" fmla="*/ 0 h 310133"/>
                  <a:gd name="connsiteX1" fmla="*/ 68580 w 255555"/>
                  <a:gd name="connsiteY1" fmla="*/ 0 h 310133"/>
                  <a:gd name="connsiteX2" fmla="*/ 68580 w 255555"/>
                  <a:gd name="connsiteY2" fmla="*/ 153543 h 310133"/>
                  <a:gd name="connsiteX3" fmla="*/ 179070 w 255555"/>
                  <a:gd name="connsiteY3" fmla="*/ 0 h 310133"/>
                  <a:gd name="connsiteX4" fmla="*/ 249365 w 255555"/>
                  <a:gd name="connsiteY4" fmla="*/ 0 h 310133"/>
                  <a:gd name="connsiteX5" fmla="*/ 141923 w 255555"/>
                  <a:gd name="connsiteY5" fmla="*/ 146780 h 310133"/>
                  <a:gd name="connsiteX6" fmla="*/ 255556 w 255555"/>
                  <a:gd name="connsiteY6" fmla="*/ 310134 h 310133"/>
                  <a:gd name="connsiteX7" fmla="*/ 178118 w 255555"/>
                  <a:gd name="connsiteY7" fmla="*/ 310134 h 310133"/>
                  <a:gd name="connsiteX8" fmla="*/ 68485 w 255555"/>
                  <a:gd name="connsiteY8" fmla="*/ 153543 h 310133"/>
                  <a:gd name="connsiteX9" fmla="*/ 68485 w 255555"/>
                  <a:gd name="connsiteY9" fmla="*/ 310134 h 310133"/>
                  <a:gd name="connsiteX10" fmla="*/ 0 w 255555"/>
                  <a:gd name="connsiteY10" fmla="*/ 310134 h 310133"/>
                  <a:gd name="connsiteX11" fmla="*/ 0 w 255555"/>
                  <a:gd name="connsiteY11" fmla="*/ 0 h 31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555" h="310133">
                    <a:moveTo>
                      <a:pt x="95" y="0"/>
                    </a:moveTo>
                    <a:lnTo>
                      <a:pt x="68580" y="0"/>
                    </a:lnTo>
                    <a:lnTo>
                      <a:pt x="68580" y="153543"/>
                    </a:lnTo>
                    <a:lnTo>
                      <a:pt x="179070" y="0"/>
                    </a:lnTo>
                    <a:lnTo>
                      <a:pt x="249365" y="0"/>
                    </a:lnTo>
                    <a:lnTo>
                      <a:pt x="141923" y="146780"/>
                    </a:lnTo>
                    <a:lnTo>
                      <a:pt x="255556" y="310134"/>
                    </a:lnTo>
                    <a:lnTo>
                      <a:pt x="178118" y="310134"/>
                    </a:lnTo>
                    <a:lnTo>
                      <a:pt x="68485" y="153543"/>
                    </a:lnTo>
                    <a:lnTo>
                      <a:pt x="68485" y="310134"/>
                    </a:lnTo>
                    <a:lnTo>
                      <a:pt x="0" y="310134"/>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0" name="Freeform: Shape 499">
                <a:extLst>
                  <a:ext uri="{FF2B5EF4-FFF2-40B4-BE49-F238E27FC236}">
                    <a16:creationId xmlns:a16="http://schemas.microsoft.com/office/drawing/2014/main" id="{456C768D-B41F-40BD-930E-6638E049D855}"/>
                  </a:ext>
                </a:extLst>
              </p:cNvPr>
              <p:cNvSpPr/>
              <p:nvPr/>
            </p:nvSpPr>
            <p:spPr>
              <a:xfrm>
                <a:off x="6097619" y="3273265"/>
                <a:ext cx="101631" cy="126206"/>
              </a:xfrm>
              <a:custGeom>
                <a:avLst/>
                <a:gdLst>
                  <a:gd name="connsiteX0" fmla="*/ 47911 w 101631"/>
                  <a:gd name="connsiteY0" fmla="*/ 0 h 126206"/>
                  <a:gd name="connsiteX1" fmla="*/ 53721 w 101631"/>
                  <a:gd name="connsiteY1" fmla="*/ 0 h 126206"/>
                  <a:gd name="connsiteX2" fmla="*/ 101632 w 101631"/>
                  <a:gd name="connsiteY2" fmla="*/ 126206 h 126206"/>
                  <a:gd name="connsiteX3" fmla="*/ 95250 w 101631"/>
                  <a:gd name="connsiteY3" fmla="*/ 126206 h 126206"/>
                  <a:gd name="connsiteX4" fmla="*/ 79058 w 101631"/>
                  <a:gd name="connsiteY4" fmla="*/ 83249 h 126206"/>
                  <a:gd name="connsiteX5" fmla="*/ 22003 w 101631"/>
                  <a:gd name="connsiteY5" fmla="*/ 83249 h 126206"/>
                  <a:gd name="connsiteX6" fmla="*/ 5810 w 101631"/>
                  <a:gd name="connsiteY6" fmla="*/ 126206 h 126206"/>
                  <a:gd name="connsiteX7" fmla="*/ 0 w 101631"/>
                  <a:gd name="connsiteY7" fmla="*/ 126206 h 126206"/>
                  <a:gd name="connsiteX8" fmla="*/ 47911 w 101631"/>
                  <a:gd name="connsiteY8" fmla="*/ 0 h 126206"/>
                  <a:gd name="connsiteX9" fmla="*/ 24003 w 101631"/>
                  <a:gd name="connsiteY9" fmla="*/ 78010 h 126206"/>
                  <a:gd name="connsiteX10" fmla="*/ 77057 w 101631"/>
                  <a:gd name="connsiteY10" fmla="*/ 78010 h 126206"/>
                  <a:gd name="connsiteX11" fmla="*/ 50863 w 101631"/>
                  <a:gd name="connsiteY11" fmla="*/ 8382 h 126206"/>
                  <a:gd name="connsiteX12" fmla="*/ 50483 w 101631"/>
                  <a:gd name="connsiteY12" fmla="*/ 8382 h 126206"/>
                  <a:gd name="connsiteX13" fmla="*/ 24098 w 101631"/>
                  <a:gd name="connsiteY13" fmla="*/ 7801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631" h="126206">
                    <a:moveTo>
                      <a:pt x="47911" y="0"/>
                    </a:moveTo>
                    <a:lnTo>
                      <a:pt x="53721" y="0"/>
                    </a:lnTo>
                    <a:lnTo>
                      <a:pt x="101632" y="126206"/>
                    </a:lnTo>
                    <a:lnTo>
                      <a:pt x="95250" y="126206"/>
                    </a:lnTo>
                    <a:lnTo>
                      <a:pt x="79058" y="83249"/>
                    </a:lnTo>
                    <a:lnTo>
                      <a:pt x="22003" y="83249"/>
                    </a:lnTo>
                    <a:lnTo>
                      <a:pt x="5810" y="126206"/>
                    </a:lnTo>
                    <a:lnTo>
                      <a:pt x="0" y="126206"/>
                    </a:lnTo>
                    <a:lnTo>
                      <a:pt x="47911" y="0"/>
                    </a:lnTo>
                    <a:close/>
                    <a:moveTo>
                      <a:pt x="24003" y="78010"/>
                    </a:moveTo>
                    <a:lnTo>
                      <a:pt x="77057" y="78010"/>
                    </a:lnTo>
                    <a:lnTo>
                      <a:pt x="50863" y="8382"/>
                    </a:lnTo>
                    <a:lnTo>
                      <a:pt x="50483" y="8382"/>
                    </a:lnTo>
                    <a:lnTo>
                      <a:pt x="24098" y="780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1" name="Freeform: Shape 500">
                <a:extLst>
                  <a:ext uri="{FF2B5EF4-FFF2-40B4-BE49-F238E27FC236}">
                    <a16:creationId xmlns:a16="http://schemas.microsoft.com/office/drawing/2014/main" id="{07397ADD-ABD4-432A-8907-67B282577A0A}"/>
                  </a:ext>
                </a:extLst>
              </p:cNvPr>
              <p:cNvSpPr/>
              <p:nvPr/>
            </p:nvSpPr>
            <p:spPr>
              <a:xfrm>
                <a:off x="6225730" y="3273265"/>
                <a:ext cx="80962" cy="126301"/>
              </a:xfrm>
              <a:custGeom>
                <a:avLst/>
                <a:gdLst>
                  <a:gd name="connsiteX0" fmla="*/ 95 w 80962"/>
                  <a:gd name="connsiteY0" fmla="*/ 0 h 126301"/>
                  <a:gd name="connsiteX1" fmla="*/ 34004 w 80962"/>
                  <a:gd name="connsiteY1" fmla="*/ 0 h 126301"/>
                  <a:gd name="connsiteX2" fmla="*/ 72962 w 80962"/>
                  <a:gd name="connsiteY2" fmla="*/ 33338 h 126301"/>
                  <a:gd name="connsiteX3" fmla="*/ 44196 w 80962"/>
                  <a:gd name="connsiteY3" fmla="*/ 67056 h 126301"/>
                  <a:gd name="connsiteX4" fmla="*/ 44196 w 80962"/>
                  <a:gd name="connsiteY4" fmla="*/ 67437 h 126301"/>
                  <a:gd name="connsiteX5" fmla="*/ 80963 w 80962"/>
                  <a:gd name="connsiteY5" fmla="*/ 126302 h 126301"/>
                  <a:gd name="connsiteX6" fmla="*/ 74200 w 80962"/>
                  <a:gd name="connsiteY6" fmla="*/ 126302 h 126301"/>
                  <a:gd name="connsiteX7" fmla="*/ 38100 w 80962"/>
                  <a:gd name="connsiteY7" fmla="*/ 68390 h 126301"/>
                  <a:gd name="connsiteX8" fmla="*/ 6001 w 80962"/>
                  <a:gd name="connsiteY8" fmla="*/ 68390 h 126301"/>
                  <a:gd name="connsiteX9" fmla="*/ 6001 w 80962"/>
                  <a:gd name="connsiteY9" fmla="*/ 126302 h 126301"/>
                  <a:gd name="connsiteX10" fmla="*/ 0 w 80962"/>
                  <a:gd name="connsiteY10" fmla="*/ 126302 h 126301"/>
                  <a:gd name="connsiteX11" fmla="*/ 0 w 80962"/>
                  <a:gd name="connsiteY11" fmla="*/ 0 h 126301"/>
                  <a:gd name="connsiteX12" fmla="*/ 34195 w 80962"/>
                  <a:gd name="connsiteY12" fmla="*/ 63246 h 126301"/>
                  <a:gd name="connsiteX13" fmla="*/ 66770 w 80962"/>
                  <a:gd name="connsiteY13" fmla="*/ 33338 h 126301"/>
                  <a:gd name="connsiteX14" fmla="*/ 33814 w 80962"/>
                  <a:gd name="connsiteY14" fmla="*/ 5144 h 126301"/>
                  <a:gd name="connsiteX15" fmla="*/ 6096 w 80962"/>
                  <a:gd name="connsiteY15" fmla="*/ 5144 h 126301"/>
                  <a:gd name="connsiteX16" fmla="*/ 6096 w 80962"/>
                  <a:gd name="connsiteY16" fmla="*/ 63246 h 126301"/>
                  <a:gd name="connsiteX17" fmla="*/ 34100 w 80962"/>
                  <a:gd name="connsiteY17" fmla="*/ 63246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62" h="126301">
                    <a:moveTo>
                      <a:pt x="95" y="0"/>
                    </a:moveTo>
                    <a:lnTo>
                      <a:pt x="34004" y="0"/>
                    </a:lnTo>
                    <a:cubicBezTo>
                      <a:pt x="62198" y="0"/>
                      <a:pt x="72962" y="14192"/>
                      <a:pt x="72962" y="33338"/>
                    </a:cubicBezTo>
                    <a:cubicBezTo>
                      <a:pt x="72962" y="51149"/>
                      <a:pt x="64961" y="63437"/>
                      <a:pt x="44196" y="67056"/>
                    </a:cubicBezTo>
                    <a:lnTo>
                      <a:pt x="44196" y="67437"/>
                    </a:lnTo>
                    <a:lnTo>
                      <a:pt x="80963" y="126302"/>
                    </a:lnTo>
                    <a:lnTo>
                      <a:pt x="74200" y="126302"/>
                    </a:lnTo>
                    <a:lnTo>
                      <a:pt x="38100" y="68390"/>
                    </a:lnTo>
                    <a:lnTo>
                      <a:pt x="6001" y="68390"/>
                    </a:lnTo>
                    <a:lnTo>
                      <a:pt x="6001" y="126302"/>
                    </a:lnTo>
                    <a:lnTo>
                      <a:pt x="0" y="126302"/>
                    </a:lnTo>
                    <a:lnTo>
                      <a:pt x="0" y="0"/>
                    </a:lnTo>
                    <a:close/>
                    <a:moveTo>
                      <a:pt x="34195" y="63246"/>
                    </a:moveTo>
                    <a:cubicBezTo>
                      <a:pt x="59341" y="63246"/>
                      <a:pt x="66770" y="49911"/>
                      <a:pt x="66770" y="33338"/>
                    </a:cubicBezTo>
                    <a:cubicBezTo>
                      <a:pt x="66770" y="16764"/>
                      <a:pt x="58388" y="5144"/>
                      <a:pt x="33814" y="5144"/>
                    </a:cubicBezTo>
                    <a:lnTo>
                      <a:pt x="6096" y="5144"/>
                    </a:lnTo>
                    <a:lnTo>
                      <a:pt x="6096" y="63246"/>
                    </a:lnTo>
                    <a:lnTo>
                      <a:pt x="34100" y="6324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2" name="Freeform: Shape 501">
                <a:extLst>
                  <a:ext uri="{FF2B5EF4-FFF2-40B4-BE49-F238E27FC236}">
                    <a16:creationId xmlns:a16="http://schemas.microsoft.com/office/drawing/2014/main" id="{B655847D-012B-4CCD-8271-07AA49762121}"/>
                  </a:ext>
                </a:extLst>
              </p:cNvPr>
              <p:cNvSpPr/>
              <p:nvPr/>
            </p:nvSpPr>
            <p:spPr>
              <a:xfrm>
                <a:off x="6326028" y="3271837"/>
                <a:ext cx="86391" cy="129159"/>
              </a:xfrm>
              <a:custGeom>
                <a:avLst/>
                <a:gdLst>
                  <a:gd name="connsiteX0" fmla="*/ 0 w 86391"/>
                  <a:gd name="connsiteY0" fmla="*/ 65627 h 129159"/>
                  <a:gd name="connsiteX1" fmla="*/ 0 w 86391"/>
                  <a:gd name="connsiteY1" fmla="*/ 63246 h 129159"/>
                  <a:gd name="connsiteX2" fmla="*/ 54864 w 86391"/>
                  <a:gd name="connsiteY2" fmla="*/ 0 h 129159"/>
                  <a:gd name="connsiteX3" fmla="*/ 85439 w 86391"/>
                  <a:gd name="connsiteY3" fmla="*/ 6953 h 129159"/>
                  <a:gd name="connsiteX4" fmla="*/ 85439 w 86391"/>
                  <a:gd name="connsiteY4" fmla="*/ 12097 h 129159"/>
                  <a:gd name="connsiteX5" fmla="*/ 54674 w 86391"/>
                  <a:gd name="connsiteY5" fmla="*/ 5144 h 129159"/>
                  <a:gd name="connsiteX6" fmla="*/ 6191 w 86391"/>
                  <a:gd name="connsiteY6" fmla="*/ 62389 h 129159"/>
                  <a:gd name="connsiteX7" fmla="*/ 6191 w 86391"/>
                  <a:gd name="connsiteY7" fmla="*/ 65818 h 129159"/>
                  <a:gd name="connsiteX8" fmla="*/ 52864 w 86391"/>
                  <a:gd name="connsiteY8" fmla="*/ 124111 h 129159"/>
                  <a:gd name="connsiteX9" fmla="*/ 86392 w 86391"/>
                  <a:gd name="connsiteY9" fmla="*/ 115538 h 129159"/>
                  <a:gd name="connsiteX10" fmla="*/ 86392 w 86391"/>
                  <a:gd name="connsiteY10" fmla="*/ 120968 h 129159"/>
                  <a:gd name="connsiteX11" fmla="*/ 52292 w 86391"/>
                  <a:gd name="connsiteY11" fmla="*/ 129159 h 129159"/>
                  <a:gd name="connsiteX12" fmla="*/ 0 w 86391"/>
                  <a:gd name="connsiteY12" fmla="*/ 65532 h 12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391" h="129159">
                    <a:moveTo>
                      <a:pt x="0" y="65627"/>
                    </a:moveTo>
                    <a:lnTo>
                      <a:pt x="0" y="63246"/>
                    </a:lnTo>
                    <a:cubicBezTo>
                      <a:pt x="0" y="21336"/>
                      <a:pt x="20574" y="0"/>
                      <a:pt x="54864" y="0"/>
                    </a:cubicBezTo>
                    <a:cubicBezTo>
                      <a:pt x="69628" y="0"/>
                      <a:pt x="78200" y="2953"/>
                      <a:pt x="85439" y="6953"/>
                    </a:cubicBezTo>
                    <a:lnTo>
                      <a:pt x="85439" y="12097"/>
                    </a:lnTo>
                    <a:cubicBezTo>
                      <a:pt x="77438" y="8287"/>
                      <a:pt x="68485" y="5144"/>
                      <a:pt x="54674" y="5144"/>
                    </a:cubicBezTo>
                    <a:cubicBezTo>
                      <a:pt x="24098" y="5144"/>
                      <a:pt x="6191" y="23908"/>
                      <a:pt x="6191" y="62389"/>
                    </a:cubicBezTo>
                    <a:lnTo>
                      <a:pt x="6191" y="65818"/>
                    </a:lnTo>
                    <a:cubicBezTo>
                      <a:pt x="6191" y="103918"/>
                      <a:pt x="20574" y="124111"/>
                      <a:pt x="52864" y="124111"/>
                    </a:cubicBezTo>
                    <a:cubicBezTo>
                      <a:pt x="69818" y="124111"/>
                      <a:pt x="78581" y="119729"/>
                      <a:pt x="86392" y="115538"/>
                    </a:cubicBezTo>
                    <a:lnTo>
                      <a:pt x="86392" y="120968"/>
                    </a:lnTo>
                    <a:cubicBezTo>
                      <a:pt x="79629" y="124587"/>
                      <a:pt x="70199" y="129159"/>
                      <a:pt x="52292" y="129159"/>
                    </a:cubicBezTo>
                    <a:cubicBezTo>
                      <a:pt x="17336" y="129159"/>
                      <a:pt x="0" y="106775"/>
                      <a:pt x="0" y="65532"/>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3" name="Freeform: Shape 502">
                <a:extLst>
                  <a:ext uri="{FF2B5EF4-FFF2-40B4-BE49-F238E27FC236}">
                    <a16:creationId xmlns:a16="http://schemas.microsoft.com/office/drawing/2014/main" id="{AE6E39E0-26E6-42A9-81BB-43C1CBF4C51F}"/>
                  </a:ext>
                </a:extLst>
              </p:cNvPr>
              <p:cNvSpPr/>
              <p:nvPr/>
            </p:nvSpPr>
            <p:spPr>
              <a:xfrm>
                <a:off x="6441948" y="3273265"/>
                <a:ext cx="88296" cy="126301"/>
              </a:xfrm>
              <a:custGeom>
                <a:avLst/>
                <a:gdLst>
                  <a:gd name="connsiteX0" fmla="*/ 0 w 88296"/>
                  <a:gd name="connsiteY0" fmla="*/ 0 h 126301"/>
                  <a:gd name="connsiteX1" fmla="*/ 6001 w 88296"/>
                  <a:gd name="connsiteY1" fmla="*/ 0 h 126301"/>
                  <a:gd name="connsiteX2" fmla="*/ 6001 w 88296"/>
                  <a:gd name="connsiteY2" fmla="*/ 57912 h 126301"/>
                  <a:gd name="connsiteX3" fmla="*/ 82296 w 88296"/>
                  <a:gd name="connsiteY3" fmla="*/ 57912 h 126301"/>
                  <a:gd name="connsiteX4" fmla="*/ 82296 w 88296"/>
                  <a:gd name="connsiteY4" fmla="*/ 0 h 126301"/>
                  <a:gd name="connsiteX5" fmla="*/ 88297 w 88296"/>
                  <a:gd name="connsiteY5" fmla="*/ 0 h 126301"/>
                  <a:gd name="connsiteX6" fmla="*/ 88297 w 88296"/>
                  <a:gd name="connsiteY6" fmla="*/ 126302 h 126301"/>
                  <a:gd name="connsiteX7" fmla="*/ 82296 w 88296"/>
                  <a:gd name="connsiteY7" fmla="*/ 126302 h 126301"/>
                  <a:gd name="connsiteX8" fmla="*/ 82296 w 88296"/>
                  <a:gd name="connsiteY8" fmla="*/ 63246 h 126301"/>
                  <a:gd name="connsiteX9" fmla="*/ 6001 w 88296"/>
                  <a:gd name="connsiteY9" fmla="*/ 63246 h 126301"/>
                  <a:gd name="connsiteX10" fmla="*/ 6001 w 88296"/>
                  <a:gd name="connsiteY10" fmla="*/ 126302 h 126301"/>
                  <a:gd name="connsiteX11" fmla="*/ 0 w 88296"/>
                  <a:gd name="connsiteY11" fmla="*/ 126302 h 126301"/>
                  <a:gd name="connsiteX12" fmla="*/ 0 w 88296"/>
                  <a:gd name="connsiteY12"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96" h="126301">
                    <a:moveTo>
                      <a:pt x="0" y="0"/>
                    </a:moveTo>
                    <a:lnTo>
                      <a:pt x="6001" y="0"/>
                    </a:lnTo>
                    <a:lnTo>
                      <a:pt x="6001" y="57912"/>
                    </a:lnTo>
                    <a:lnTo>
                      <a:pt x="82296" y="57912"/>
                    </a:lnTo>
                    <a:lnTo>
                      <a:pt x="82296" y="0"/>
                    </a:lnTo>
                    <a:lnTo>
                      <a:pt x="88297" y="0"/>
                    </a:lnTo>
                    <a:lnTo>
                      <a:pt x="88297" y="126302"/>
                    </a:lnTo>
                    <a:lnTo>
                      <a:pt x="82296" y="126302"/>
                    </a:lnTo>
                    <a:lnTo>
                      <a:pt x="82296" y="63246"/>
                    </a:lnTo>
                    <a:lnTo>
                      <a:pt x="6001" y="63246"/>
                    </a:lnTo>
                    <a:lnTo>
                      <a:pt x="6001"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4" name="Freeform: Shape 503">
                <a:extLst>
                  <a:ext uri="{FF2B5EF4-FFF2-40B4-BE49-F238E27FC236}">
                    <a16:creationId xmlns:a16="http://schemas.microsoft.com/office/drawing/2014/main" id="{FC817DE6-5770-41B2-91B0-0A55DC167DD0}"/>
                  </a:ext>
                </a:extLst>
              </p:cNvPr>
              <p:cNvSpPr/>
              <p:nvPr/>
            </p:nvSpPr>
            <p:spPr>
              <a:xfrm>
                <a:off x="6568154" y="3273265"/>
                <a:ext cx="6000" cy="126301"/>
              </a:xfrm>
              <a:custGeom>
                <a:avLst/>
                <a:gdLst>
                  <a:gd name="connsiteX0" fmla="*/ 0 w 6000"/>
                  <a:gd name="connsiteY0" fmla="*/ 0 h 126301"/>
                  <a:gd name="connsiteX1" fmla="*/ 6001 w 6000"/>
                  <a:gd name="connsiteY1" fmla="*/ 0 h 126301"/>
                  <a:gd name="connsiteX2" fmla="*/ 6001 w 6000"/>
                  <a:gd name="connsiteY2" fmla="*/ 126302 h 126301"/>
                  <a:gd name="connsiteX3" fmla="*/ 0 w 6000"/>
                  <a:gd name="connsiteY3" fmla="*/ 126302 h 126301"/>
                  <a:gd name="connsiteX4" fmla="*/ 0 w 6000"/>
                  <a:gd name="connsiteY4" fmla="*/ 0 h 126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301">
                    <a:moveTo>
                      <a:pt x="0" y="0"/>
                    </a:moveTo>
                    <a:lnTo>
                      <a:pt x="6001" y="0"/>
                    </a:lnTo>
                    <a:lnTo>
                      <a:pt x="6001"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5" name="Freeform: Shape 504">
                <a:extLst>
                  <a:ext uri="{FF2B5EF4-FFF2-40B4-BE49-F238E27FC236}">
                    <a16:creationId xmlns:a16="http://schemas.microsoft.com/office/drawing/2014/main" id="{186A01AF-FA44-473E-8AD7-475AC5520AB1}"/>
                  </a:ext>
                </a:extLst>
              </p:cNvPr>
              <p:cNvSpPr/>
              <p:nvPr/>
            </p:nvSpPr>
            <p:spPr>
              <a:xfrm>
                <a:off x="6601205" y="3273265"/>
                <a:ext cx="92868" cy="126301"/>
              </a:xfrm>
              <a:custGeom>
                <a:avLst/>
                <a:gdLst>
                  <a:gd name="connsiteX0" fmla="*/ 43529 w 92868"/>
                  <a:gd name="connsiteY0" fmla="*/ 5144 h 126301"/>
                  <a:gd name="connsiteX1" fmla="*/ 0 w 92868"/>
                  <a:gd name="connsiteY1" fmla="*/ 5144 h 126301"/>
                  <a:gd name="connsiteX2" fmla="*/ 0 w 92868"/>
                  <a:gd name="connsiteY2" fmla="*/ 0 h 126301"/>
                  <a:gd name="connsiteX3" fmla="*/ 92869 w 92868"/>
                  <a:gd name="connsiteY3" fmla="*/ 0 h 126301"/>
                  <a:gd name="connsiteX4" fmla="*/ 92869 w 92868"/>
                  <a:gd name="connsiteY4" fmla="*/ 5144 h 126301"/>
                  <a:gd name="connsiteX5" fmla="*/ 49340 w 92868"/>
                  <a:gd name="connsiteY5" fmla="*/ 5144 h 126301"/>
                  <a:gd name="connsiteX6" fmla="*/ 49340 w 92868"/>
                  <a:gd name="connsiteY6" fmla="*/ 126302 h 126301"/>
                  <a:gd name="connsiteX7" fmla="*/ 43529 w 92868"/>
                  <a:gd name="connsiteY7" fmla="*/ 126302 h 126301"/>
                  <a:gd name="connsiteX8" fmla="*/ 43529 w 92868"/>
                  <a:gd name="connsiteY8" fmla="*/ 5144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4"/>
                    </a:moveTo>
                    <a:lnTo>
                      <a:pt x="0" y="5144"/>
                    </a:lnTo>
                    <a:lnTo>
                      <a:pt x="0" y="0"/>
                    </a:lnTo>
                    <a:lnTo>
                      <a:pt x="92869" y="0"/>
                    </a:lnTo>
                    <a:lnTo>
                      <a:pt x="92869" y="5144"/>
                    </a:lnTo>
                    <a:lnTo>
                      <a:pt x="49340" y="5144"/>
                    </a:lnTo>
                    <a:lnTo>
                      <a:pt x="49340" y="126302"/>
                    </a:lnTo>
                    <a:lnTo>
                      <a:pt x="43529" y="126302"/>
                    </a:lnTo>
                    <a:lnTo>
                      <a:pt x="43529" y="51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6" name="Freeform: Shape 505">
                <a:extLst>
                  <a:ext uri="{FF2B5EF4-FFF2-40B4-BE49-F238E27FC236}">
                    <a16:creationId xmlns:a16="http://schemas.microsoft.com/office/drawing/2014/main" id="{3EAA5580-522B-420D-8463-87D8CAE56898}"/>
                  </a:ext>
                </a:extLst>
              </p:cNvPr>
              <p:cNvSpPr/>
              <p:nvPr/>
            </p:nvSpPr>
            <p:spPr>
              <a:xfrm>
                <a:off x="6720840" y="3273265"/>
                <a:ext cx="73247" cy="126301"/>
              </a:xfrm>
              <a:custGeom>
                <a:avLst/>
                <a:gdLst>
                  <a:gd name="connsiteX0" fmla="*/ 0 w 73247"/>
                  <a:gd name="connsiteY0" fmla="*/ 0 h 126301"/>
                  <a:gd name="connsiteX1" fmla="*/ 73057 w 73247"/>
                  <a:gd name="connsiteY1" fmla="*/ 0 h 126301"/>
                  <a:gd name="connsiteX2" fmla="*/ 73057 w 73247"/>
                  <a:gd name="connsiteY2" fmla="*/ 5144 h 126301"/>
                  <a:gd name="connsiteX3" fmla="*/ 6001 w 73247"/>
                  <a:gd name="connsiteY3" fmla="*/ 5144 h 126301"/>
                  <a:gd name="connsiteX4" fmla="*/ 6001 w 73247"/>
                  <a:gd name="connsiteY4" fmla="*/ 58865 h 126301"/>
                  <a:gd name="connsiteX5" fmla="*/ 57531 w 73247"/>
                  <a:gd name="connsiteY5" fmla="*/ 58865 h 126301"/>
                  <a:gd name="connsiteX6" fmla="*/ 57531 w 73247"/>
                  <a:gd name="connsiteY6" fmla="*/ 64103 h 126301"/>
                  <a:gd name="connsiteX7" fmla="*/ 6001 w 73247"/>
                  <a:gd name="connsiteY7" fmla="*/ 64103 h 126301"/>
                  <a:gd name="connsiteX8" fmla="*/ 6001 w 73247"/>
                  <a:gd name="connsiteY8" fmla="*/ 121158 h 126301"/>
                  <a:gd name="connsiteX9" fmla="*/ 73247 w 73247"/>
                  <a:gd name="connsiteY9" fmla="*/ 121158 h 126301"/>
                  <a:gd name="connsiteX10" fmla="*/ 73247 w 73247"/>
                  <a:gd name="connsiteY10" fmla="*/ 126302 h 126301"/>
                  <a:gd name="connsiteX11" fmla="*/ 0 w 73247"/>
                  <a:gd name="connsiteY11" fmla="*/ 126302 h 126301"/>
                  <a:gd name="connsiteX12" fmla="*/ 0 w 73247"/>
                  <a:gd name="connsiteY12"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47" h="126301">
                    <a:moveTo>
                      <a:pt x="0" y="0"/>
                    </a:moveTo>
                    <a:lnTo>
                      <a:pt x="73057" y="0"/>
                    </a:lnTo>
                    <a:lnTo>
                      <a:pt x="73057" y="5144"/>
                    </a:lnTo>
                    <a:lnTo>
                      <a:pt x="6001" y="5144"/>
                    </a:lnTo>
                    <a:lnTo>
                      <a:pt x="6001" y="58865"/>
                    </a:lnTo>
                    <a:lnTo>
                      <a:pt x="57531" y="58865"/>
                    </a:lnTo>
                    <a:lnTo>
                      <a:pt x="57531" y="64103"/>
                    </a:lnTo>
                    <a:lnTo>
                      <a:pt x="6001" y="64103"/>
                    </a:lnTo>
                    <a:lnTo>
                      <a:pt x="6001" y="121158"/>
                    </a:lnTo>
                    <a:lnTo>
                      <a:pt x="73247" y="121158"/>
                    </a:lnTo>
                    <a:lnTo>
                      <a:pt x="73247"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7" name="Freeform: Shape 506">
                <a:extLst>
                  <a:ext uri="{FF2B5EF4-FFF2-40B4-BE49-F238E27FC236}">
                    <a16:creationId xmlns:a16="http://schemas.microsoft.com/office/drawing/2014/main" id="{7424C49B-7D98-439C-BE11-4D68D907CFDD}"/>
                  </a:ext>
                </a:extLst>
              </p:cNvPr>
              <p:cNvSpPr/>
              <p:nvPr/>
            </p:nvSpPr>
            <p:spPr>
              <a:xfrm>
                <a:off x="6811422" y="3271837"/>
                <a:ext cx="86391" cy="129159"/>
              </a:xfrm>
              <a:custGeom>
                <a:avLst/>
                <a:gdLst>
                  <a:gd name="connsiteX0" fmla="*/ 0 w 86391"/>
                  <a:gd name="connsiteY0" fmla="*/ 65627 h 129159"/>
                  <a:gd name="connsiteX1" fmla="*/ 0 w 86391"/>
                  <a:gd name="connsiteY1" fmla="*/ 63246 h 129159"/>
                  <a:gd name="connsiteX2" fmla="*/ 54864 w 86391"/>
                  <a:gd name="connsiteY2" fmla="*/ 0 h 129159"/>
                  <a:gd name="connsiteX3" fmla="*/ 85439 w 86391"/>
                  <a:gd name="connsiteY3" fmla="*/ 6953 h 129159"/>
                  <a:gd name="connsiteX4" fmla="*/ 85439 w 86391"/>
                  <a:gd name="connsiteY4" fmla="*/ 12097 h 129159"/>
                  <a:gd name="connsiteX5" fmla="*/ 54674 w 86391"/>
                  <a:gd name="connsiteY5" fmla="*/ 5144 h 129159"/>
                  <a:gd name="connsiteX6" fmla="*/ 6191 w 86391"/>
                  <a:gd name="connsiteY6" fmla="*/ 62389 h 129159"/>
                  <a:gd name="connsiteX7" fmla="*/ 6191 w 86391"/>
                  <a:gd name="connsiteY7" fmla="*/ 65818 h 129159"/>
                  <a:gd name="connsiteX8" fmla="*/ 52864 w 86391"/>
                  <a:gd name="connsiteY8" fmla="*/ 124111 h 129159"/>
                  <a:gd name="connsiteX9" fmla="*/ 86392 w 86391"/>
                  <a:gd name="connsiteY9" fmla="*/ 115538 h 129159"/>
                  <a:gd name="connsiteX10" fmla="*/ 86392 w 86391"/>
                  <a:gd name="connsiteY10" fmla="*/ 120968 h 129159"/>
                  <a:gd name="connsiteX11" fmla="*/ 52292 w 86391"/>
                  <a:gd name="connsiteY11" fmla="*/ 129159 h 129159"/>
                  <a:gd name="connsiteX12" fmla="*/ 0 w 86391"/>
                  <a:gd name="connsiteY12" fmla="*/ 65532 h 12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391" h="129159">
                    <a:moveTo>
                      <a:pt x="0" y="65627"/>
                    </a:moveTo>
                    <a:lnTo>
                      <a:pt x="0" y="63246"/>
                    </a:lnTo>
                    <a:cubicBezTo>
                      <a:pt x="0" y="21336"/>
                      <a:pt x="20574" y="0"/>
                      <a:pt x="54864" y="0"/>
                    </a:cubicBezTo>
                    <a:cubicBezTo>
                      <a:pt x="69628" y="0"/>
                      <a:pt x="78200" y="2953"/>
                      <a:pt x="85439" y="6953"/>
                    </a:cubicBezTo>
                    <a:lnTo>
                      <a:pt x="85439" y="12097"/>
                    </a:lnTo>
                    <a:cubicBezTo>
                      <a:pt x="77438" y="8287"/>
                      <a:pt x="68485" y="5144"/>
                      <a:pt x="54674" y="5144"/>
                    </a:cubicBezTo>
                    <a:cubicBezTo>
                      <a:pt x="24098" y="5144"/>
                      <a:pt x="6191" y="23908"/>
                      <a:pt x="6191" y="62389"/>
                    </a:cubicBezTo>
                    <a:lnTo>
                      <a:pt x="6191" y="65818"/>
                    </a:lnTo>
                    <a:cubicBezTo>
                      <a:pt x="6191" y="103918"/>
                      <a:pt x="20574" y="124111"/>
                      <a:pt x="52864" y="124111"/>
                    </a:cubicBezTo>
                    <a:cubicBezTo>
                      <a:pt x="69818" y="124111"/>
                      <a:pt x="78581" y="119729"/>
                      <a:pt x="86392" y="115538"/>
                    </a:cubicBezTo>
                    <a:lnTo>
                      <a:pt x="86392" y="120968"/>
                    </a:lnTo>
                    <a:cubicBezTo>
                      <a:pt x="79629" y="124587"/>
                      <a:pt x="70199" y="129159"/>
                      <a:pt x="52292" y="129159"/>
                    </a:cubicBezTo>
                    <a:cubicBezTo>
                      <a:pt x="17335" y="129159"/>
                      <a:pt x="0" y="106775"/>
                      <a:pt x="0" y="65532"/>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8" name="Freeform: Shape 507">
                <a:extLst>
                  <a:ext uri="{FF2B5EF4-FFF2-40B4-BE49-F238E27FC236}">
                    <a16:creationId xmlns:a16="http://schemas.microsoft.com/office/drawing/2014/main" id="{9741FA5C-3E36-4CF6-AD2C-C7CB9762DC14}"/>
                  </a:ext>
                </a:extLst>
              </p:cNvPr>
              <p:cNvSpPr/>
              <p:nvPr/>
            </p:nvSpPr>
            <p:spPr>
              <a:xfrm>
                <a:off x="6921626" y="3273265"/>
                <a:ext cx="92868" cy="126301"/>
              </a:xfrm>
              <a:custGeom>
                <a:avLst/>
                <a:gdLst>
                  <a:gd name="connsiteX0" fmla="*/ 43529 w 92868"/>
                  <a:gd name="connsiteY0" fmla="*/ 5144 h 126301"/>
                  <a:gd name="connsiteX1" fmla="*/ 0 w 92868"/>
                  <a:gd name="connsiteY1" fmla="*/ 5144 h 126301"/>
                  <a:gd name="connsiteX2" fmla="*/ 0 w 92868"/>
                  <a:gd name="connsiteY2" fmla="*/ 0 h 126301"/>
                  <a:gd name="connsiteX3" fmla="*/ 92869 w 92868"/>
                  <a:gd name="connsiteY3" fmla="*/ 0 h 126301"/>
                  <a:gd name="connsiteX4" fmla="*/ 92869 w 92868"/>
                  <a:gd name="connsiteY4" fmla="*/ 5144 h 126301"/>
                  <a:gd name="connsiteX5" fmla="*/ 49340 w 92868"/>
                  <a:gd name="connsiteY5" fmla="*/ 5144 h 126301"/>
                  <a:gd name="connsiteX6" fmla="*/ 49340 w 92868"/>
                  <a:gd name="connsiteY6" fmla="*/ 126302 h 126301"/>
                  <a:gd name="connsiteX7" fmla="*/ 43529 w 92868"/>
                  <a:gd name="connsiteY7" fmla="*/ 126302 h 126301"/>
                  <a:gd name="connsiteX8" fmla="*/ 43529 w 92868"/>
                  <a:gd name="connsiteY8" fmla="*/ 5144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4"/>
                    </a:moveTo>
                    <a:lnTo>
                      <a:pt x="0" y="5144"/>
                    </a:lnTo>
                    <a:lnTo>
                      <a:pt x="0" y="0"/>
                    </a:lnTo>
                    <a:lnTo>
                      <a:pt x="92869" y="0"/>
                    </a:lnTo>
                    <a:lnTo>
                      <a:pt x="92869" y="5144"/>
                    </a:lnTo>
                    <a:lnTo>
                      <a:pt x="49340" y="5144"/>
                    </a:lnTo>
                    <a:lnTo>
                      <a:pt x="49340" y="126302"/>
                    </a:lnTo>
                    <a:lnTo>
                      <a:pt x="43529" y="126302"/>
                    </a:lnTo>
                    <a:lnTo>
                      <a:pt x="43529" y="51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9" name="Freeform: Shape 508">
                <a:extLst>
                  <a:ext uri="{FF2B5EF4-FFF2-40B4-BE49-F238E27FC236}">
                    <a16:creationId xmlns:a16="http://schemas.microsoft.com/office/drawing/2014/main" id="{F884224E-F606-4A2A-AC65-BAD97D1F5096}"/>
                  </a:ext>
                </a:extLst>
              </p:cNvPr>
              <p:cNvSpPr/>
              <p:nvPr/>
            </p:nvSpPr>
            <p:spPr>
              <a:xfrm>
                <a:off x="7041165" y="3273265"/>
                <a:ext cx="88201" cy="127920"/>
              </a:xfrm>
              <a:custGeom>
                <a:avLst/>
                <a:gdLst>
                  <a:gd name="connsiteX0" fmla="*/ 0 w 88201"/>
                  <a:gd name="connsiteY0" fmla="*/ 84011 h 127920"/>
                  <a:gd name="connsiteX1" fmla="*/ 0 w 88201"/>
                  <a:gd name="connsiteY1" fmla="*/ 0 h 127920"/>
                  <a:gd name="connsiteX2" fmla="*/ 6001 w 88201"/>
                  <a:gd name="connsiteY2" fmla="*/ 0 h 127920"/>
                  <a:gd name="connsiteX3" fmla="*/ 6001 w 88201"/>
                  <a:gd name="connsiteY3" fmla="*/ 83630 h 127920"/>
                  <a:gd name="connsiteX4" fmla="*/ 44482 w 88201"/>
                  <a:gd name="connsiteY4" fmla="*/ 122777 h 127920"/>
                  <a:gd name="connsiteX5" fmla="*/ 82582 w 88201"/>
                  <a:gd name="connsiteY5" fmla="*/ 83630 h 127920"/>
                  <a:gd name="connsiteX6" fmla="*/ 82582 w 88201"/>
                  <a:gd name="connsiteY6" fmla="*/ 0 h 127920"/>
                  <a:gd name="connsiteX7" fmla="*/ 88202 w 88201"/>
                  <a:gd name="connsiteY7" fmla="*/ 0 h 127920"/>
                  <a:gd name="connsiteX8" fmla="*/ 88202 w 88201"/>
                  <a:gd name="connsiteY8" fmla="*/ 83820 h 127920"/>
                  <a:gd name="connsiteX9" fmla="*/ 44291 w 88201"/>
                  <a:gd name="connsiteY9" fmla="*/ 127921 h 127920"/>
                  <a:gd name="connsiteX10" fmla="*/ 0 w 88201"/>
                  <a:gd name="connsiteY10" fmla="*/ 84011 h 12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01" h="127920">
                    <a:moveTo>
                      <a:pt x="0" y="84011"/>
                    </a:moveTo>
                    <a:lnTo>
                      <a:pt x="0" y="0"/>
                    </a:lnTo>
                    <a:lnTo>
                      <a:pt x="6001" y="0"/>
                    </a:lnTo>
                    <a:lnTo>
                      <a:pt x="6001" y="83630"/>
                    </a:lnTo>
                    <a:cubicBezTo>
                      <a:pt x="6001" y="112205"/>
                      <a:pt x="20003" y="122777"/>
                      <a:pt x="44482" y="122777"/>
                    </a:cubicBezTo>
                    <a:cubicBezTo>
                      <a:pt x="68961" y="122777"/>
                      <a:pt x="82582" y="112395"/>
                      <a:pt x="82582" y="83630"/>
                    </a:cubicBezTo>
                    <a:lnTo>
                      <a:pt x="82582" y="0"/>
                    </a:lnTo>
                    <a:lnTo>
                      <a:pt x="88202" y="0"/>
                    </a:lnTo>
                    <a:lnTo>
                      <a:pt x="88202" y="83820"/>
                    </a:lnTo>
                    <a:cubicBezTo>
                      <a:pt x="88202" y="114586"/>
                      <a:pt x="72581" y="127921"/>
                      <a:pt x="44291" y="127921"/>
                    </a:cubicBezTo>
                    <a:cubicBezTo>
                      <a:pt x="16002" y="127921"/>
                      <a:pt x="0" y="114395"/>
                      <a:pt x="0" y="84011"/>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0" name="Freeform: Shape 509">
                <a:extLst>
                  <a:ext uri="{FF2B5EF4-FFF2-40B4-BE49-F238E27FC236}">
                    <a16:creationId xmlns:a16="http://schemas.microsoft.com/office/drawing/2014/main" id="{C256BDA3-A3A5-41E9-9F42-63934E5B275A}"/>
                  </a:ext>
                </a:extLst>
              </p:cNvPr>
              <p:cNvSpPr/>
              <p:nvPr/>
            </p:nvSpPr>
            <p:spPr>
              <a:xfrm>
                <a:off x="7166228" y="3273265"/>
                <a:ext cx="80962" cy="126301"/>
              </a:xfrm>
              <a:custGeom>
                <a:avLst/>
                <a:gdLst>
                  <a:gd name="connsiteX0" fmla="*/ 95 w 80962"/>
                  <a:gd name="connsiteY0" fmla="*/ 0 h 126301"/>
                  <a:gd name="connsiteX1" fmla="*/ 34004 w 80962"/>
                  <a:gd name="connsiteY1" fmla="*/ 0 h 126301"/>
                  <a:gd name="connsiteX2" fmla="*/ 72962 w 80962"/>
                  <a:gd name="connsiteY2" fmla="*/ 33338 h 126301"/>
                  <a:gd name="connsiteX3" fmla="*/ 44196 w 80962"/>
                  <a:gd name="connsiteY3" fmla="*/ 67056 h 126301"/>
                  <a:gd name="connsiteX4" fmla="*/ 44196 w 80962"/>
                  <a:gd name="connsiteY4" fmla="*/ 67437 h 126301"/>
                  <a:gd name="connsiteX5" fmla="*/ 80963 w 80962"/>
                  <a:gd name="connsiteY5" fmla="*/ 126302 h 126301"/>
                  <a:gd name="connsiteX6" fmla="*/ 74200 w 80962"/>
                  <a:gd name="connsiteY6" fmla="*/ 126302 h 126301"/>
                  <a:gd name="connsiteX7" fmla="*/ 38100 w 80962"/>
                  <a:gd name="connsiteY7" fmla="*/ 68390 h 126301"/>
                  <a:gd name="connsiteX8" fmla="*/ 6001 w 80962"/>
                  <a:gd name="connsiteY8" fmla="*/ 68390 h 126301"/>
                  <a:gd name="connsiteX9" fmla="*/ 6001 w 80962"/>
                  <a:gd name="connsiteY9" fmla="*/ 126302 h 126301"/>
                  <a:gd name="connsiteX10" fmla="*/ 0 w 80962"/>
                  <a:gd name="connsiteY10" fmla="*/ 126302 h 126301"/>
                  <a:gd name="connsiteX11" fmla="*/ 0 w 80962"/>
                  <a:gd name="connsiteY11" fmla="*/ 0 h 126301"/>
                  <a:gd name="connsiteX12" fmla="*/ 34195 w 80962"/>
                  <a:gd name="connsiteY12" fmla="*/ 63246 h 126301"/>
                  <a:gd name="connsiteX13" fmla="*/ 66770 w 80962"/>
                  <a:gd name="connsiteY13" fmla="*/ 33338 h 126301"/>
                  <a:gd name="connsiteX14" fmla="*/ 33814 w 80962"/>
                  <a:gd name="connsiteY14" fmla="*/ 5144 h 126301"/>
                  <a:gd name="connsiteX15" fmla="*/ 6096 w 80962"/>
                  <a:gd name="connsiteY15" fmla="*/ 5144 h 126301"/>
                  <a:gd name="connsiteX16" fmla="*/ 6096 w 80962"/>
                  <a:gd name="connsiteY16" fmla="*/ 63246 h 126301"/>
                  <a:gd name="connsiteX17" fmla="*/ 34100 w 80962"/>
                  <a:gd name="connsiteY17" fmla="*/ 63246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62" h="126301">
                    <a:moveTo>
                      <a:pt x="95" y="0"/>
                    </a:moveTo>
                    <a:lnTo>
                      <a:pt x="34004" y="0"/>
                    </a:lnTo>
                    <a:cubicBezTo>
                      <a:pt x="62199" y="0"/>
                      <a:pt x="72962" y="14192"/>
                      <a:pt x="72962" y="33338"/>
                    </a:cubicBezTo>
                    <a:cubicBezTo>
                      <a:pt x="72962" y="51149"/>
                      <a:pt x="64961" y="63437"/>
                      <a:pt x="44196" y="67056"/>
                    </a:cubicBezTo>
                    <a:lnTo>
                      <a:pt x="44196" y="67437"/>
                    </a:lnTo>
                    <a:lnTo>
                      <a:pt x="80963" y="126302"/>
                    </a:lnTo>
                    <a:lnTo>
                      <a:pt x="74200" y="126302"/>
                    </a:lnTo>
                    <a:lnTo>
                      <a:pt x="38100" y="68390"/>
                    </a:lnTo>
                    <a:lnTo>
                      <a:pt x="6001" y="68390"/>
                    </a:lnTo>
                    <a:lnTo>
                      <a:pt x="6001" y="126302"/>
                    </a:lnTo>
                    <a:lnTo>
                      <a:pt x="0" y="126302"/>
                    </a:lnTo>
                    <a:lnTo>
                      <a:pt x="0" y="0"/>
                    </a:lnTo>
                    <a:close/>
                    <a:moveTo>
                      <a:pt x="34195" y="63246"/>
                    </a:moveTo>
                    <a:cubicBezTo>
                      <a:pt x="59341" y="63246"/>
                      <a:pt x="66770" y="49911"/>
                      <a:pt x="66770" y="33338"/>
                    </a:cubicBezTo>
                    <a:cubicBezTo>
                      <a:pt x="66770" y="16764"/>
                      <a:pt x="58388" y="5144"/>
                      <a:pt x="33814" y="5144"/>
                    </a:cubicBezTo>
                    <a:lnTo>
                      <a:pt x="6096" y="5144"/>
                    </a:lnTo>
                    <a:lnTo>
                      <a:pt x="6096" y="63246"/>
                    </a:lnTo>
                    <a:lnTo>
                      <a:pt x="34100" y="6324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1" name="Freeform: Shape 510">
                <a:extLst>
                  <a:ext uri="{FF2B5EF4-FFF2-40B4-BE49-F238E27FC236}">
                    <a16:creationId xmlns:a16="http://schemas.microsoft.com/office/drawing/2014/main" id="{113DAD99-64A6-4F5E-B638-66DA870F2C22}"/>
                  </a:ext>
                </a:extLst>
              </p:cNvPr>
              <p:cNvSpPr/>
              <p:nvPr/>
            </p:nvSpPr>
            <p:spPr>
              <a:xfrm>
                <a:off x="7269194" y="3273265"/>
                <a:ext cx="101631" cy="126206"/>
              </a:xfrm>
              <a:custGeom>
                <a:avLst/>
                <a:gdLst>
                  <a:gd name="connsiteX0" fmla="*/ 47911 w 101631"/>
                  <a:gd name="connsiteY0" fmla="*/ 0 h 126206"/>
                  <a:gd name="connsiteX1" fmla="*/ 53721 w 101631"/>
                  <a:gd name="connsiteY1" fmla="*/ 0 h 126206"/>
                  <a:gd name="connsiteX2" fmla="*/ 101632 w 101631"/>
                  <a:gd name="connsiteY2" fmla="*/ 126206 h 126206"/>
                  <a:gd name="connsiteX3" fmla="*/ 95250 w 101631"/>
                  <a:gd name="connsiteY3" fmla="*/ 126206 h 126206"/>
                  <a:gd name="connsiteX4" fmla="*/ 79057 w 101631"/>
                  <a:gd name="connsiteY4" fmla="*/ 83249 h 126206"/>
                  <a:gd name="connsiteX5" fmla="*/ 22003 w 101631"/>
                  <a:gd name="connsiteY5" fmla="*/ 83249 h 126206"/>
                  <a:gd name="connsiteX6" fmla="*/ 5810 w 101631"/>
                  <a:gd name="connsiteY6" fmla="*/ 126206 h 126206"/>
                  <a:gd name="connsiteX7" fmla="*/ 0 w 101631"/>
                  <a:gd name="connsiteY7" fmla="*/ 126206 h 126206"/>
                  <a:gd name="connsiteX8" fmla="*/ 47911 w 101631"/>
                  <a:gd name="connsiteY8" fmla="*/ 0 h 126206"/>
                  <a:gd name="connsiteX9" fmla="*/ 24003 w 101631"/>
                  <a:gd name="connsiteY9" fmla="*/ 78010 h 126206"/>
                  <a:gd name="connsiteX10" fmla="*/ 77057 w 101631"/>
                  <a:gd name="connsiteY10" fmla="*/ 78010 h 126206"/>
                  <a:gd name="connsiteX11" fmla="*/ 50863 w 101631"/>
                  <a:gd name="connsiteY11" fmla="*/ 8382 h 126206"/>
                  <a:gd name="connsiteX12" fmla="*/ 50482 w 101631"/>
                  <a:gd name="connsiteY12" fmla="*/ 8382 h 126206"/>
                  <a:gd name="connsiteX13" fmla="*/ 24098 w 101631"/>
                  <a:gd name="connsiteY13" fmla="*/ 7801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631" h="126206">
                    <a:moveTo>
                      <a:pt x="47911" y="0"/>
                    </a:moveTo>
                    <a:lnTo>
                      <a:pt x="53721" y="0"/>
                    </a:lnTo>
                    <a:lnTo>
                      <a:pt x="101632" y="126206"/>
                    </a:lnTo>
                    <a:lnTo>
                      <a:pt x="95250" y="126206"/>
                    </a:lnTo>
                    <a:lnTo>
                      <a:pt x="79057" y="83249"/>
                    </a:lnTo>
                    <a:lnTo>
                      <a:pt x="22003" y="83249"/>
                    </a:lnTo>
                    <a:lnTo>
                      <a:pt x="5810" y="126206"/>
                    </a:lnTo>
                    <a:lnTo>
                      <a:pt x="0" y="126206"/>
                    </a:lnTo>
                    <a:lnTo>
                      <a:pt x="47911" y="0"/>
                    </a:lnTo>
                    <a:close/>
                    <a:moveTo>
                      <a:pt x="24003" y="78010"/>
                    </a:moveTo>
                    <a:lnTo>
                      <a:pt x="77057" y="78010"/>
                    </a:lnTo>
                    <a:lnTo>
                      <a:pt x="50863" y="8382"/>
                    </a:lnTo>
                    <a:lnTo>
                      <a:pt x="50482" y="8382"/>
                    </a:lnTo>
                    <a:lnTo>
                      <a:pt x="24098" y="780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2" name="Freeform: Shape 511">
                <a:extLst>
                  <a:ext uri="{FF2B5EF4-FFF2-40B4-BE49-F238E27FC236}">
                    <a16:creationId xmlns:a16="http://schemas.microsoft.com/office/drawing/2014/main" id="{51B0AEE0-3D91-4255-B0FA-6752B9DA6D3E}"/>
                  </a:ext>
                </a:extLst>
              </p:cNvPr>
              <p:cNvSpPr/>
              <p:nvPr/>
            </p:nvSpPr>
            <p:spPr>
              <a:xfrm>
                <a:off x="7397496" y="3273265"/>
                <a:ext cx="70294" cy="126301"/>
              </a:xfrm>
              <a:custGeom>
                <a:avLst/>
                <a:gdLst>
                  <a:gd name="connsiteX0" fmla="*/ 0 w 70294"/>
                  <a:gd name="connsiteY0" fmla="*/ 0 h 126301"/>
                  <a:gd name="connsiteX1" fmla="*/ 6001 w 70294"/>
                  <a:gd name="connsiteY1" fmla="*/ 0 h 126301"/>
                  <a:gd name="connsiteX2" fmla="*/ 6001 w 70294"/>
                  <a:gd name="connsiteY2" fmla="*/ 121158 h 126301"/>
                  <a:gd name="connsiteX3" fmla="*/ 70294 w 70294"/>
                  <a:gd name="connsiteY3" fmla="*/ 121158 h 126301"/>
                  <a:gd name="connsiteX4" fmla="*/ 70294 w 70294"/>
                  <a:gd name="connsiteY4" fmla="*/ 126302 h 126301"/>
                  <a:gd name="connsiteX5" fmla="*/ 0 w 70294"/>
                  <a:gd name="connsiteY5" fmla="*/ 126302 h 126301"/>
                  <a:gd name="connsiteX6" fmla="*/ 0 w 70294"/>
                  <a:gd name="connsiteY6"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94" h="126301">
                    <a:moveTo>
                      <a:pt x="0" y="0"/>
                    </a:moveTo>
                    <a:lnTo>
                      <a:pt x="6001" y="0"/>
                    </a:lnTo>
                    <a:lnTo>
                      <a:pt x="6001" y="121158"/>
                    </a:lnTo>
                    <a:lnTo>
                      <a:pt x="70294" y="121158"/>
                    </a:lnTo>
                    <a:lnTo>
                      <a:pt x="70294"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3" name="Freeform: Shape 512">
                <a:extLst>
                  <a:ext uri="{FF2B5EF4-FFF2-40B4-BE49-F238E27FC236}">
                    <a16:creationId xmlns:a16="http://schemas.microsoft.com/office/drawing/2014/main" id="{8950A3F9-9BEB-47B3-8E3F-818565EADDC7}"/>
                  </a:ext>
                </a:extLst>
              </p:cNvPr>
              <p:cNvSpPr/>
              <p:nvPr/>
            </p:nvSpPr>
            <p:spPr>
              <a:xfrm>
                <a:off x="6109239" y="3455479"/>
                <a:ext cx="70294" cy="126301"/>
              </a:xfrm>
              <a:custGeom>
                <a:avLst/>
                <a:gdLst>
                  <a:gd name="connsiteX0" fmla="*/ 0 w 70294"/>
                  <a:gd name="connsiteY0" fmla="*/ 0 h 126301"/>
                  <a:gd name="connsiteX1" fmla="*/ 6001 w 70294"/>
                  <a:gd name="connsiteY1" fmla="*/ 0 h 126301"/>
                  <a:gd name="connsiteX2" fmla="*/ 6001 w 70294"/>
                  <a:gd name="connsiteY2" fmla="*/ 121158 h 126301"/>
                  <a:gd name="connsiteX3" fmla="*/ 70295 w 70294"/>
                  <a:gd name="connsiteY3" fmla="*/ 121158 h 126301"/>
                  <a:gd name="connsiteX4" fmla="*/ 70295 w 70294"/>
                  <a:gd name="connsiteY4" fmla="*/ 126302 h 126301"/>
                  <a:gd name="connsiteX5" fmla="*/ 0 w 70294"/>
                  <a:gd name="connsiteY5" fmla="*/ 126302 h 126301"/>
                  <a:gd name="connsiteX6" fmla="*/ 0 w 70294"/>
                  <a:gd name="connsiteY6" fmla="*/ 95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94" h="126301">
                    <a:moveTo>
                      <a:pt x="0" y="0"/>
                    </a:moveTo>
                    <a:lnTo>
                      <a:pt x="6001" y="0"/>
                    </a:lnTo>
                    <a:lnTo>
                      <a:pt x="6001" y="121158"/>
                    </a:lnTo>
                    <a:lnTo>
                      <a:pt x="70295" y="121158"/>
                    </a:lnTo>
                    <a:lnTo>
                      <a:pt x="70295" y="126302"/>
                    </a:lnTo>
                    <a:lnTo>
                      <a:pt x="0" y="126302"/>
                    </a:lnTo>
                    <a:lnTo>
                      <a:pt x="0" y="9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4" name="Freeform: Shape 513">
                <a:extLst>
                  <a:ext uri="{FF2B5EF4-FFF2-40B4-BE49-F238E27FC236}">
                    <a16:creationId xmlns:a16="http://schemas.microsoft.com/office/drawing/2014/main" id="{7FE1D62F-E53F-4F1B-8D0F-483F539378AD}"/>
                  </a:ext>
                </a:extLst>
              </p:cNvPr>
              <p:cNvSpPr/>
              <p:nvPr/>
            </p:nvSpPr>
            <p:spPr>
              <a:xfrm>
                <a:off x="6207823" y="3455479"/>
                <a:ext cx="6000" cy="126206"/>
              </a:xfrm>
              <a:custGeom>
                <a:avLst/>
                <a:gdLst>
                  <a:gd name="connsiteX0" fmla="*/ 0 w 6000"/>
                  <a:gd name="connsiteY0" fmla="*/ 0 h 126206"/>
                  <a:gd name="connsiteX1" fmla="*/ 6001 w 6000"/>
                  <a:gd name="connsiteY1" fmla="*/ 0 h 126206"/>
                  <a:gd name="connsiteX2" fmla="*/ 6001 w 6000"/>
                  <a:gd name="connsiteY2" fmla="*/ 126206 h 126206"/>
                  <a:gd name="connsiteX3" fmla="*/ 0 w 6000"/>
                  <a:gd name="connsiteY3" fmla="*/ 126206 h 126206"/>
                  <a:gd name="connsiteX4" fmla="*/ 0 w 6000"/>
                  <a:gd name="connsiteY4" fmla="*/ 0 h 12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206">
                    <a:moveTo>
                      <a:pt x="0" y="0"/>
                    </a:moveTo>
                    <a:lnTo>
                      <a:pt x="6001" y="0"/>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5" name="Freeform: Shape 514">
                <a:extLst>
                  <a:ext uri="{FF2B5EF4-FFF2-40B4-BE49-F238E27FC236}">
                    <a16:creationId xmlns:a16="http://schemas.microsoft.com/office/drawing/2014/main" id="{356A0050-0455-4236-A7BB-36001CC3708E}"/>
                  </a:ext>
                </a:extLst>
              </p:cNvPr>
              <p:cNvSpPr/>
              <p:nvPr/>
            </p:nvSpPr>
            <p:spPr>
              <a:xfrm>
                <a:off x="6245733" y="3454050"/>
                <a:ext cx="92487" cy="128968"/>
              </a:xfrm>
              <a:custGeom>
                <a:avLst/>
                <a:gdLst>
                  <a:gd name="connsiteX0" fmla="*/ 0 w 92487"/>
                  <a:gd name="connsiteY0" fmla="*/ 66104 h 128968"/>
                  <a:gd name="connsiteX1" fmla="*/ 0 w 92487"/>
                  <a:gd name="connsiteY1" fmla="*/ 63722 h 128968"/>
                  <a:gd name="connsiteX2" fmla="*/ 56483 w 92487"/>
                  <a:gd name="connsiteY2" fmla="*/ 0 h 128968"/>
                  <a:gd name="connsiteX3" fmla="*/ 88201 w 92487"/>
                  <a:gd name="connsiteY3" fmla="*/ 6382 h 128968"/>
                  <a:gd name="connsiteX4" fmla="*/ 88201 w 92487"/>
                  <a:gd name="connsiteY4" fmla="*/ 11621 h 128968"/>
                  <a:gd name="connsiteX5" fmla="*/ 56102 w 92487"/>
                  <a:gd name="connsiteY5" fmla="*/ 5048 h 128968"/>
                  <a:gd name="connsiteX6" fmla="*/ 6191 w 92487"/>
                  <a:gd name="connsiteY6" fmla="*/ 62960 h 128968"/>
                  <a:gd name="connsiteX7" fmla="*/ 6191 w 92487"/>
                  <a:gd name="connsiteY7" fmla="*/ 66008 h 128968"/>
                  <a:gd name="connsiteX8" fmla="*/ 56864 w 92487"/>
                  <a:gd name="connsiteY8" fmla="*/ 123920 h 128968"/>
                  <a:gd name="connsiteX9" fmla="*/ 86582 w 92487"/>
                  <a:gd name="connsiteY9" fmla="*/ 119348 h 128968"/>
                  <a:gd name="connsiteX10" fmla="*/ 86582 w 92487"/>
                  <a:gd name="connsiteY10" fmla="*/ 76200 h 128968"/>
                  <a:gd name="connsiteX11" fmla="*/ 56197 w 92487"/>
                  <a:gd name="connsiteY11" fmla="*/ 76200 h 128968"/>
                  <a:gd name="connsiteX12" fmla="*/ 56197 w 92487"/>
                  <a:gd name="connsiteY12" fmla="*/ 71057 h 128968"/>
                  <a:gd name="connsiteX13" fmla="*/ 92488 w 92487"/>
                  <a:gd name="connsiteY13" fmla="*/ 71057 h 128968"/>
                  <a:gd name="connsiteX14" fmla="*/ 92488 w 92487"/>
                  <a:gd name="connsiteY14" fmla="*/ 122968 h 128968"/>
                  <a:gd name="connsiteX15" fmla="*/ 56769 w 92487"/>
                  <a:gd name="connsiteY15" fmla="*/ 128968 h 128968"/>
                  <a:gd name="connsiteX16" fmla="*/ 95 w 92487"/>
                  <a:gd name="connsiteY16" fmla="*/ 65913 h 1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487" h="128968">
                    <a:moveTo>
                      <a:pt x="0" y="66104"/>
                    </a:moveTo>
                    <a:lnTo>
                      <a:pt x="0" y="63722"/>
                    </a:lnTo>
                    <a:cubicBezTo>
                      <a:pt x="0" y="21241"/>
                      <a:pt x="22193" y="0"/>
                      <a:pt x="56483" y="0"/>
                    </a:cubicBezTo>
                    <a:cubicBezTo>
                      <a:pt x="73057" y="0"/>
                      <a:pt x="81058" y="3143"/>
                      <a:pt x="88201" y="6382"/>
                    </a:cubicBezTo>
                    <a:lnTo>
                      <a:pt x="88201" y="11621"/>
                    </a:lnTo>
                    <a:cubicBezTo>
                      <a:pt x="80581" y="8192"/>
                      <a:pt x="72009" y="5048"/>
                      <a:pt x="56102" y="5048"/>
                    </a:cubicBezTo>
                    <a:cubicBezTo>
                      <a:pt x="22955" y="5048"/>
                      <a:pt x="6191" y="27432"/>
                      <a:pt x="6191" y="62960"/>
                    </a:cubicBezTo>
                    <a:lnTo>
                      <a:pt x="6191" y="66008"/>
                    </a:lnTo>
                    <a:cubicBezTo>
                      <a:pt x="6191" y="102299"/>
                      <a:pt x="20574" y="123920"/>
                      <a:pt x="56864" y="123920"/>
                    </a:cubicBezTo>
                    <a:cubicBezTo>
                      <a:pt x="68485" y="123920"/>
                      <a:pt x="78200" y="122111"/>
                      <a:pt x="86582" y="119348"/>
                    </a:cubicBezTo>
                    <a:lnTo>
                      <a:pt x="86582" y="76200"/>
                    </a:lnTo>
                    <a:lnTo>
                      <a:pt x="56197" y="76200"/>
                    </a:lnTo>
                    <a:lnTo>
                      <a:pt x="56197" y="71057"/>
                    </a:lnTo>
                    <a:lnTo>
                      <a:pt x="92488" y="71057"/>
                    </a:lnTo>
                    <a:lnTo>
                      <a:pt x="92488" y="122968"/>
                    </a:lnTo>
                    <a:cubicBezTo>
                      <a:pt x="82296" y="126587"/>
                      <a:pt x="70961" y="128968"/>
                      <a:pt x="56769" y="128968"/>
                    </a:cubicBezTo>
                    <a:cubicBezTo>
                      <a:pt x="19431" y="128968"/>
                      <a:pt x="95" y="107061"/>
                      <a:pt x="95" y="65913"/>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6" name="Freeform: Shape 515">
                <a:extLst>
                  <a:ext uri="{FF2B5EF4-FFF2-40B4-BE49-F238E27FC236}">
                    <a16:creationId xmlns:a16="http://schemas.microsoft.com/office/drawing/2014/main" id="{ED88CE20-6362-4A6D-B5BC-451E55A8ECA9}"/>
                  </a:ext>
                </a:extLst>
              </p:cNvPr>
              <p:cNvSpPr/>
              <p:nvPr/>
            </p:nvSpPr>
            <p:spPr>
              <a:xfrm>
                <a:off x="6371939" y="3455479"/>
                <a:ext cx="88296" cy="126206"/>
              </a:xfrm>
              <a:custGeom>
                <a:avLst/>
                <a:gdLst>
                  <a:gd name="connsiteX0" fmla="*/ 0 w 88296"/>
                  <a:gd name="connsiteY0" fmla="*/ 0 h 126206"/>
                  <a:gd name="connsiteX1" fmla="*/ 6001 w 88296"/>
                  <a:gd name="connsiteY1" fmla="*/ 0 h 126206"/>
                  <a:gd name="connsiteX2" fmla="*/ 6001 w 88296"/>
                  <a:gd name="connsiteY2" fmla="*/ 57912 h 126206"/>
                  <a:gd name="connsiteX3" fmla="*/ 82296 w 88296"/>
                  <a:gd name="connsiteY3" fmla="*/ 57912 h 126206"/>
                  <a:gd name="connsiteX4" fmla="*/ 82296 w 88296"/>
                  <a:gd name="connsiteY4" fmla="*/ 0 h 126206"/>
                  <a:gd name="connsiteX5" fmla="*/ 88297 w 88296"/>
                  <a:gd name="connsiteY5" fmla="*/ 0 h 126206"/>
                  <a:gd name="connsiteX6" fmla="*/ 88297 w 88296"/>
                  <a:gd name="connsiteY6" fmla="*/ 126206 h 126206"/>
                  <a:gd name="connsiteX7" fmla="*/ 82296 w 88296"/>
                  <a:gd name="connsiteY7" fmla="*/ 126206 h 126206"/>
                  <a:gd name="connsiteX8" fmla="*/ 82296 w 88296"/>
                  <a:gd name="connsiteY8" fmla="*/ 63151 h 126206"/>
                  <a:gd name="connsiteX9" fmla="*/ 6001 w 88296"/>
                  <a:gd name="connsiteY9" fmla="*/ 63151 h 126206"/>
                  <a:gd name="connsiteX10" fmla="*/ 6001 w 88296"/>
                  <a:gd name="connsiteY10" fmla="*/ 126206 h 126206"/>
                  <a:gd name="connsiteX11" fmla="*/ 0 w 88296"/>
                  <a:gd name="connsiteY11" fmla="*/ 126206 h 126206"/>
                  <a:gd name="connsiteX12" fmla="*/ 0 w 88296"/>
                  <a:gd name="connsiteY12" fmla="*/ 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96" h="126206">
                    <a:moveTo>
                      <a:pt x="0" y="0"/>
                    </a:moveTo>
                    <a:lnTo>
                      <a:pt x="6001" y="0"/>
                    </a:lnTo>
                    <a:lnTo>
                      <a:pt x="6001" y="57912"/>
                    </a:lnTo>
                    <a:lnTo>
                      <a:pt x="82296" y="57912"/>
                    </a:lnTo>
                    <a:lnTo>
                      <a:pt x="82296" y="0"/>
                    </a:lnTo>
                    <a:lnTo>
                      <a:pt x="88297" y="0"/>
                    </a:lnTo>
                    <a:lnTo>
                      <a:pt x="88297" y="126206"/>
                    </a:lnTo>
                    <a:lnTo>
                      <a:pt x="82296" y="126206"/>
                    </a:lnTo>
                    <a:lnTo>
                      <a:pt x="82296" y="63151"/>
                    </a:lnTo>
                    <a:lnTo>
                      <a:pt x="6001" y="63151"/>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7" name="Freeform: Shape 516">
                <a:extLst>
                  <a:ext uri="{FF2B5EF4-FFF2-40B4-BE49-F238E27FC236}">
                    <a16:creationId xmlns:a16="http://schemas.microsoft.com/office/drawing/2014/main" id="{E0024FB9-EB52-4BF3-870A-52DC08AE5724}"/>
                  </a:ext>
                </a:extLst>
              </p:cNvPr>
              <p:cNvSpPr/>
              <p:nvPr/>
            </p:nvSpPr>
            <p:spPr>
              <a:xfrm>
                <a:off x="6487096" y="3455479"/>
                <a:ext cx="92868" cy="126301"/>
              </a:xfrm>
              <a:custGeom>
                <a:avLst/>
                <a:gdLst>
                  <a:gd name="connsiteX0" fmla="*/ 43529 w 92868"/>
                  <a:gd name="connsiteY0" fmla="*/ 5143 h 126301"/>
                  <a:gd name="connsiteX1" fmla="*/ 0 w 92868"/>
                  <a:gd name="connsiteY1" fmla="*/ 5143 h 126301"/>
                  <a:gd name="connsiteX2" fmla="*/ 0 w 92868"/>
                  <a:gd name="connsiteY2" fmla="*/ 0 h 126301"/>
                  <a:gd name="connsiteX3" fmla="*/ 92869 w 92868"/>
                  <a:gd name="connsiteY3" fmla="*/ 0 h 126301"/>
                  <a:gd name="connsiteX4" fmla="*/ 92869 w 92868"/>
                  <a:gd name="connsiteY4" fmla="*/ 5143 h 126301"/>
                  <a:gd name="connsiteX5" fmla="*/ 49340 w 92868"/>
                  <a:gd name="connsiteY5" fmla="*/ 5143 h 126301"/>
                  <a:gd name="connsiteX6" fmla="*/ 49340 w 92868"/>
                  <a:gd name="connsiteY6" fmla="*/ 126302 h 126301"/>
                  <a:gd name="connsiteX7" fmla="*/ 43529 w 92868"/>
                  <a:gd name="connsiteY7" fmla="*/ 126302 h 126301"/>
                  <a:gd name="connsiteX8" fmla="*/ 43529 w 92868"/>
                  <a:gd name="connsiteY8" fmla="*/ 5143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3"/>
                    </a:moveTo>
                    <a:lnTo>
                      <a:pt x="0" y="5143"/>
                    </a:lnTo>
                    <a:lnTo>
                      <a:pt x="0" y="0"/>
                    </a:lnTo>
                    <a:lnTo>
                      <a:pt x="92869" y="0"/>
                    </a:lnTo>
                    <a:lnTo>
                      <a:pt x="92869" y="5143"/>
                    </a:lnTo>
                    <a:lnTo>
                      <a:pt x="49340" y="5143"/>
                    </a:lnTo>
                    <a:lnTo>
                      <a:pt x="49340" y="126302"/>
                    </a:lnTo>
                    <a:lnTo>
                      <a:pt x="43529" y="126302"/>
                    </a:lnTo>
                    <a:lnTo>
                      <a:pt x="43529" y="514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8" name="Freeform: Shape 517">
                <a:extLst>
                  <a:ext uri="{FF2B5EF4-FFF2-40B4-BE49-F238E27FC236}">
                    <a16:creationId xmlns:a16="http://schemas.microsoft.com/office/drawing/2014/main" id="{408CDB08-3E90-4C43-A343-EC1CCC0BF430}"/>
                  </a:ext>
                </a:extLst>
              </p:cNvPr>
              <p:cNvSpPr/>
              <p:nvPr/>
            </p:nvSpPr>
            <p:spPr>
              <a:xfrm>
                <a:off x="6607206" y="3455479"/>
                <a:ext cx="6000" cy="126206"/>
              </a:xfrm>
              <a:custGeom>
                <a:avLst/>
                <a:gdLst>
                  <a:gd name="connsiteX0" fmla="*/ 0 w 6000"/>
                  <a:gd name="connsiteY0" fmla="*/ 0 h 126206"/>
                  <a:gd name="connsiteX1" fmla="*/ 6001 w 6000"/>
                  <a:gd name="connsiteY1" fmla="*/ 0 h 126206"/>
                  <a:gd name="connsiteX2" fmla="*/ 6001 w 6000"/>
                  <a:gd name="connsiteY2" fmla="*/ 126206 h 126206"/>
                  <a:gd name="connsiteX3" fmla="*/ 0 w 6000"/>
                  <a:gd name="connsiteY3" fmla="*/ 126206 h 126206"/>
                  <a:gd name="connsiteX4" fmla="*/ 0 w 6000"/>
                  <a:gd name="connsiteY4" fmla="*/ 0 h 12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206">
                    <a:moveTo>
                      <a:pt x="0" y="0"/>
                    </a:moveTo>
                    <a:lnTo>
                      <a:pt x="6001" y="0"/>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19" name="Freeform: Shape 518">
                <a:extLst>
                  <a:ext uri="{FF2B5EF4-FFF2-40B4-BE49-F238E27FC236}">
                    <a16:creationId xmlns:a16="http://schemas.microsoft.com/office/drawing/2014/main" id="{F8BAD57E-A482-4572-9BA6-01709DDD072B}"/>
                  </a:ext>
                </a:extLst>
              </p:cNvPr>
              <p:cNvSpPr/>
              <p:nvPr/>
            </p:nvSpPr>
            <p:spPr>
              <a:xfrm>
                <a:off x="6650736" y="3455479"/>
                <a:ext cx="88868" cy="126206"/>
              </a:xfrm>
              <a:custGeom>
                <a:avLst/>
                <a:gdLst>
                  <a:gd name="connsiteX0" fmla="*/ 0 w 88868"/>
                  <a:gd name="connsiteY0" fmla="*/ 0 h 126206"/>
                  <a:gd name="connsiteX1" fmla="*/ 7429 w 88868"/>
                  <a:gd name="connsiteY1" fmla="*/ 0 h 126206"/>
                  <a:gd name="connsiteX2" fmla="*/ 83058 w 88868"/>
                  <a:gd name="connsiteY2" fmla="*/ 116395 h 126206"/>
                  <a:gd name="connsiteX3" fmla="*/ 83248 w 88868"/>
                  <a:gd name="connsiteY3" fmla="*/ 116395 h 126206"/>
                  <a:gd name="connsiteX4" fmla="*/ 83248 w 88868"/>
                  <a:gd name="connsiteY4" fmla="*/ 0 h 126206"/>
                  <a:gd name="connsiteX5" fmla="*/ 88868 w 88868"/>
                  <a:gd name="connsiteY5" fmla="*/ 0 h 126206"/>
                  <a:gd name="connsiteX6" fmla="*/ 88868 w 88868"/>
                  <a:gd name="connsiteY6" fmla="*/ 126206 h 126206"/>
                  <a:gd name="connsiteX7" fmla="*/ 82486 w 88868"/>
                  <a:gd name="connsiteY7" fmla="*/ 126206 h 126206"/>
                  <a:gd name="connsiteX8" fmla="*/ 5810 w 88868"/>
                  <a:gd name="connsiteY8" fmla="*/ 8001 h 126206"/>
                  <a:gd name="connsiteX9" fmla="*/ 5620 w 88868"/>
                  <a:gd name="connsiteY9" fmla="*/ 8001 h 126206"/>
                  <a:gd name="connsiteX10" fmla="*/ 5620 w 88868"/>
                  <a:gd name="connsiteY10" fmla="*/ 126206 h 126206"/>
                  <a:gd name="connsiteX11" fmla="*/ 0 w 88868"/>
                  <a:gd name="connsiteY11" fmla="*/ 126206 h 126206"/>
                  <a:gd name="connsiteX12" fmla="*/ 0 w 88868"/>
                  <a:gd name="connsiteY12" fmla="*/ 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868" h="126206">
                    <a:moveTo>
                      <a:pt x="0" y="0"/>
                    </a:moveTo>
                    <a:lnTo>
                      <a:pt x="7429" y="0"/>
                    </a:lnTo>
                    <a:lnTo>
                      <a:pt x="83058" y="116395"/>
                    </a:lnTo>
                    <a:lnTo>
                      <a:pt x="83248" y="116395"/>
                    </a:lnTo>
                    <a:lnTo>
                      <a:pt x="83248" y="0"/>
                    </a:lnTo>
                    <a:lnTo>
                      <a:pt x="88868" y="0"/>
                    </a:lnTo>
                    <a:lnTo>
                      <a:pt x="88868" y="126206"/>
                    </a:lnTo>
                    <a:lnTo>
                      <a:pt x="82486" y="126206"/>
                    </a:lnTo>
                    <a:lnTo>
                      <a:pt x="5810" y="8001"/>
                    </a:lnTo>
                    <a:lnTo>
                      <a:pt x="5620" y="8001"/>
                    </a:lnTo>
                    <a:lnTo>
                      <a:pt x="5620"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0" name="Freeform: Shape 519">
                <a:extLst>
                  <a:ext uri="{FF2B5EF4-FFF2-40B4-BE49-F238E27FC236}">
                    <a16:creationId xmlns:a16="http://schemas.microsoft.com/office/drawing/2014/main" id="{4189C7AB-8479-4E4F-B7F8-0C7E98EE748A}"/>
                  </a:ext>
                </a:extLst>
              </p:cNvPr>
              <p:cNvSpPr/>
              <p:nvPr/>
            </p:nvSpPr>
            <p:spPr>
              <a:xfrm>
                <a:off x="6771132" y="3454050"/>
                <a:ext cx="92487" cy="128968"/>
              </a:xfrm>
              <a:custGeom>
                <a:avLst/>
                <a:gdLst>
                  <a:gd name="connsiteX0" fmla="*/ 0 w 92487"/>
                  <a:gd name="connsiteY0" fmla="*/ 66104 h 128968"/>
                  <a:gd name="connsiteX1" fmla="*/ 0 w 92487"/>
                  <a:gd name="connsiteY1" fmla="*/ 63722 h 128968"/>
                  <a:gd name="connsiteX2" fmla="*/ 56483 w 92487"/>
                  <a:gd name="connsiteY2" fmla="*/ 0 h 128968"/>
                  <a:gd name="connsiteX3" fmla="*/ 88201 w 92487"/>
                  <a:gd name="connsiteY3" fmla="*/ 6382 h 128968"/>
                  <a:gd name="connsiteX4" fmla="*/ 88201 w 92487"/>
                  <a:gd name="connsiteY4" fmla="*/ 11621 h 128968"/>
                  <a:gd name="connsiteX5" fmla="*/ 56102 w 92487"/>
                  <a:gd name="connsiteY5" fmla="*/ 5048 h 128968"/>
                  <a:gd name="connsiteX6" fmla="*/ 6191 w 92487"/>
                  <a:gd name="connsiteY6" fmla="*/ 62960 h 128968"/>
                  <a:gd name="connsiteX7" fmla="*/ 6191 w 92487"/>
                  <a:gd name="connsiteY7" fmla="*/ 66008 h 128968"/>
                  <a:gd name="connsiteX8" fmla="*/ 56864 w 92487"/>
                  <a:gd name="connsiteY8" fmla="*/ 123920 h 128968"/>
                  <a:gd name="connsiteX9" fmla="*/ 86582 w 92487"/>
                  <a:gd name="connsiteY9" fmla="*/ 119348 h 128968"/>
                  <a:gd name="connsiteX10" fmla="*/ 86582 w 92487"/>
                  <a:gd name="connsiteY10" fmla="*/ 76200 h 128968"/>
                  <a:gd name="connsiteX11" fmla="*/ 56197 w 92487"/>
                  <a:gd name="connsiteY11" fmla="*/ 76200 h 128968"/>
                  <a:gd name="connsiteX12" fmla="*/ 56197 w 92487"/>
                  <a:gd name="connsiteY12" fmla="*/ 71057 h 128968"/>
                  <a:gd name="connsiteX13" fmla="*/ 92488 w 92487"/>
                  <a:gd name="connsiteY13" fmla="*/ 71057 h 128968"/>
                  <a:gd name="connsiteX14" fmla="*/ 92488 w 92487"/>
                  <a:gd name="connsiteY14" fmla="*/ 122968 h 128968"/>
                  <a:gd name="connsiteX15" fmla="*/ 56769 w 92487"/>
                  <a:gd name="connsiteY15" fmla="*/ 128968 h 128968"/>
                  <a:gd name="connsiteX16" fmla="*/ 95 w 92487"/>
                  <a:gd name="connsiteY16" fmla="*/ 65913 h 1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487" h="128968">
                    <a:moveTo>
                      <a:pt x="0" y="66104"/>
                    </a:moveTo>
                    <a:lnTo>
                      <a:pt x="0" y="63722"/>
                    </a:lnTo>
                    <a:cubicBezTo>
                      <a:pt x="0" y="21241"/>
                      <a:pt x="22193" y="0"/>
                      <a:pt x="56483" y="0"/>
                    </a:cubicBezTo>
                    <a:cubicBezTo>
                      <a:pt x="73057" y="0"/>
                      <a:pt x="81058" y="3143"/>
                      <a:pt x="88201" y="6382"/>
                    </a:cubicBezTo>
                    <a:lnTo>
                      <a:pt x="88201" y="11621"/>
                    </a:lnTo>
                    <a:cubicBezTo>
                      <a:pt x="80581" y="8192"/>
                      <a:pt x="72009" y="5048"/>
                      <a:pt x="56102" y="5048"/>
                    </a:cubicBezTo>
                    <a:cubicBezTo>
                      <a:pt x="22955" y="5048"/>
                      <a:pt x="6191" y="27432"/>
                      <a:pt x="6191" y="62960"/>
                    </a:cubicBezTo>
                    <a:lnTo>
                      <a:pt x="6191" y="66008"/>
                    </a:lnTo>
                    <a:cubicBezTo>
                      <a:pt x="6191" y="102299"/>
                      <a:pt x="20574" y="123920"/>
                      <a:pt x="56864" y="123920"/>
                    </a:cubicBezTo>
                    <a:cubicBezTo>
                      <a:pt x="68485" y="123920"/>
                      <a:pt x="78200" y="122111"/>
                      <a:pt x="86582" y="119348"/>
                    </a:cubicBezTo>
                    <a:lnTo>
                      <a:pt x="86582" y="76200"/>
                    </a:lnTo>
                    <a:lnTo>
                      <a:pt x="56197" y="76200"/>
                    </a:lnTo>
                    <a:lnTo>
                      <a:pt x="56197" y="71057"/>
                    </a:lnTo>
                    <a:lnTo>
                      <a:pt x="92488" y="71057"/>
                    </a:lnTo>
                    <a:lnTo>
                      <a:pt x="92488" y="122968"/>
                    </a:lnTo>
                    <a:cubicBezTo>
                      <a:pt x="82296" y="126587"/>
                      <a:pt x="70961" y="128968"/>
                      <a:pt x="56769" y="128968"/>
                    </a:cubicBezTo>
                    <a:cubicBezTo>
                      <a:pt x="19431" y="128968"/>
                      <a:pt x="95" y="107061"/>
                      <a:pt x="95" y="65913"/>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1" name="Freeform: Shape 520">
                <a:extLst>
                  <a:ext uri="{FF2B5EF4-FFF2-40B4-BE49-F238E27FC236}">
                    <a16:creationId xmlns:a16="http://schemas.microsoft.com/office/drawing/2014/main" id="{F9FBB2CB-69A7-47DB-AD62-7F6B1251C323}"/>
                  </a:ext>
                </a:extLst>
              </p:cNvPr>
              <p:cNvSpPr/>
              <p:nvPr/>
            </p:nvSpPr>
            <p:spPr>
              <a:xfrm>
                <a:off x="6873906" y="3454050"/>
                <a:ext cx="10667" cy="13144"/>
              </a:xfrm>
              <a:custGeom>
                <a:avLst/>
                <a:gdLst>
                  <a:gd name="connsiteX0" fmla="*/ 4477 w 10667"/>
                  <a:gd name="connsiteY0" fmla="*/ 13145 h 13144"/>
                  <a:gd name="connsiteX1" fmla="*/ 4477 w 10667"/>
                  <a:gd name="connsiteY1" fmla="*/ 1334 h 13144"/>
                  <a:gd name="connsiteX2" fmla="*/ 0 w 10667"/>
                  <a:gd name="connsiteY2" fmla="*/ 1334 h 13144"/>
                  <a:gd name="connsiteX3" fmla="*/ 0 w 10667"/>
                  <a:gd name="connsiteY3" fmla="*/ 0 h 13144"/>
                  <a:gd name="connsiteX4" fmla="*/ 10668 w 10667"/>
                  <a:gd name="connsiteY4" fmla="*/ 0 h 13144"/>
                  <a:gd name="connsiteX5" fmla="*/ 10668 w 10667"/>
                  <a:gd name="connsiteY5" fmla="*/ 1334 h 13144"/>
                  <a:gd name="connsiteX6" fmla="*/ 6191 w 10667"/>
                  <a:gd name="connsiteY6" fmla="*/ 1334 h 13144"/>
                  <a:gd name="connsiteX7" fmla="*/ 6191 w 10667"/>
                  <a:gd name="connsiteY7" fmla="*/ 13145 h 13144"/>
                  <a:gd name="connsiteX8" fmla="*/ 4477 w 10667"/>
                  <a:gd name="connsiteY8" fmla="*/ 13145 h 1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67" h="13144">
                    <a:moveTo>
                      <a:pt x="4477" y="13145"/>
                    </a:moveTo>
                    <a:lnTo>
                      <a:pt x="4477" y="1334"/>
                    </a:lnTo>
                    <a:lnTo>
                      <a:pt x="0" y="1334"/>
                    </a:lnTo>
                    <a:lnTo>
                      <a:pt x="0" y="0"/>
                    </a:lnTo>
                    <a:lnTo>
                      <a:pt x="10668" y="0"/>
                    </a:lnTo>
                    <a:lnTo>
                      <a:pt x="10668" y="1334"/>
                    </a:lnTo>
                    <a:lnTo>
                      <a:pt x="6191" y="1334"/>
                    </a:lnTo>
                    <a:lnTo>
                      <a:pt x="6191" y="13145"/>
                    </a:lnTo>
                    <a:lnTo>
                      <a:pt x="4477" y="1314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2" name="Freeform: Shape 521">
                <a:extLst>
                  <a:ext uri="{FF2B5EF4-FFF2-40B4-BE49-F238E27FC236}">
                    <a16:creationId xmlns:a16="http://schemas.microsoft.com/office/drawing/2014/main" id="{C56680AB-7110-4F60-B927-28E8C59AA67D}"/>
                  </a:ext>
                </a:extLst>
              </p:cNvPr>
              <p:cNvSpPr/>
              <p:nvPr/>
            </p:nvSpPr>
            <p:spPr>
              <a:xfrm>
                <a:off x="6886575" y="3454050"/>
                <a:ext cx="11144" cy="13144"/>
              </a:xfrm>
              <a:custGeom>
                <a:avLst/>
                <a:gdLst>
                  <a:gd name="connsiteX0" fmla="*/ 1429 w 11144"/>
                  <a:gd name="connsiteY0" fmla="*/ 13145 h 13144"/>
                  <a:gd name="connsiteX1" fmla="*/ 0 w 11144"/>
                  <a:gd name="connsiteY1" fmla="*/ 13145 h 13144"/>
                  <a:gd name="connsiteX2" fmla="*/ 0 w 11144"/>
                  <a:gd name="connsiteY2" fmla="*/ 0 h 13144"/>
                  <a:gd name="connsiteX3" fmla="*/ 1619 w 11144"/>
                  <a:gd name="connsiteY3" fmla="*/ 0 h 13144"/>
                  <a:gd name="connsiteX4" fmla="*/ 5715 w 11144"/>
                  <a:gd name="connsiteY4" fmla="*/ 9430 h 13144"/>
                  <a:gd name="connsiteX5" fmla="*/ 9525 w 11144"/>
                  <a:gd name="connsiteY5" fmla="*/ 0 h 13144"/>
                  <a:gd name="connsiteX6" fmla="*/ 11144 w 11144"/>
                  <a:gd name="connsiteY6" fmla="*/ 0 h 13144"/>
                  <a:gd name="connsiteX7" fmla="*/ 11144 w 11144"/>
                  <a:gd name="connsiteY7" fmla="*/ 13145 h 13144"/>
                  <a:gd name="connsiteX8" fmla="*/ 9620 w 11144"/>
                  <a:gd name="connsiteY8" fmla="*/ 13145 h 13144"/>
                  <a:gd name="connsiteX9" fmla="*/ 9620 w 11144"/>
                  <a:gd name="connsiteY9" fmla="*/ 5334 h 13144"/>
                  <a:gd name="connsiteX10" fmla="*/ 9716 w 11144"/>
                  <a:gd name="connsiteY10" fmla="*/ 2953 h 13144"/>
                  <a:gd name="connsiteX11" fmla="*/ 9620 w 11144"/>
                  <a:gd name="connsiteY11" fmla="*/ 2953 h 13144"/>
                  <a:gd name="connsiteX12" fmla="*/ 8763 w 11144"/>
                  <a:gd name="connsiteY12" fmla="*/ 5334 h 13144"/>
                  <a:gd name="connsiteX13" fmla="*/ 6477 w 11144"/>
                  <a:gd name="connsiteY13" fmla="*/ 11144 h 13144"/>
                  <a:gd name="connsiteX14" fmla="*/ 4763 w 11144"/>
                  <a:gd name="connsiteY14" fmla="*/ 11144 h 13144"/>
                  <a:gd name="connsiteX15" fmla="*/ 2191 w 11144"/>
                  <a:gd name="connsiteY15" fmla="*/ 5239 h 13144"/>
                  <a:gd name="connsiteX16" fmla="*/ 1429 w 11144"/>
                  <a:gd name="connsiteY16" fmla="*/ 3143 h 13144"/>
                  <a:gd name="connsiteX17" fmla="*/ 1333 w 11144"/>
                  <a:gd name="connsiteY17" fmla="*/ 3143 h 13144"/>
                  <a:gd name="connsiteX18" fmla="*/ 1429 w 11144"/>
                  <a:gd name="connsiteY18" fmla="*/ 5239 h 13144"/>
                  <a:gd name="connsiteX19" fmla="*/ 1429 w 11144"/>
                  <a:gd name="connsiteY19" fmla="*/ 13145 h 1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4" h="13144">
                    <a:moveTo>
                      <a:pt x="1429" y="13145"/>
                    </a:moveTo>
                    <a:lnTo>
                      <a:pt x="0" y="13145"/>
                    </a:lnTo>
                    <a:lnTo>
                      <a:pt x="0" y="0"/>
                    </a:lnTo>
                    <a:lnTo>
                      <a:pt x="1619" y="0"/>
                    </a:lnTo>
                    <a:lnTo>
                      <a:pt x="5715" y="9430"/>
                    </a:lnTo>
                    <a:lnTo>
                      <a:pt x="9525" y="0"/>
                    </a:lnTo>
                    <a:lnTo>
                      <a:pt x="11144" y="0"/>
                    </a:lnTo>
                    <a:lnTo>
                      <a:pt x="11144" y="13145"/>
                    </a:lnTo>
                    <a:lnTo>
                      <a:pt x="9620" y="13145"/>
                    </a:lnTo>
                    <a:lnTo>
                      <a:pt x="9620" y="5334"/>
                    </a:lnTo>
                    <a:lnTo>
                      <a:pt x="9716" y="2953"/>
                    </a:lnTo>
                    <a:lnTo>
                      <a:pt x="9620" y="2953"/>
                    </a:lnTo>
                    <a:lnTo>
                      <a:pt x="8763" y="5334"/>
                    </a:lnTo>
                    <a:lnTo>
                      <a:pt x="6477" y="11144"/>
                    </a:lnTo>
                    <a:lnTo>
                      <a:pt x="4763" y="11144"/>
                    </a:lnTo>
                    <a:lnTo>
                      <a:pt x="2191" y="5239"/>
                    </a:lnTo>
                    <a:lnTo>
                      <a:pt x="1429" y="3143"/>
                    </a:lnTo>
                    <a:lnTo>
                      <a:pt x="1333" y="3143"/>
                    </a:lnTo>
                    <a:lnTo>
                      <a:pt x="1429" y="5239"/>
                    </a:lnTo>
                    <a:lnTo>
                      <a:pt x="1429" y="1314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23" name="Group 522">
              <a:extLst>
                <a:ext uri="{FF2B5EF4-FFF2-40B4-BE49-F238E27FC236}">
                  <a16:creationId xmlns:a16="http://schemas.microsoft.com/office/drawing/2014/main" id="{578CD947-5DDC-4AED-92DD-A0E5AD49101C}"/>
                </a:ext>
              </a:extLst>
            </p:cNvPr>
            <p:cNvGrpSpPr/>
            <p:nvPr userDrawn="1"/>
          </p:nvGrpSpPr>
          <p:grpSpPr>
            <a:xfrm>
              <a:off x="5031637" y="2837445"/>
              <a:ext cx="812456" cy="207062"/>
              <a:chOff x="6644344" y="5370144"/>
              <a:chExt cx="1449816" cy="369499"/>
            </a:xfrm>
          </p:grpSpPr>
          <p:sp>
            <p:nvSpPr>
              <p:cNvPr id="524" name="Freeform: Shape 523">
                <a:extLst>
                  <a:ext uri="{FF2B5EF4-FFF2-40B4-BE49-F238E27FC236}">
                    <a16:creationId xmlns:a16="http://schemas.microsoft.com/office/drawing/2014/main" id="{7BD04033-B646-4F05-9121-814031591E77}"/>
                  </a:ext>
                </a:extLst>
              </p:cNvPr>
              <p:cNvSpPr/>
              <p:nvPr/>
            </p:nvSpPr>
            <p:spPr>
              <a:xfrm>
                <a:off x="7402131" y="5370144"/>
                <a:ext cx="47864" cy="365026"/>
              </a:xfrm>
              <a:custGeom>
                <a:avLst/>
                <a:gdLst>
                  <a:gd name="connsiteX0" fmla="*/ 47865 w 47864"/>
                  <a:gd name="connsiteY0" fmla="*/ 133306 h 365026"/>
                  <a:gd name="connsiteX1" fmla="*/ 47865 w 47864"/>
                  <a:gd name="connsiteY1" fmla="*/ 0 h 365026"/>
                  <a:gd name="connsiteX2" fmla="*/ 0 w 47864"/>
                  <a:gd name="connsiteY2" fmla="*/ 0 h 365026"/>
                  <a:gd name="connsiteX3" fmla="*/ 0 w 47864"/>
                  <a:gd name="connsiteY3" fmla="*/ 365026 h 365026"/>
                  <a:gd name="connsiteX4" fmla="*/ 47865 w 47864"/>
                  <a:gd name="connsiteY4" fmla="*/ 365026 h 365026"/>
                  <a:gd name="connsiteX5" fmla="*/ 47865 w 47864"/>
                  <a:gd name="connsiteY5" fmla="*/ 133306 h 365026"/>
                  <a:gd name="connsiteX6" fmla="*/ 47865 w 47864"/>
                  <a:gd name="connsiteY6" fmla="*/ 133306 h 36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64" h="365026">
                    <a:moveTo>
                      <a:pt x="47865" y="133306"/>
                    </a:moveTo>
                    <a:lnTo>
                      <a:pt x="47865" y="0"/>
                    </a:lnTo>
                    <a:lnTo>
                      <a:pt x="0" y="0"/>
                    </a:lnTo>
                    <a:lnTo>
                      <a:pt x="0" y="365026"/>
                    </a:lnTo>
                    <a:lnTo>
                      <a:pt x="47865" y="365026"/>
                    </a:lnTo>
                    <a:lnTo>
                      <a:pt x="47865" y="133306"/>
                    </a:lnTo>
                    <a:lnTo>
                      <a:pt x="47865" y="133306"/>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5" name="Freeform: Shape 524">
                <a:extLst>
                  <a:ext uri="{FF2B5EF4-FFF2-40B4-BE49-F238E27FC236}">
                    <a16:creationId xmlns:a16="http://schemas.microsoft.com/office/drawing/2014/main" id="{59B88D97-AB04-49F6-BA48-A59A15C311EF}"/>
                  </a:ext>
                </a:extLst>
              </p:cNvPr>
              <p:cNvSpPr/>
              <p:nvPr/>
            </p:nvSpPr>
            <p:spPr>
              <a:xfrm>
                <a:off x="7263904" y="5457821"/>
                <a:ext cx="107808" cy="276901"/>
              </a:xfrm>
              <a:custGeom>
                <a:avLst/>
                <a:gdLst>
                  <a:gd name="connsiteX0" fmla="*/ 47418 w 107808"/>
                  <a:gd name="connsiteY0" fmla="*/ 120781 h 276901"/>
                  <a:gd name="connsiteX1" fmla="*/ 97519 w 107808"/>
                  <a:gd name="connsiteY1" fmla="*/ 48312 h 276901"/>
                  <a:gd name="connsiteX2" fmla="*/ 107808 w 107808"/>
                  <a:gd name="connsiteY2" fmla="*/ 48312 h 276901"/>
                  <a:gd name="connsiteX3" fmla="*/ 107808 w 107808"/>
                  <a:gd name="connsiteY3" fmla="*/ 1342 h 276901"/>
                  <a:gd name="connsiteX4" fmla="*/ 103782 w 107808"/>
                  <a:gd name="connsiteY4" fmla="*/ 447 h 276901"/>
                  <a:gd name="connsiteX5" fmla="*/ 96177 w 107808"/>
                  <a:gd name="connsiteY5" fmla="*/ 0 h 276901"/>
                  <a:gd name="connsiteX6" fmla="*/ 45628 w 107808"/>
                  <a:gd name="connsiteY6" fmla="*/ 23261 h 276901"/>
                  <a:gd name="connsiteX7" fmla="*/ 45628 w 107808"/>
                  <a:gd name="connsiteY7" fmla="*/ 3131 h 276901"/>
                  <a:gd name="connsiteX8" fmla="*/ 0 w 107808"/>
                  <a:gd name="connsiteY8" fmla="*/ 3131 h 276901"/>
                  <a:gd name="connsiteX9" fmla="*/ 0 w 107808"/>
                  <a:gd name="connsiteY9" fmla="*/ 276901 h 276901"/>
                  <a:gd name="connsiteX10" fmla="*/ 47418 w 107808"/>
                  <a:gd name="connsiteY10" fmla="*/ 276901 h 276901"/>
                  <a:gd name="connsiteX11" fmla="*/ 47418 w 107808"/>
                  <a:gd name="connsiteY11" fmla="*/ 120781 h 276901"/>
                  <a:gd name="connsiteX12" fmla="*/ 47418 w 107808"/>
                  <a:gd name="connsiteY12" fmla="*/ 120781 h 27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08" h="276901">
                    <a:moveTo>
                      <a:pt x="47418" y="120781"/>
                    </a:moveTo>
                    <a:cubicBezTo>
                      <a:pt x="47418" y="69784"/>
                      <a:pt x="62627" y="48312"/>
                      <a:pt x="97519" y="48312"/>
                    </a:cubicBezTo>
                    <a:lnTo>
                      <a:pt x="107808" y="48312"/>
                    </a:lnTo>
                    <a:lnTo>
                      <a:pt x="107808" y="1342"/>
                    </a:lnTo>
                    <a:lnTo>
                      <a:pt x="103782" y="447"/>
                    </a:lnTo>
                    <a:cubicBezTo>
                      <a:pt x="103782" y="447"/>
                      <a:pt x="100651" y="0"/>
                      <a:pt x="96177" y="0"/>
                    </a:cubicBezTo>
                    <a:cubicBezTo>
                      <a:pt x="71574" y="0"/>
                      <a:pt x="55022" y="11183"/>
                      <a:pt x="45628" y="23261"/>
                    </a:cubicBezTo>
                    <a:lnTo>
                      <a:pt x="45628" y="3131"/>
                    </a:lnTo>
                    <a:lnTo>
                      <a:pt x="0" y="3131"/>
                    </a:lnTo>
                    <a:lnTo>
                      <a:pt x="0" y="276901"/>
                    </a:lnTo>
                    <a:lnTo>
                      <a:pt x="47418" y="276901"/>
                    </a:lnTo>
                    <a:lnTo>
                      <a:pt x="47418" y="120781"/>
                    </a:lnTo>
                    <a:lnTo>
                      <a:pt x="47418" y="120781"/>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6" name="Freeform: Shape 525">
                <a:extLst>
                  <a:ext uri="{FF2B5EF4-FFF2-40B4-BE49-F238E27FC236}">
                    <a16:creationId xmlns:a16="http://schemas.microsoft.com/office/drawing/2014/main" id="{F4FFAC1D-BE26-4048-B4DF-CCAB41A1C365}"/>
                  </a:ext>
                </a:extLst>
              </p:cNvPr>
              <p:cNvSpPr/>
              <p:nvPr/>
            </p:nvSpPr>
            <p:spPr>
              <a:xfrm>
                <a:off x="6853697" y="5457821"/>
                <a:ext cx="172671" cy="280927"/>
              </a:xfrm>
              <a:custGeom>
                <a:avLst/>
                <a:gdLst>
                  <a:gd name="connsiteX0" fmla="*/ 124807 w 172671"/>
                  <a:gd name="connsiteY0" fmla="*/ 120333 h 280927"/>
                  <a:gd name="connsiteX1" fmla="*/ 47418 w 172671"/>
                  <a:gd name="connsiteY1" fmla="*/ 120333 h 280927"/>
                  <a:gd name="connsiteX2" fmla="*/ 47418 w 172671"/>
                  <a:gd name="connsiteY2" fmla="*/ 84099 h 280927"/>
                  <a:gd name="connsiteX3" fmla="*/ 86336 w 172671"/>
                  <a:gd name="connsiteY3" fmla="*/ 42497 h 280927"/>
                  <a:gd name="connsiteX4" fmla="*/ 124807 w 172671"/>
                  <a:gd name="connsiteY4" fmla="*/ 84994 h 280927"/>
                  <a:gd name="connsiteX5" fmla="*/ 124807 w 172671"/>
                  <a:gd name="connsiteY5" fmla="*/ 119886 h 280927"/>
                  <a:gd name="connsiteX6" fmla="*/ 124807 w 172671"/>
                  <a:gd name="connsiteY6" fmla="*/ 119886 h 280927"/>
                  <a:gd name="connsiteX7" fmla="*/ 86336 w 172671"/>
                  <a:gd name="connsiteY7" fmla="*/ 0 h 280927"/>
                  <a:gd name="connsiteX8" fmla="*/ 0 w 172671"/>
                  <a:gd name="connsiteY8" fmla="*/ 89467 h 280927"/>
                  <a:gd name="connsiteX9" fmla="*/ 0 w 172671"/>
                  <a:gd name="connsiteY9" fmla="*/ 189223 h 280927"/>
                  <a:gd name="connsiteX10" fmla="*/ 86336 w 172671"/>
                  <a:gd name="connsiteY10" fmla="*/ 280927 h 280927"/>
                  <a:gd name="connsiteX11" fmla="*/ 171330 w 172671"/>
                  <a:gd name="connsiteY11" fmla="*/ 214274 h 280927"/>
                  <a:gd name="connsiteX12" fmla="*/ 123017 w 172671"/>
                  <a:gd name="connsiteY12" fmla="*/ 214274 h 280927"/>
                  <a:gd name="connsiteX13" fmla="*/ 86336 w 172671"/>
                  <a:gd name="connsiteY13" fmla="*/ 238878 h 280927"/>
                  <a:gd name="connsiteX14" fmla="*/ 47418 w 172671"/>
                  <a:gd name="connsiteY14" fmla="*/ 188329 h 280927"/>
                  <a:gd name="connsiteX15" fmla="*/ 47418 w 172671"/>
                  <a:gd name="connsiteY15" fmla="*/ 157910 h 280927"/>
                  <a:gd name="connsiteX16" fmla="*/ 172672 w 172671"/>
                  <a:gd name="connsiteY16" fmla="*/ 157910 h 280927"/>
                  <a:gd name="connsiteX17" fmla="*/ 172672 w 172671"/>
                  <a:gd name="connsiteY17" fmla="*/ 89467 h 280927"/>
                  <a:gd name="connsiteX18" fmla="*/ 86336 w 172671"/>
                  <a:gd name="connsiteY18" fmla="*/ 0 h 280927"/>
                  <a:gd name="connsiteX19" fmla="*/ 86336 w 172671"/>
                  <a:gd name="connsiteY19" fmla="*/ 0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671" h="280927">
                    <a:moveTo>
                      <a:pt x="124807" y="120333"/>
                    </a:moveTo>
                    <a:lnTo>
                      <a:pt x="47418" y="120333"/>
                    </a:lnTo>
                    <a:lnTo>
                      <a:pt x="47418" y="84099"/>
                    </a:lnTo>
                    <a:cubicBezTo>
                      <a:pt x="47418" y="58154"/>
                      <a:pt x="61732" y="42497"/>
                      <a:pt x="86336" y="42497"/>
                    </a:cubicBezTo>
                    <a:cubicBezTo>
                      <a:pt x="110939" y="42497"/>
                      <a:pt x="124807" y="58601"/>
                      <a:pt x="124807" y="84994"/>
                    </a:cubicBezTo>
                    <a:lnTo>
                      <a:pt x="124807" y="119886"/>
                    </a:lnTo>
                    <a:lnTo>
                      <a:pt x="124807" y="119886"/>
                    </a:lnTo>
                    <a:close/>
                    <a:moveTo>
                      <a:pt x="86336" y="0"/>
                    </a:moveTo>
                    <a:cubicBezTo>
                      <a:pt x="33103" y="0"/>
                      <a:pt x="0" y="34445"/>
                      <a:pt x="0" y="89467"/>
                    </a:cubicBezTo>
                    <a:lnTo>
                      <a:pt x="0" y="189223"/>
                    </a:lnTo>
                    <a:cubicBezTo>
                      <a:pt x="0" y="246035"/>
                      <a:pt x="33103" y="280927"/>
                      <a:pt x="86336" y="280927"/>
                    </a:cubicBezTo>
                    <a:cubicBezTo>
                      <a:pt x="139569" y="280927"/>
                      <a:pt x="165962" y="249166"/>
                      <a:pt x="171330" y="214274"/>
                    </a:cubicBezTo>
                    <a:lnTo>
                      <a:pt x="123017" y="214274"/>
                    </a:ln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lnTo>
                      <a:pt x="86336"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7" name="Freeform: Shape 526">
                <a:extLst>
                  <a:ext uri="{FF2B5EF4-FFF2-40B4-BE49-F238E27FC236}">
                    <a16:creationId xmlns:a16="http://schemas.microsoft.com/office/drawing/2014/main" id="{6348E0EB-B2D0-4047-AF02-3B627608494C}"/>
                  </a:ext>
                </a:extLst>
              </p:cNvPr>
              <p:cNvSpPr/>
              <p:nvPr/>
            </p:nvSpPr>
            <p:spPr>
              <a:xfrm>
                <a:off x="7057235" y="5457374"/>
                <a:ext cx="172671" cy="280927"/>
              </a:xfrm>
              <a:custGeom>
                <a:avLst/>
                <a:gdLst>
                  <a:gd name="connsiteX0" fmla="*/ 47418 w 172671"/>
                  <a:gd name="connsiteY0" fmla="*/ 84547 h 280927"/>
                  <a:gd name="connsiteX1" fmla="*/ 86336 w 172671"/>
                  <a:gd name="connsiteY1" fmla="*/ 42944 h 280927"/>
                  <a:gd name="connsiteX2" fmla="*/ 124807 w 172671"/>
                  <a:gd name="connsiteY2" fmla="*/ 85441 h 280927"/>
                  <a:gd name="connsiteX3" fmla="*/ 124807 w 172671"/>
                  <a:gd name="connsiteY3" fmla="*/ 120333 h 280927"/>
                  <a:gd name="connsiteX4" fmla="*/ 47418 w 172671"/>
                  <a:gd name="connsiteY4" fmla="*/ 120333 h 280927"/>
                  <a:gd name="connsiteX5" fmla="*/ 47418 w 172671"/>
                  <a:gd name="connsiteY5" fmla="*/ 84099 h 280927"/>
                  <a:gd name="connsiteX6" fmla="*/ 47418 w 172671"/>
                  <a:gd name="connsiteY6" fmla="*/ 84099 h 280927"/>
                  <a:gd name="connsiteX7" fmla="*/ 123017 w 172671"/>
                  <a:gd name="connsiteY7" fmla="*/ 214274 h 280927"/>
                  <a:gd name="connsiteX8" fmla="*/ 86336 w 172671"/>
                  <a:gd name="connsiteY8" fmla="*/ 238878 h 280927"/>
                  <a:gd name="connsiteX9" fmla="*/ 47418 w 172671"/>
                  <a:gd name="connsiteY9" fmla="*/ 188329 h 280927"/>
                  <a:gd name="connsiteX10" fmla="*/ 47418 w 172671"/>
                  <a:gd name="connsiteY10" fmla="*/ 157910 h 280927"/>
                  <a:gd name="connsiteX11" fmla="*/ 172672 w 172671"/>
                  <a:gd name="connsiteY11" fmla="*/ 157910 h 280927"/>
                  <a:gd name="connsiteX12" fmla="*/ 172672 w 172671"/>
                  <a:gd name="connsiteY12" fmla="*/ 89467 h 280927"/>
                  <a:gd name="connsiteX13" fmla="*/ 86336 w 172671"/>
                  <a:gd name="connsiteY13" fmla="*/ 0 h 280927"/>
                  <a:gd name="connsiteX14" fmla="*/ 0 w 172671"/>
                  <a:gd name="connsiteY14" fmla="*/ 89467 h 280927"/>
                  <a:gd name="connsiteX15" fmla="*/ 0 w 172671"/>
                  <a:gd name="connsiteY15" fmla="*/ 189223 h 280927"/>
                  <a:gd name="connsiteX16" fmla="*/ 86336 w 172671"/>
                  <a:gd name="connsiteY16" fmla="*/ 280927 h 280927"/>
                  <a:gd name="connsiteX17" fmla="*/ 171330 w 172671"/>
                  <a:gd name="connsiteY17" fmla="*/ 214274 h 280927"/>
                  <a:gd name="connsiteX18" fmla="*/ 123017 w 172671"/>
                  <a:gd name="connsiteY18" fmla="*/ 214274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2671" h="280927">
                    <a:moveTo>
                      <a:pt x="47418" y="84547"/>
                    </a:moveTo>
                    <a:cubicBezTo>
                      <a:pt x="47418" y="58601"/>
                      <a:pt x="61732" y="42944"/>
                      <a:pt x="86336" y="42944"/>
                    </a:cubicBezTo>
                    <a:cubicBezTo>
                      <a:pt x="110939" y="42944"/>
                      <a:pt x="124807" y="59048"/>
                      <a:pt x="124807" y="85441"/>
                    </a:cubicBezTo>
                    <a:lnTo>
                      <a:pt x="124807" y="120333"/>
                    </a:lnTo>
                    <a:lnTo>
                      <a:pt x="47418" y="120333"/>
                    </a:lnTo>
                    <a:lnTo>
                      <a:pt x="47418" y="84099"/>
                    </a:lnTo>
                    <a:lnTo>
                      <a:pt x="47418" y="84099"/>
                    </a:lnTo>
                    <a:close/>
                    <a:moveTo>
                      <a:pt x="123017" y="214274"/>
                    </a:move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cubicBezTo>
                      <a:pt x="33998" y="0"/>
                      <a:pt x="0" y="34445"/>
                      <a:pt x="0" y="89467"/>
                    </a:cubicBezTo>
                    <a:lnTo>
                      <a:pt x="0" y="189223"/>
                    </a:lnTo>
                    <a:cubicBezTo>
                      <a:pt x="0" y="246035"/>
                      <a:pt x="33103" y="280927"/>
                      <a:pt x="86336" y="280927"/>
                    </a:cubicBezTo>
                    <a:cubicBezTo>
                      <a:pt x="139569" y="280927"/>
                      <a:pt x="165962" y="249166"/>
                      <a:pt x="171330" y="214274"/>
                    </a:cubicBezTo>
                    <a:lnTo>
                      <a:pt x="123017" y="214274"/>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8" name="Freeform: Shape 527">
                <a:extLst>
                  <a:ext uri="{FF2B5EF4-FFF2-40B4-BE49-F238E27FC236}">
                    <a16:creationId xmlns:a16="http://schemas.microsoft.com/office/drawing/2014/main" id="{058983DC-0C39-4F38-95D1-2D406419C578}"/>
                  </a:ext>
                </a:extLst>
              </p:cNvPr>
              <p:cNvSpPr/>
              <p:nvPr/>
            </p:nvSpPr>
            <p:spPr>
              <a:xfrm>
                <a:off x="6644344" y="5393852"/>
                <a:ext cx="182513" cy="341317"/>
              </a:xfrm>
              <a:custGeom>
                <a:avLst/>
                <a:gdLst>
                  <a:gd name="connsiteX0" fmla="*/ 132859 w 182513"/>
                  <a:gd name="connsiteY0" fmla="*/ 140464 h 341317"/>
                  <a:gd name="connsiteX1" fmla="*/ 82310 w 182513"/>
                  <a:gd name="connsiteY1" fmla="*/ 203091 h 341317"/>
                  <a:gd name="connsiteX2" fmla="*/ 49654 w 182513"/>
                  <a:gd name="connsiteY2" fmla="*/ 203091 h 341317"/>
                  <a:gd name="connsiteX3" fmla="*/ 49654 w 182513"/>
                  <a:gd name="connsiteY3" fmla="*/ 48312 h 341317"/>
                  <a:gd name="connsiteX4" fmla="*/ 82310 w 182513"/>
                  <a:gd name="connsiteY4" fmla="*/ 48312 h 341317"/>
                  <a:gd name="connsiteX5" fmla="*/ 132859 w 182513"/>
                  <a:gd name="connsiteY5" fmla="*/ 111387 h 341317"/>
                  <a:gd name="connsiteX6" fmla="*/ 132859 w 182513"/>
                  <a:gd name="connsiteY6" fmla="*/ 140464 h 341317"/>
                  <a:gd name="connsiteX7" fmla="*/ 132859 w 182513"/>
                  <a:gd name="connsiteY7" fmla="*/ 140464 h 341317"/>
                  <a:gd name="connsiteX8" fmla="*/ 85889 w 182513"/>
                  <a:gd name="connsiteY8" fmla="*/ 0 h 341317"/>
                  <a:gd name="connsiteX9" fmla="*/ 0 w 182513"/>
                  <a:gd name="connsiteY9" fmla="*/ 0 h 341317"/>
                  <a:gd name="connsiteX10" fmla="*/ 0 w 182513"/>
                  <a:gd name="connsiteY10" fmla="*/ 341318 h 341317"/>
                  <a:gd name="connsiteX11" fmla="*/ 49654 w 182513"/>
                  <a:gd name="connsiteY11" fmla="*/ 341318 h 341317"/>
                  <a:gd name="connsiteX12" fmla="*/ 49654 w 182513"/>
                  <a:gd name="connsiteY12" fmla="*/ 251403 h 341317"/>
                  <a:gd name="connsiteX13" fmla="*/ 85889 w 182513"/>
                  <a:gd name="connsiteY13" fmla="*/ 251403 h 341317"/>
                  <a:gd name="connsiteX14" fmla="*/ 182513 w 182513"/>
                  <a:gd name="connsiteY14" fmla="*/ 136885 h 341317"/>
                  <a:gd name="connsiteX15" fmla="*/ 182513 w 182513"/>
                  <a:gd name="connsiteY15" fmla="*/ 115860 h 341317"/>
                  <a:gd name="connsiteX16" fmla="*/ 85889 w 182513"/>
                  <a:gd name="connsiteY16" fmla="*/ 0 h 341317"/>
                  <a:gd name="connsiteX17" fmla="*/ 85889 w 182513"/>
                  <a:gd name="connsiteY17" fmla="*/ 0 h 34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2513" h="341317">
                    <a:moveTo>
                      <a:pt x="132859" y="140464"/>
                    </a:moveTo>
                    <a:cubicBezTo>
                      <a:pt x="132859" y="183855"/>
                      <a:pt x="117202" y="203091"/>
                      <a:pt x="82310" y="203091"/>
                    </a:cubicBezTo>
                    <a:lnTo>
                      <a:pt x="49654" y="203091"/>
                    </a:lnTo>
                    <a:lnTo>
                      <a:pt x="49654" y="48312"/>
                    </a:lnTo>
                    <a:lnTo>
                      <a:pt x="82310" y="48312"/>
                    </a:lnTo>
                    <a:cubicBezTo>
                      <a:pt x="107361" y="48312"/>
                      <a:pt x="132859" y="55917"/>
                      <a:pt x="132859" y="111387"/>
                    </a:cubicBezTo>
                    <a:lnTo>
                      <a:pt x="132859" y="140464"/>
                    </a:lnTo>
                    <a:lnTo>
                      <a:pt x="132859" y="140464"/>
                    </a:lnTo>
                    <a:close/>
                    <a:moveTo>
                      <a:pt x="85889" y="0"/>
                    </a:moveTo>
                    <a:lnTo>
                      <a:pt x="0" y="0"/>
                    </a:lnTo>
                    <a:lnTo>
                      <a:pt x="0" y="341318"/>
                    </a:lnTo>
                    <a:lnTo>
                      <a:pt x="49654" y="341318"/>
                    </a:lnTo>
                    <a:lnTo>
                      <a:pt x="49654" y="251403"/>
                    </a:lnTo>
                    <a:lnTo>
                      <a:pt x="85889" y="251403"/>
                    </a:lnTo>
                    <a:cubicBezTo>
                      <a:pt x="148068" y="251403"/>
                      <a:pt x="182513" y="210695"/>
                      <a:pt x="182513" y="136885"/>
                    </a:cubicBezTo>
                    <a:lnTo>
                      <a:pt x="182513" y="115860"/>
                    </a:lnTo>
                    <a:cubicBezTo>
                      <a:pt x="182513" y="41155"/>
                      <a:pt x="148068" y="0"/>
                      <a:pt x="85889" y="0"/>
                    </a:cubicBezTo>
                    <a:lnTo>
                      <a:pt x="85889"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29" name="Freeform: Shape 528">
                <a:extLst>
                  <a:ext uri="{FF2B5EF4-FFF2-40B4-BE49-F238E27FC236}">
                    <a16:creationId xmlns:a16="http://schemas.microsoft.com/office/drawing/2014/main" id="{91879CEF-0B2D-4715-9E96-E49B9282A26B}"/>
                  </a:ext>
                </a:extLst>
              </p:cNvPr>
              <p:cNvSpPr/>
              <p:nvPr/>
            </p:nvSpPr>
            <p:spPr>
              <a:xfrm>
                <a:off x="7879439" y="5457374"/>
                <a:ext cx="171777" cy="282269"/>
              </a:xfrm>
              <a:custGeom>
                <a:avLst/>
                <a:gdLst>
                  <a:gd name="connsiteX0" fmla="*/ 99309 w 171777"/>
                  <a:gd name="connsiteY0" fmla="*/ 118097 h 282269"/>
                  <a:gd name="connsiteX1" fmla="*/ 51891 w 171777"/>
                  <a:gd name="connsiteY1" fmla="*/ 73363 h 282269"/>
                  <a:gd name="connsiteX2" fmla="*/ 86336 w 171777"/>
                  <a:gd name="connsiteY2" fmla="*/ 43839 h 282269"/>
                  <a:gd name="connsiteX3" fmla="*/ 121228 w 171777"/>
                  <a:gd name="connsiteY3" fmla="*/ 66653 h 282269"/>
                  <a:gd name="connsiteX4" fmla="*/ 168646 w 171777"/>
                  <a:gd name="connsiteY4" fmla="*/ 66653 h 282269"/>
                  <a:gd name="connsiteX5" fmla="*/ 84994 w 171777"/>
                  <a:gd name="connsiteY5" fmla="*/ 0 h 282269"/>
                  <a:gd name="connsiteX6" fmla="*/ 4473 w 171777"/>
                  <a:gd name="connsiteY6" fmla="*/ 73810 h 282269"/>
                  <a:gd name="connsiteX7" fmla="*/ 73363 w 171777"/>
                  <a:gd name="connsiteY7" fmla="*/ 155226 h 282269"/>
                  <a:gd name="connsiteX8" fmla="*/ 124359 w 171777"/>
                  <a:gd name="connsiteY8" fmla="*/ 206222 h 282269"/>
                  <a:gd name="connsiteX9" fmla="*/ 86783 w 171777"/>
                  <a:gd name="connsiteY9" fmla="*/ 239772 h 282269"/>
                  <a:gd name="connsiteX10" fmla="*/ 49207 w 171777"/>
                  <a:gd name="connsiteY10" fmla="*/ 214274 h 282269"/>
                  <a:gd name="connsiteX11" fmla="*/ 0 w 171777"/>
                  <a:gd name="connsiteY11" fmla="*/ 214274 h 282269"/>
                  <a:gd name="connsiteX12" fmla="*/ 86783 w 171777"/>
                  <a:gd name="connsiteY12" fmla="*/ 282269 h 282269"/>
                  <a:gd name="connsiteX13" fmla="*/ 171777 w 171777"/>
                  <a:gd name="connsiteY13" fmla="*/ 204433 h 282269"/>
                  <a:gd name="connsiteX14" fmla="*/ 98861 w 171777"/>
                  <a:gd name="connsiteY14" fmla="*/ 118097 h 282269"/>
                  <a:gd name="connsiteX15" fmla="*/ 98861 w 171777"/>
                  <a:gd name="connsiteY15" fmla="*/ 118097 h 28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777" h="282269">
                    <a:moveTo>
                      <a:pt x="99309" y="118097"/>
                    </a:moveTo>
                    <a:cubicBezTo>
                      <a:pt x="73810" y="106019"/>
                      <a:pt x="51891" y="95730"/>
                      <a:pt x="51891" y="73363"/>
                    </a:cubicBezTo>
                    <a:cubicBezTo>
                      <a:pt x="51891" y="55470"/>
                      <a:pt x="65311" y="43839"/>
                      <a:pt x="86336" y="43839"/>
                    </a:cubicBezTo>
                    <a:cubicBezTo>
                      <a:pt x="105124" y="43839"/>
                      <a:pt x="116755" y="51444"/>
                      <a:pt x="121228" y="66653"/>
                    </a:cubicBezTo>
                    <a:lnTo>
                      <a:pt x="168646" y="66653"/>
                    </a:lnTo>
                    <a:cubicBezTo>
                      <a:pt x="162383" y="24156"/>
                      <a:pt x="132859" y="0"/>
                      <a:pt x="84994" y="0"/>
                    </a:cubicBezTo>
                    <a:cubicBezTo>
                      <a:pt x="37129" y="0"/>
                      <a:pt x="4473" y="29972"/>
                      <a:pt x="4473" y="73810"/>
                    </a:cubicBezTo>
                    <a:cubicBezTo>
                      <a:pt x="4473" y="122123"/>
                      <a:pt x="41155" y="139569"/>
                      <a:pt x="73363" y="155226"/>
                    </a:cubicBezTo>
                    <a:cubicBezTo>
                      <a:pt x="100651" y="168646"/>
                      <a:pt x="124359" y="179829"/>
                      <a:pt x="124359" y="206222"/>
                    </a:cubicBezTo>
                    <a:cubicBezTo>
                      <a:pt x="124359" y="228142"/>
                      <a:pt x="105571" y="239772"/>
                      <a:pt x="86783" y="239772"/>
                    </a:cubicBezTo>
                    <a:cubicBezTo>
                      <a:pt x="67995" y="239772"/>
                      <a:pt x="54128" y="230378"/>
                      <a:pt x="49207" y="214274"/>
                    </a:cubicBezTo>
                    <a:lnTo>
                      <a:pt x="0" y="214274"/>
                    </a:lnTo>
                    <a:cubicBezTo>
                      <a:pt x="6710" y="255876"/>
                      <a:pt x="39366" y="282269"/>
                      <a:pt x="86783" y="282269"/>
                    </a:cubicBezTo>
                    <a:cubicBezTo>
                      <a:pt x="145384" y="282269"/>
                      <a:pt x="171777" y="243351"/>
                      <a:pt x="171777" y="204433"/>
                    </a:cubicBezTo>
                    <a:cubicBezTo>
                      <a:pt x="171777" y="152094"/>
                      <a:pt x="131517" y="133306"/>
                      <a:pt x="98861" y="118097"/>
                    </a:cubicBezTo>
                    <a:lnTo>
                      <a:pt x="98861" y="118097"/>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0" name="Freeform: Shape 529">
                <a:extLst>
                  <a:ext uri="{FF2B5EF4-FFF2-40B4-BE49-F238E27FC236}">
                    <a16:creationId xmlns:a16="http://schemas.microsoft.com/office/drawing/2014/main" id="{8368A5D4-3AFB-4B53-81DA-003F4FE5CDBB}"/>
                  </a:ext>
                </a:extLst>
              </p:cNvPr>
              <p:cNvSpPr/>
              <p:nvPr/>
            </p:nvSpPr>
            <p:spPr>
              <a:xfrm>
                <a:off x="7683953" y="5457374"/>
                <a:ext cx="172224" cy="282269"/>
              </a:xfrm>
              <a:custGeom>
                <a:avLst/>
                <a:gdLst>
                  <a:gd name="connsiteX0" fmla="*/ 172224 w 172224"/>
                  <a:gd name="connsiteY0" fmla="*/ 204433 h 282269"/>
                  <a:gd name="connsiteX1" fmla="*/ 99309 w 172224"/>
                  <a:gd name="connsiteY1" fmla="*/ 118097 h 282269"/>
                  <a:gd name="connsiteX2" fmla="*/ 51891 w 172224"/>
                  <a:gd name="connsiteY2" fmla="*/ 73363 h 282269"/>
                  <a:gd name="connsiteX3" fmla="*/ 86336 w 172224"/>
                  <a:gd name="connsiteY3" fmla="*/ 43839 h 282269"/>
                  <a:gd name="connsiteX4" fmla="*/ 121228 w 172224"/>
                  <a:gd name="connsiteY4" fmla="*/ 66653 h 282269"/>
                  <a:gd name="connsiteX5" fmla="*/ 168646 w 172224"/>
                  <a:gd name="connsiteY5" fmla="*/ 66653 h 282269"/>
                  <a:gd name="connsiteX6" fmla="*/ 84994 w 172224"/>
                  <a:gd name="connsiteY6" fmla="*/ 0 h 282269"/>
                  <a:gd name="connsiteX7" fmla="*/ 4473 w 172224"/>
                  <a:gd name="connsiteY7" fmla="*/ 73810 h 282269"/>
                  <a:gd name="connsiteX8" fmla="*/ 73363 w 172224"/>
                  <a:gd name="connsiteY8" fmla="*/ 155226 h 282269"/>
                  <a:gd name="connsiteX9" fmla="*/ 124360 w 172224"/>
                  <a:gd name="connsiteY9" fmla="*/ 206222 h 282269"/>
                  <a:gd name="connsiteX10" fmla="*/ 86783 w 172224"/>
                  <a:gd name="connsiteY10" fmla="*/ 239772 h 282269"/>
                  <a:gd name="connsiteX11" fmla="*/ 49207 w 172224"/>
                  <a:gd name="connsiteY11" fmla="*/ 214274 h 282269"/>
                  <a:gd name="connsiteX12" fmla="*/ 0 w 172224"/>
                  <a:gd name="connsiteY12" fmla="*/ 214274 h 282269"/>
                  <a:gd name="connsiteX13" fmla="*/ 86783 w 172224"/>
                  <a:gd name="connsiteY13" fmla="*/ 282269 h 282269"/>
                  <a:gd name="connsiteX14" fmla="*/ 171777 w 172224"/>
                  <a:gd name="connsiteY14" fmla="*/ 204433 h 282269"/>
                  <a:gd name="connsiteX15" fmla="*/ 171777 w 172224"/>
                  <a:gd name="connsiteY15" fmla="*/ 204433 h 28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224" h="282269">
                    <a:moveTo>
                      <a:pt x="172224" y="204433"/>
                    </a:moveTo>
                    <a:cubicBezTo>
                      <a:pt x="172224" y="152094"/>
                      <a:pt x="131964" y="133306"/>
                      <a:pt x="99309" y="118097"/>
                    </a:cubicBezTo>
                    <a:cubicBezTo>
                      <a:pt x="73810" y="106019"/>
                      <a:pt x="51891" y="95730"/>
                      <a:pt x="51891" y="73363"/>
                    </a:cubicBezTo>
                    <a:cubicBezTo>
                      <a:pt x="51891" y="55470"/>
                      <a:pt x="65311" y="43839"/>
                      <a:pt x="86336" y="43839"/>
                    </a:cubicBezTo>
                    <a:cubicBezTo>
                      <a:pt x="105124" y="43839"/>
                      <a:pt x="116755" y="51444"/>
                      <a:pt x="121228" y="66653"/>
                    </a:cubicBezTo>
                    <a:lnTo>
                      <a:pt x="168646" y="66653"/>
                    </a:lnTo>
                    <a:cubicBezTo>
                      <a:pt x="162383" y="24156"/>
                      <a:pt x="132859" y="0"/>
                      <a:pt x="84994" y="0"/>
                    </a:cubicBezTo>
                    <a:cubicBezTo>
                      <a:pt x="37129" y="0"/>
                      <a:pt x="4473" y="29972"/>
                      <a:pt x="4473" y="73810"/>
                    </a:cubicBezTo>
                    <a:cubicBezTo>
                      <a:pt x="4473" y="122123"/>
                      <a:pt x="41155" y="139569"/>
                      <a:pt x="73363" y="155226"/>
                    </a:cubicBezTo>
                    <a:cubicBezTo>
                      <a:pt x="100651" y="168646"/>
                      <a:pt x="124360" y="179829"/>
                      <a:pt x="124360" y="206222"/>
                    </a:cubicBezTo>
                    <a:cubicBezTo>
                      <a:pt x="124360" y="228142"/>
                      <a:pt x="105571" y="239772"/>
                      <a:pt x="86783" y="239772"/>
                    </a:cubicBezTo>
                    <a:cubicBezTo>
                      <a:pt x="67995" y="239772"/>
                      <a:pt x="54128" y="230378"/>
                      <a:pt x="49207" y="214274"/>
                    </a:cubicBezTo>
                    <a:lnTo>
                      <a:pt x="0" y="214274"/>
                    </a:lnTo>
                    <a:cubicBezTo>
                      <a:pt x="6710" y="255876"/>
                      <a:pt x="39366" y="282269"/>
                      <a:pt x="86783" y="282269"/>
                    </a:cubicBezTo>
                    <a:cubicBezTo>
                      <a:pt x="145384" y="282269"/>
                      <a:pt x="171777" y="243351"/>
                      <a:pt x="171777" y="204433"/>
                    </a:cubicBezTo>
                    <a:lnTo>
                      <a:pt x="171777" y="204433"/>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1" name="Freeform: Shape 530">
                <a:extLst>
                  <a:ext uri="{FF2B5EF4-FFF2-40B4-BE49-F238E27FC236}">
                    <a16:creationId xmlns:a16="http://schemas.microsoft.com/office/drawing/2014/main" id="{6DD10B31-1DC2-433C-A960-8E66179534F3}"/>
                  </a:ext>
                </a:extLst>
              </p:cNvPr>
              <p:cNvSpPr/>
              <p:nvPr/>
            </p:nvSpPr>
            <p:spPr>
              <a:xfrm>
                <a:off x="8043164" y="5431876"/>
                <a:ext cx="50996" cy="50996"/>
              </a:xfrm>
              <a:custGeom>
                <a:avLst/>
                <a:gdLst>
                  <a:gd name="connsiteX0" fmla="*/ 43839 w 50996"/>
                  <a:gd name="connsiteY0" fmla="*/ 36234 h 50996"/>
                  <a:gd name="connsiteX1" fmla="*/ 35787 w 50996"/>
                  <a:gd name="connsiteY1" fmla="*/ 43839 h 50996"/>
                  <a:gd name="connsiteX2" fmla="*/ 25051 w 50996"/>
                  <a:gd name="connsiteY2" fmla="*/ 46523 h 50996"/>
                  <a:gd name="connsiteX3" fmla="*/ 14315 w 50996"/>
                  <a:gd name="connsiteY3" fmla="*/ 43839 h 50996"/>
                  <a:gd name="connsiteX4" fmla="*/ 6263 w 50996"/>
                  <a:gd name="connsiteY4" fmla="*/ 36234 h 50996"/>
                  <a:gd name="connsiteX5" fmla="*/ 3131 w 50996"/>
                  <a:gd name="connsiteY5" fmla="*/ 25498 h 50996"/>
                  <a:gd name="connsiteX6" fmla="*/ 5815 w 50996"/>
                  <a:gd name="connsiteY6" fmla="*/ 14762 h 50996"/>
                  <a:gd name="connsiteX7" fmla="*/ 13867 w 50996"/>
                  <a:gd name="connsiteY7" fmla="*/ 6710 h 50996"/>
                  <a:gd name="connsiteX8" fmla="*/ 24603 w 50996"/>
                  <a:gd name="connsiteY8" fmla="*/ 4026 h 50996"/>
                  <a:gd name="connsiteX9" fmla="*/ 35340 w 50996"/>
                  <a:gd name="connsiteY9" fmla="*/ 6710 h 50996"/>
                  <a:gd name="connsiteX10" fmla="*/ 43392 w 50996"/>
                  <a:gd name="connsiteY10" fmla="*/ 14762 h 50996"/>
                  <a:gd name="connsiteX11" fmla="*/ 46076 w 50996"/>
                  <a:gd name="connsiteY11" fmla="*/ 25498 h 50996"/>
                  <a:gd name="connsiteX12" fmla="*/ 42944 w 50996"/>
                  <a:gd name="connsiteY12" fmla="*/ 36234 h 50996"/>
                  <a:gd name="connsiteX13" fmla="*/ 42944 w 50996"/>
                  <a:gd name="connsiteY13" fmla="*/ 36234 h 50996"/>
                  <a:gd name="connsiteX14" fmla="*/ 38024 w 50996"/>
                  <a:gd name="connsiteY14" fmla="*/ 3579 h 50996"/>
                  <a:gd name="connsiteX15" fmla="*/ 25498 w 50996"/>
                  <a:gd name="connsiteY15" fmla="*/ 0 h 50996"/>
                  <a:gd name="connsiteX16" fmla="*/ 12973 w 50996"/>
                  <a:gd name="connsiteY16" fmla="*/ 3579 h 50996"/>
                  <a:gd name="connsiteX17" fmla="*/ 3579 w 50996"/>
                  <a:gd name="connsiteY17" fmla="*/ 12973 h 50996"/>
                  <a:gd name="connsiteX18" fmla="*/ 0 w 50996"/>
                  <a:gd name="connsiteY18" fmla="*/ 25498 h 50996"/>
                  <a:gd name="connsiteX19" fmla="*/ 3579 w 50996"/>
                  <a:gd name="connsiteY19" fmla="*/ 38471 h 50996"/>
                  <a:gd name="connsiteX20" fmla="*/ 12973 w 50996"/>
                  <a:gd name="connsiteY20" fmla="*/ 47865 h 50996"/>
                  <a:gd name="connsiteX21" fmla="*/ 25498 w 50996"/>
                  <a:gd name="connsiteY21" fmla="*/ 50996 h 50996"/>
                  <a:gd name="connsiteX22" fmla="*/ 38024 w 50996"/>
                  <a:gd name="connsiteY22" fmla="*/ 47865 h 50996"/>
                  <a:gd name="connsiteX23" fmla="*/ 47418 w 50996"/>
                  <a:gd name="connsiteY23" fmla="*/ 38471 h 50996"/>
                  <a:gd name="connsiteX24" fmla="*/ 50996 w 50996"/>
                  <a:gd name="connsiteY24" fmla="*/ 25498 h 50996"/>
                  <a:gd name="connsiteX25" fmla="*/ 47418 w 50996"/>
                  <a:gd name="connsiteY25" fmla="*/ 12973 h 50996"/>
                  <a:gd name="connsiteX26" fmla="*/ 38024 w 50996"/>
                  <a:gd name="connsiteY26" fmla="*/ 3579 h 50996"/>
                  <a:gd name="connsiteX27" fmla="*/ 38024 w 50996"/>
                  <a:gd name="connsiteY27" fmla="*/ 3579 h 5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996" h="50996">
                    <a:moveTo>
                      <a:pt x="43839" y="36234"/>
                    </a:moveTo>
                    <a:cubicBezTo>
                      <a:pt x="42050" y="39366"/>
                      <a:pt x="39366" y="42050"/>
                      <a:pt x="35787" y="43839"/>
                    </a:cubicBezTo>
                    <a:cubicBezTo>
                      <a:pt x="32656" y="45628"/>
                      <a:pt x="29077" y="46523"/>
                      <a:pt x="25051" y="46523"/>
                    </a:cubicBezTo>
                    <a:cubicBezTo>
                      <a:pt x="21025" y="46523"/>
                      <a:pt x="17893" y="45628"/>
                      <a:pt x="14315" y="43839"/>
                    </a:cubicBezTo>
                    <a:cubicBezTo>
                      <a:pt x="11183" y="42050"/>
                      <a:pt x="8499" y="39366"/>
                      <a:pt x="6263" y="36234"/>
                    </a:cubicBezTo>
                    <a:cubicBezTo>
                      <a:pt x="4473" y="32656"/>
                      <a:pt x="3131" y="29077"/>
                      <a:pt x="3131" y="25498"/>
                    </a:cubicBezTo>
                    <a:cubicBezTo>
                      <a:pt x="3131" y="21919"/>
                      <a:pt x="4026" y="17893"/>
                      <a:pt x="5815" y="14762"/>
                    </a:cubicBezTo>
                    <a:cubicBezTo>
                      <a:pt x="7605" y="11631"/>
                      <a:pt x="10289" y="8947"/>
                      <a:pt x="13867" y="6710"/>
                    </a:cubicBezTo>
                    <a:cubicBezTo>
                      <a:pt x="16999" y="4921"/>
                      <a:pt x="20577" y="4026"/>
                      <a:pt x="24603" y="4026"/>
                    </a:cubicBezTo>
                    <a:cubicBezTo>
                      <a:pt x="28629" y="4026"/>
                      <a:pt x="31761" y="4921"/>
                      <a:pt x="35340" y="6710"/>
                    </a:cubicBezTo>
                    <a:cubicBezTo>
                      <a:pt x="38471" y="8499"/>
                      <a:pt x="41155" y="11183"/>
                      <a:pt x="43392" y="14762"/>
                    </a:cubicBezTo>
                    <a:cubicBezTo>
                      <a:pt x="45181" y="18341"/>
                      <a:pt x="46076" y="21919"/>
                      <a:pt x="46076" y="25498"/>
                    </a:cubicBezTo>
                    <a:cubicBezTo>
                      <a:pt x="46076" y="29524"/>
                      <a:pt x="45181" y="33103"/>
                      <a:pt x="42944" y="36234"/>
                    </a:cubicBezTo>
                    <a:lnTo>
                      <a:pt x="42944" y="36234"/>
                    </a:lnTo>
                    <a:close/>
                    <a:moveTo>
                      <a:pt x="38024" y="3579"/>
                    </a:moveTo>
                    <a:cubicBezTo>
                      <a:pt x="33997" y="1342"/>
                      <a:pt x="29972" y="0"/>
                      <a:pt x="25498" y="0"/>
                    </a:cubicBezTo>
                    <a:cubicBezTo>
                      <a:pt x="21025" y="0"/>
                      <a:pt x="16999" y="1342"/>
                      <a:pt x="12973" y="3579"/>
                    </a:cubicBezTo>
                    <a:cubicBezTo>
                      <a:pt x="8947" y="5815"/>
                      <a:pt x="5815" y="8947"/>
                      <a:pt x="3579" y="12973"/>
                    </a:cubicBezTo>
                    <a:cubicBezTo>
                      <a:pt x="1342" y="16999"/>
                      <a:pt x="0" y="21025"/>
                      <a:pt x="0" y="25498"/>
                    </a:cubicBezTo>
                    <a:cubicBezTo>
                      <a:pt x="0" y="29972"/>
                      <a:pt x="1342" y="34445"/>
                      <a:pt x="3579" y="38471"/>
                    </a:cubicBezTo>
                    <a:cubicBezTo>
                      <a:pt x="5815" y="42497"/>
                      <a:pt x="8947" y="45628"/>
                      <a:pt x="12973" y="47865"/>
                    </a:cubicBezTo>
                    <a:cubicBezTo>
                      <a:pt x="16999" y="50102"/>
                      <a:pt x="21025" y="50996"/>
                      <a:pt x="25498" y="50996"/>
                    </a:cubicBezTo>
                    <a:cubicBezTo>
                      <a:pt x="29972" y="50996"/>
                      <a:pt x="33997" y="50102"/>
                      <a:pt x="38024" y="47865"/>
                    </a:cubicBezTo>
                    <a:cubicBezTo>
                      <a:pt x="42050" y="45628"/>
                      <a:pt x="45181" y="42497"/>
                      <a:pt x="47418" y="38471"/>
                    </a:cubicBezTo>
                    <a:cubicBezTo>
                      <a:pt x="49654" y="34445"/>
                      <a:pt x="50996" y="30419"/>
                      <a:pt x="50996" y="25498"/>
                    </a:cubicBezTo>
                    <a:cubicBezTo>
                      <a:pt x="50996" y="20577"/>
                      <a:pt x="49654" y="16551"/>
                      <a:pt x="47418" y="12973"/>
                    </a:cubicBezTo>
                    <a:cubicBezTo>
                      <a:pt x="45181" y="8947"/>
                      <a:pt x="42050" y="5815"/>
                      <a:pt x="38024" y="3579"/>
                    </a:cubicBezTo>
                    <a:lnTo>
                      <a:pt x="38024" y="3579"/>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2" name="Freeform: Shape 531">
                <a:extLst>
                  <a:ext uri="{FF2B5EF4-FFF2-40B4-BE49-F238E27FC236}">
                    <a16:creationId xmlns:a16="http://schemas.microsoft.com/office/drawing/2014/main" id="{7363678A-F872-43BD-A2C9-92847A1F4D70}"/>
                  </a:ext>
                </a:extLst>
              </p:cNvPr>
              <p:cNvSpPr/>
              <p:nvPr/>
            </p:nvSpPr>
            <p:spPr>
              <a:xfrm>
                <a:off x="8060163" y="5443059"/>
                <a:ext cx="19682" cy="28182"/>
              </a:xfrm>
              <a:custGeom>
                <a:avLst/>
                <a:gdLst>
                  <a:gd name="connsiteX0" fmla="*/ 7605 w 19682"/>
                  <a:gd name="connsiteY0" fmla="*/ 12973 h 28182"/>
                  <a:gd name="connsiteX1" fmla="*/ 4473 w 19682"/>
                  <a:gd name="connsiteY1" fmla="*/ 12973 h 28182"/>
                  <a:gd name="connsiteX2" fmla="*/ 4473 w 19682"/>
                  <a:gd name="connsiteY2" fmla="*/ 3579 h 28182"/>
                  <a:gd name="connsiteX3" fmla="*/ 7605 w 19682"/>
                  <a:gd name="connsiteY3" fmla="*/ 3579 h 28182"/>
                  <a:gd name="connsiteX4" fmla="*/ 10736 w 19682"/>
                  <a:gd name="connsiteY4" fmla="*/ 4026 h 28182"/>
                  <a:gd name="connsiteX5" fmla="*/ 12078 w 19682"/>
                  <a:gd name="connsiteY5" fmla="*/ 5815 h 28182"/>
                  <a:gd name="connsiteX6" fmla="*/ 12525 w 19682"/>
                  <a:gd name="connsiteY6" fmla="*/ 8052 h 28182"/>
                  <a:gd name="connsiteX7" fmla="*/ 11183 w 19682"/>
                  <a:gd name="connsiteY7" fmla="*/ 11631 h 28182"/>
                  <a:gd name="connsiteX8" fmla="*/ 7157 w 19682"/>
                  <a:gd name="connsiteY8" fmla="*/ 13420 h 28182"/>
                  <a:gd name="connsiteX9" fmla="*/ 7157 w 19682"/>
                  <a:gd name="connsiteY9" fmla="*/ 13420 h 28182"/>
                  <a:gd name="connsiteX10" fmla="*/ 12078 w 19682"/>
                  <a:gd name="connsiteY10" fmla="*/ 15657 h 28182"/>
                  <a:gd name="connsiteX11" fmla="*/ 16104 w 19682"/>
                  <a:gd name="connsiteY11" fmla="*/ 12078 h 28182"/>
                  <a:gd name="connsiteX12" fmla="*/ 17446 w 19682"/>
                  <a:gd name="connsiteY12" fmla="*/ 7605 h 28182"/>
                  <a:gd name="connsiteX13" fmla="*/ 16551 w 19682"/>
                  <a:gd name="connsiteY13" fmla="*/ 3579 h 28182"/>
                  <a:gd name="connsiteX14" fmla="*/ 13867 w 19682"/>
                  <a:gd name="connsiteY14" fmla="*/ 895 h 28182"/>
                  <a:gd name="connsiteX15" fmla="*/ 8947 w 19682"/>
                  <a:gd name="connsiteY15" fmla="*/ 0 h 28182"/>
                  <a:gd name="connsiteX16" fmla="*/ 0 w 19682"/>
                  <a:gd name="connsiteY16" fmla="*/ 0 h 28182"/>
                  <a:gd name="connsiteX17" fmla="*/ 0 w 19682"/>
                  <a:gd name="connsiteY17" fmla="*/ 28182 h 28182"/>
                  <a:gd name="connsiteX18" fmla="*/ 4473 w 19682"/>
                  <a:gd name="connsiteY18" fmla="*/ 28182 h 28182"/>
                  <a:gd name="connsiteX19" fmla="*/ 4473 w 19682"/>
                  <a:gd name="connsiteY19" fmla="*/ 16551 h 28182"/>
                  <a:gd name="connsiteX20" fmla="*/ 7605 w 19682"/>
                  <a:gd name="connsiteY20" fmla="*/ 16551 h 28182"/>
                  <a:gd name="connsiteX21" fmla="*/ 9841 w 19682"/>
                  <a:gd name="connsiteY21" fmla="*/ 19235 h 28182"/>
                  <a:gd name="connsiteX22" fmla="*/ 10736 w 19682"/>
                  <a:gd name="connsiteY22" fmla="*/ 21025 h 28182"/>
                  <a:gd name="connsiteX23" fmla="*/ 14762 w 19682"/>
                  <a:gd name="connsiteY23" fmla="*/ 28182 h 28182"/>
                  <a:gd name="connsiteX24" fmla="*/ 19683 w 19682"/>
                  <a:gd name="connsiteY24" fmla="*/ 28182 h 28182"/>
                  <a:gd name="connsiteX25" fmla="*/ 15209 w 19682"/>
                  <a:gd name="connsiteY25" fmla="*/ 19683 h 28182"/>
                  <a:gd name="connsiteX26" fmla="*/ 12078 w 19682"/>
                  <a:gd name="connsiteY26" fmla="*/ 15657 h 28182"/>
                  <a:gd name="connsiteX27" fmla="*/ 12078 w 19682"/>
                  <a:gd name="connsiteY27" fmla="*/ 15657 h 2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82" h="28182">
                    <a:moveTo>
                      <a:pt x="7605" y="12973"/>
                    </a:moveTo>
                    <a:lnTo>
                      <a:pt x="4473" y="12973"/>
                    </a:lnTo>
                    <a:lnTo>
                      <a:pt x="4473" y="3579"/>
                    </a:lnTo>
                    <a:lnTo>
                      <a:pt x="7605" y="3579"/>
                    </a:lnTo>
                    <a:cubicBezTo>
                      <a:pt x="7605" y="3579"/>
                      <a:pt x="10289" y="3579"/>
                      <a:pt x="10736" y="4026"/>
                    </a:cubicBezTo>
                    <a:cubicBezTo>
                      <a:pt x="11183" y="4026"/>
                      <a:pt x="11631" y="4921"/>
                      <a:pt x="12078" y="5815"/>
                    </a:cubicBezTo>
                    <a:cubicBezTo>
                      <a:pt x="12078" y="6263"/>
                      <a:pt x="12525" y="7157"/>
                      <a:pt x="12525" y="8052"/>
                    </a:cubicBezTo>
                    <a:cubicBezTo>
                      <a:pt x="12525" y="9394"/>
                      <a:pt x="12525" y="10736"/>
                      <a:pt x="11183" y="11631"/>
                    </a:cubicBezTo>
                    <a:cubicBezTo>
                      <a:pt x="10289" y="12525"/>
                      <a:pt x="8947" y="13420"/>
                      <a:pt x="7157" y="13420"/>
                    </a:cubicBezTo>
                    <a:lnTo>
                      <a:pt x="7157" y="13420"/>
                    </a:lnTo>
                    <a:close/>
                    <a:moveTo>
                      <a:pt x="12078" y="15657"/>
                    </a:moveTo>
                    <a:cubicBezTo>
                      <a:pt x="12078" y="15657"/>
                      <a:pt x="15209" y="13867"/>
                      <a:pt x="16104" y="12078"/>
                    </a:cubicBezTo>
                    <a:cubicBezTo>
                      <a:pt x="16999" y="10736"/>
                      <a:pt x="17446" y="8947"/>
                      <a:pt x="17446" y="7605"/>
                    </a:cubicBezTo>
                    <a:cubicBezTo>
                      <a:pt x="17446" y="6263"/>
                      <a:pt x="17446" y="4921"/>
                      <a:pt x="16551" y="3579"/>
                    </a:cubicBezTo>
                    <a:cubicBezTo>
                      <a:pt x="16104" y="2237"/>
                      <a:pt x="15209" y="1342"/>
                      <a:pt x="13867" y="895"/>
                    </a:cubicBezTo>
                    <a:cubicBezTo>
                      <a:pt x="12973" y="447"/>
                      <a:pt x="11183" y="0"/>
                      <a:pt x="8947" y="0"/>
                    </a:cubicBezTo>
                    <a:lnTo>
                      <a:pt x="0" y="0"/>
                    </a:lnTo>
                    <a:lnTo>
                      <a:pt x="0" y="28182"/>
                    </a:lnTo>
                    <a:lnTo>
                      <a:pt x="4473" y="28182"/>
                    </a:lnTo>
                    <a:lnTo>
                      <a:pt x="4473" y="16551"/>
                    </a:lnTo>
                    <a:lnTo>
                      <a:pt x="7605" y="16551"/>
                    </a:lnTo>
                    <a:cubicBezTo>
                      <a:pt x="7605" y="16551"/>
                      <a:pt x="8947" y="17446"/>
                      <a:pt x="9841" y="19235"/>
                    </a:cubicBezTo>
                    <a:lnTo>
                      <a:pt x="10736" y="21025"/>
                    </a:lnTo>
                    <a:lnTo>
                      <a:pt x="14762" y="28182"/>
                    </a:lnTo>
                    <a:lnTo>
                      <a:pt x="19683" y="28182"/>
                    </a:lnTo>
                    <a:lnTo>
                      <a:pt x="15209" y="19683"/>
                    </a:lnTo>
                    <a:cubicBezTo>
                      <a:pt x="15209" y="19683"/>
                      <a:pt x="12973" y="16104"/>
                      <a:pt x="12078" y="15657"/>
                    </a:cubicBezTo>
                    <a:lnTo>
                      <a:pt x="12078" y="15657"/>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3" name="Freeform: Shape 532">
                <a:extLst>
                  <a:ext uri="{FF2B5EF4-FFF2-40B4-BE49-F238E27FC236}">
                    <a16:creationId xmlns:a16="http://schemas.microsoft.com/office/drawing/2014/main" id="{E7EE354A-92C2-4D9D-A5B9-7419006ECD26}"/>
                  </a:ext>
                </a:extLst>
              </p:cNvPr>
              <p:cNvSpPr/>
              <p:nvPr/>
            </p:nvSpPr>
            <p:spPr>
              <a:xfrm>
                <a:off x="7486678" y="5457821"/>
                <a:ext cx="172671" cy="280927"/>
              </a:xfrm>
              <a:custGeom>
                <a:avLst/>
                <a:gdLst>
                  <a:gd name="connsiteX0" fmla="*/ 124807 w 172671"/>
                  <a:gd name="connsiteY0" fmla="*/ 120333 h 280927"/>
                  <a:gd name="connsiteX1" fmla="*/ 47418 w 172671"/>
                  <a:gd name="connsiteY1" fmla="*/ 120333 h 280927"/>
                  <a:gd name="connsiteX2" fmla="*/ 47418 w 172671"/>
                  <a:gd name="connsiteY2" fmla="*/ 84099 h 280927"/>
                  <a:gd name="connsiteX3" fmla="*/ 86336 w 172671"/>
                  <a:gd name="connsiteY3" fmla="*/ 42497 h 280927"/>
                  <a:gd name="connsiteX4" fmla="*/ 124807 w 172671"/>
                  <a:gd name="connsiteY4" fmla="*/ 84994 h 280927"/>
                  <a:gd name="connsiteX5" fmla="*/ 124807 w 172671"/>
                  <a:gd name="connsiteY5" fmla="*/ 119886 h 280927"/>
                  <a:gd name="connsiteX6" fmla="*/ 124807 w 172671"/>
                  <a:gd name="connsiteY6" fmla="*/ 119886 h 280927"/>
                  <a:gd name="connsiteX7" fmla="*/ 86336 w 172671"/>
                  <a:gd name="connsiteY7" fmla="*/ 0 h 280927"/>
                  <a:gd name="connsiteX8" fmla="*/ 0 w 172671"/>
                  <a:gd name="connsiteY8" fmla="*/ 89467 h 280927"/>
                  <a:gd name="connsiteX9" fmla="*/ 0 w 172671"/>
                  <a:gd name="connsiteY9" fmla="*/ 189223 h 280927"/>
                  <a:gd name="connsiteX10" fmla="*/ 86336 w 172671"/>
                  <a:gd name="connsiteY10" fmla="*/ 280927 h 280927"/>
                  <a:gd name="connsiteX11" fmla="*/ 171330 w 172671"/>
                  <a:gd name="connsiteY11" fmla="*/ 214274 h 280927"/>
                  <a:gd name="connsiteX12" fmla="*/ 123017 w 172671"/>
                  <a:gd name="connsiteY12" fmla="*/ 214274 h 280927"/>
                  <a:gd name="connsiteX13" fmla="*/ 86336 w 172671"/>
                  <a:gd name="connsiteY13" fmla="*/ 238878 h 280927"/>
                  <a:gd name="connsiteX14" fmla="*/ 47418 w 172671"/>
                  <a:gd name="connsiteY14" fmla="*/ 188329 h 280927"/>
                  <a:gd name="connsiteX15" fmla="*/ 47418 w 172671"/>
                  <a:gd name="connsiteY15" fmla="*/ 157910 h 280927"/>
                  <a:gd name="connsiteX16" fmla="*/ 172672 w 172671"/>
                  <a:gd name="connsiteY16" fmla="*/ 157910 h 280927"/>
                  <a:gd name="connsiteX17" fmla="*/ 172672 w 172671"/>
                  <a:gd name="connsiteY17" fmla="*/ 89467 h 280927"/>
                  <a:gd name="connsiteX18" fmla="*/ 86336 w 172671"/>
                  <a:gd name="connsiteY18" fmla="*/ 0 h 280927"/>
                  <a:gd name="connsiteX19" fmla="*/ 86336 w 172671"/>
                  <a:gd name="connsiteY19" fmla="*/ 0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671" h="280927">
                    <a:moveTo>
                      <a:pt x="124807" y="120333"/>
                    </a:moveTo>
                    <a:lnTo>
                      <a:pt x="47418" y="120333"/>
                    </a:lnTo>
                    <a:lnTo>
                      <a:pt x="47418" y="84099"/>
                    </a:lnTo>
                    <a:cubicBezTo>
                      <a:pt x="47418" y="58154"/>
                      <a:pt x="61732" y="42497"/>
                      <a:pt x="86336" y="42497"/>
                    </a:cubicBezTo>
                    <a:cubicBezTo>
                      <a:pt x="110939" y="42497"/>
                      <a:pt x="124807" y="58601"/>
                      <a:pt x="124807" y="84994"/>
                    </a:cubicBezTo>
                    <a:lnTo>
                      <a:pt x="124807" y="119886"/>
                    </a:lnTo>
                    <a:lnTo>
                      <a:pt x="124807" y="119886"/>
                    </a:lnTo>
                    <a:close/>
                    <a:moveTo>
                      <a:pt x="86336" y="0"/>
                    </a:moveTo>
                    <a:cubicBezTo>
                      <a:pt x="33103" y="0"/>
                      <a:pt x="0" y="34445"/>
                      <a:pt x="0" y="89467"/>
                    </a:cubicBezTo>
                    <a:lnTo>
                      <a:pt x="0" y="189223"/>
                    </a:lnTo>
                    <a:cubicBezTo>
                      <a:pt x="0" y="246035"/>
                      <a:pt x="33103" y="280927"/>
                      <a:pt x="86336" y="280927"/>
                    </a:cubicBezTo>
                    <a:cubicBezTo>
                      <a:pt x="139569" y="280927"/>
                      <a:pt x="165962" y="249166"/>
                      <a:pt x="171330" y="214274"/>
                    </a:cubicBezTo>
                    <a:lnTo>
                      <a:pt x="123017" y="214274"/>
                    </a:ln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lnTo>
                      <a:pt x="86336"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772" name="Group 771">
            <a:extLst>
              <a:ext uri="{FF2B5EF4-FFF2-40B4-BE49-F238E27FC236}">
                <a16:creationId xmlns:a16="http://schemas.microsoft.com/office/drawing/2014/main" id="{46CF7167-8758-42C3-A2AF-607685C04516}"/>
              </a:ext>
            </a:extLst>
          </p:cNvPr>
          <p:cNvGrpSpPr/>
          <p:nvPr userDrawn="1"/>
        </p:nvGrpSpPr>
        <p:grpSpPr>
          <a:xfrm>
            <a:off x="3339353" y="5740711"/>
            <a:ext cx="1012435" cy="263397"/>
            <a:chOff x="222516" y="1882291"/>
            <a:chExt cx="5703760" cy="1483898"/>
          </a:xfrm>
        </p:grpSpPr>
        <p:sp>
          <p:nvSpPr>
            <p:cNvPr id="773" name="Freeform: Shape 772">
              <a:extLst>
                <a:ext uri="{FF2B5EF4-FFF2-40B4-BE49-F238E27FC236}">
                  <a16:creationId xmlns:a16="http://schemas.microsoft.com/office/drawing/2014/main" id="{0949521B-374D-4AC5-A0A4-1F19EAF668A7}"/>
                </a:ext>
              </a:extLst>
            </p:cNvPr>
            <p:cNvSpPr/>
            <p:nvPr/>
          </p:nvSpPr>
          <p:spPr>
            <a:xfrm>
              <a:off x="222516" y="1997067"/>
              <a:ext cx="497966" cy="1257966"/>
            </a:xfrm>
            <a:custGeom>
              <a:avLst/>
              <a:gdLst>
                <a:gd name="connsiteX0" fmla="*/ 66389 w 497966"/>
                <a:gd name="connsiteY0" fmla="*/ 1257967 h 1257966"/>
                <a:gd name="connsiteX1" fmla="*/ 0 w 497966"/>
                <a:gd name="connsiteY1" fmla="*/ 1257967 h 1257966"/>
                <a:gd name="connsiteX2" fmla="*/ 455962 w 497966"/>
                <a:gd name="connsiteY2" fmla="*/ 0 h 1257966"/>
                <a:gd name="connsiteX3" fmla="*/ 497967 w 497966"/>
                <a:gd name="connsiteY3" fmla="*/ 77438 h 1257966"/>
                <a:gd name="connsiteX4" fmla="*/ 66389 w 497966"/>
                <a:gd name="connsiteY4" fmla="*/ 1257967 h 1257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966" h="1257966">
                  <a:moveTo>
                    <a:pt x="66389" y="1257967"/>
                  </a:moveTo>
                  <a:lnTo>
                    <a:pt x="0" y="1257967"/>
                  </a:lnTo>
                  <a:lnTo>
                    <a:pt x="455962" y="0"/>
                  </a:lnTo>
                  <a:lnTo>
                    <a:pt x="497967" y="77438"/>
                  </a:lnTo>
                  <a:lnTo>
                    <a:pt x="66389" y="125796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4" name="Freeform: Shape 773">
              <a:extLst>
                <a:ext uri="{FF2B5EF4-FFF2-40B4-BE49-F238E27FC236}">
                  <a16:creationId xmlns:a16="http://schemas.microsoft.com/office/drawing/2014/main" id="{541D8DCD-966D-41A2-B60A-8BD9B698A15A}"/>
                </a:ext>
              </a:extLst>
            </p:cNvPr>
            <p:cNvSpPr/>
            <p:nvPr/>
          </p:nvSpPr>
          <p:spPr>
            <a:xfrm>
              <a:off x="325576" y="2119558"/>
              <a:ext cx="486917" cy="1246631"/>
            </a:xfrm>
            <a:custGeom>
              <a:avLst/>
              <a:gdLst>
                <a:gd name="connsiteX0" fmla="*/ 64198 w 486917"/>
                <a:gd name="connsiteY0" fmla="*/ 1246632 h 1246631"/>
                <a:gd name="connsiteX1" fmla="*/ 0 w 486917"/>
                <a:gd name="connsiteY1" fmla="*/ 1246632 h 1246631"/>
                <a:gd name="connsiteX2" fmla="*/ 448151 w 486917"/>
                <a:gd name="connsiteY2" fmla="*/ 0 h 1246631"/>
                <a:gd name="connsiteX3" fmla="*/ 486918 w 486917"/>
                <a:gd name="connsiteY3" fmla="*/ 104584 h 1246631"/>
                <a:gd name="connsiteX4" fmla="*/ 64198 w 486917"/>
                <a:gd name="connsiteY4" fmla="*/ 1246632 h 1246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6917" h="1246631">
                  <a:moveTo>
                    <a:pt x="64198" y="1246632"/>
                  </a:moveTo>
                  <a:lnTo>
                    <a:pt x="0" y="1246632"/>
                  </a:lnTo>
                  <a:lnTo>
                    <a:pt x="448151" y="0"/>
                  </a:lnTo>
                  <a:lnTo>
                    <a:pt x="486918" y="104584"/>
                  </a:lnTo>
                  <a:lnTo>
                    <a:pt x="64198" y="12466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5" name="Freeform: Shape 774">
              <a:extLst>
                <a:ext uri="{FF2B5EF4-FFF2-40B4-BE49-F238E27FC236}">
                  <a16:creationId xmlns:a16="http://schemas.microsoft.com/office/drawing/2014/main" id="{3C95E1AC-1054-402B-8A7B-AD18F0BA8D03}"/>
                </a:ext>
              </a:extLst>
            </p:cNvPr>
            <p:cNvSpPr/>
            <p:nvPr/>
          </p:nvSpPr>
          <p:spPr>
            <a:xfrm>
              <a:off x="488549" y="2327108"/>
              <a:ext cx="386048" cy="971645"/>
            </a:xfrm>
            <a:custGeom>
              <a:avLst/>
              <a:gdLst>
                <a:gd name="connsiteX0" fmla="*/ 64198 w 386048"/>
                <a:gd name="connsiteY0" fmla="*/ 971645 h 971645"/>
                <a:gd name="connsiteX1" fmla="*/ 0 w 386048"/>
                <a:gd name="connsiteY1" fmla="*/ 971645 h 971645"/>
                <a:gd name="connsiteX2" fmla="*/ 347282 w 386048"/>
                <a:gd name="connsiteY2" fmla="*/ 0 h 971645"/>
                <a:gd name="connsiteX3" fmla="*/ 386048 w 386048"/>
                <a:gd name="connsiteY3" fmla="*/ 104584 h 971645"/>
                <a:gd name="connsiteX4" fmla="*/ 64198 w 386048"/>
                <a:gd name="connsiteY4" fmla="*/ 971645 h 9716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048" h="971645">
                  <a:moveTo>
                    <a:pt x="64198" y="971645"/>
                  </a:moveTo>
                  <a:lnTo>
                    <a:pt x="0" y="971645"/>
                  </a:lnTo>
                  <a:lnTo>
                    <a:pt x="347282" y="0"/>
                  </a:lnTo>
                  <a:lnTo>
                    <a:pt x="386048" y="104584"/>
                  </a:lnTo>
                  <a:lnTo>
                    <a:pt x="64198" y="97164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6" name="Freeform: Shape 775">
              <a:extLst>
                <a:ext uri="{FF2B5EF4-FFF2-40B4-BE49-F238E27FC236}">
                  <a16:creationId xmlns:a16="http://schemas.microsoft.com/office/drawing/2014/main" id="{1A9D8EE1-0181-449A-B0BE-D2B64033CE6F}"/>
                </a:ext>
              </a:extLst>
            </p:cNvPr>
            <p:cNvSpPr/>
            <p:nvPr/>
          </p:nvSpPr>
          <p:spPr>
            <a:xfrm>
              <a:off x="677620" y="1997829"/>
              <a:ext cx="540067" cy="1257204"/>
            </a:xfrm>
            <a:custGeom>
              <a:avLst/>
              <a:gdLst>
                <a:gd name="connsiteX0" fmla="*/ 72485 w 540067"/>
                <a:gd name="connsiteY0" fmla="*/ 0 h 1257204"/>
                <a:gd name="connsiteX1" fmla="*/ 0 w 540067"/>
                <a:gd name="connsiteY1" fmla="*/ 0 h 1257204"/>
                <a:gd name="connsiteX2" fmla="*/ 475869 w 540067"/>
                <a:gd name="connsiteY2" fmla="*/ 1257205 h 1257204"/>
                <a:gd name="connsiteX3" fmla="*/ 540068 w 540067"/>
                <a:gd name="connsiteY3" fmla="*/ 1257205 h 1257204"/>
                <a:gd name="connsiteX4" fmla="*/ 72485 w 540067"/>
                <a:gd name="connsiteY4" fmla="*/ 0 h 1257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067" h="1257204">
                  <a:moveTo>
                    <a:pt x="72485" y="0"/>
                  </a:moveTo>
                  <a:lnTo>
                    <a:pt x="0" y="0"/>
                  </a:lnTo>
                  <a:lnTo>
                    <a:pt x="475869" y="1257205"/>
                  </a:lnTo>
                  <a:lnTo>
                    <a:pt x="540068" y="1257205"/>
                  </a:lnTo>
                  <a:lnTo>
                    <a:pt x="7248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7" name="Freeform: Shape 776">
              <a:extLst>
                <a:ext uri="{FF2B5EF4-FFF2-40B4-BE49-F238E27FC236}">
                  <a16:creationId xmlns:a16="http://schemas.microsoft.com/office/drawing/2014/main" id="{FC36DCD9-D151-47F8-9F37-BB8A1959FC2E}"/>
                </a:ext>
              </a:extLst>
            </p:cNvPr>
            <p:cNvSpPr/>
            <p:nvPr/>
          </p:nvSpPr>
          <p:spPr>
            <a:xfrm>
              <a:off x="766679" y="1882291"/>
              <a:ext cx="616934" cy="1447895"/>
            </a:xfrm>
            <a:custGeom>
              <a:avLst/>
              <a:gdLst>
                <a:gd name="connsiteX0" fmla="*/ 73057 w 616934"/>
                <a:gd name="connsiteY0" fmla="*/ 0 h 1447895"/>
                <a:gd name="connsiteX1" fmla="*/ 0 w 616934"/>
                <a:gd name="connsiteY1" fmla="*/ 0 h 1447895"/>
                <a:gd name="connsiteX2" fmla="*/ 552736 w 616934"/>
                <a:gd name="connsiteY2" fmla="*/ 1447895 h 1447895"/>
                <a:gd name="connsiteX3" fmla="*/ 616934 w 616934"/>
                <a:gd name="connsiteY3" fmla="*/ 1447895 h 1447895"/>
                <a:gd name="connsiteX4" fmla="*/ 73057 w 616934"/>
                <a:gd name="connsiteY4" fmla="*/ 0 h 14478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6934" h="1447895">
                  <a:moveTo>
                    <a:pt x="73057" y="0"/>
                  </a:moveTo>
                  <a:lnTo>
                    <a:pt x="0" y="0"/>
                  </a:lnTo>
                  <a:lnTo>
                    <a:pt x="552736" y="1447895"/>
                  </a:lnTo>
                  <a:lnTo>
                    <a:pt x="616934" y="1447895"/>
                  </a:lnTo>
                  <a:lnTo>
                    <a:pt x="73057"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8" name="Freeform: Shape 777">
              <a:extLst>
                <a:ext uri="{FF2B5EF4-FFF2-40B4-BE49-F238E27FC236}">
                  <a16:creationId xmlns:a16="http://schemas.microsoft.com/office/drawing/2014/main" id="{630480C4-96B6-4C07-B530-1423CD5CCDA6}"/>
                </a:ext>
              </a:extLst>
            </p:cNvPr>
            <p:cNvSpPr/>
            <p:nvPr/>
          </p:nvSpPr>
          <p:spPr>
            <a:xfrm>
              <a:off x="948987" y="2000115"/>
              <a:ext cx="518160" cy="1187386"/>
            </a:xfrm>
            <a:custGeom>
              <a:avLst/>
              <a:gdLst>
                <a:gd name="connsiteX0" fmla="*/ 73057 w 518160"/>
                <a:gd name="connsiteY0" fmla="*/ 0 h 1187386"/>
                <a:gd name="connsiteX1" fmla="*/ 0 w 518160"/>
                <a:gd name="connsiteY1" fmla="*/ 0 h 1187386"/>
                <a:gd name="connsiteX2" fmla="*/ 453962 w 518160"/>
                <a:gd name="connsiteY2" fmla="*/ 1187387 h 1187386"/>
                <a:gd name="connsiteX3" fmla="*/ 518160 w 518160"/>
                <a:gd name="connsiteY3" fmla="*/ 1187387 h 1187386"/>
                <a:gd name="connsiteX4" fmla="*/ 73057 w 518160"/>
                <a:gd name="connsiteY4" fmla="*/ 0 h 1187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160" h="1187386">
                  <a:moveTo>
                    <a:pt x="73057" y="0"/>
                  </a:moveTo>
                  <a:lnTo>
                    <a:pt x="0" y="0"/>
                  </a:lnTo>
                  <a:lnTo>
                    <a:pt x="453962" y="1187387"/>
                  </a:lnTo>
                  <a:lnTo>
                    <a:pt x="518160" y="1187387"/>
                  </a:lnTo>
                  <a:lnTo>
                    <a:pt x="73057"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779" name="Graphic 754">
              <a:extLst>
                <a:ext uri="{FF2B5EF4-FFF2-40B4-BE49-F238E27FC236}">
                  <a16:creationId xmlns:a16="http://schemas.microsoft.com/office/drawing/2014/main" id="{3EAD5112-CBB7-47A6-B4E2-1C21CD37CCC7}"/>
                </a:ext>
              </a:extLst>
            </p:cNvPr>
            <p:cNvGrpSpPr/>
            <p:nvPr/>
          </p:nvGrpSpPr>
          <p:grpSpPr>
            <a:xfrm>
              <a:off x="2009691" y="2344444"/>
              <a:ext cx="3739800" cy="550163"/>
              <a:chOff x="2009691" y="2344444"/>
              <a:chExt cx="3739800" cy="550163"/>
            </a:xfrm>
            <a:solidFill>
              <a:srgbClr val="A1ABB2"/>
            </a:solidFill>
          </p:grpSpPr>
          <p:sp>
            <p:nvSpPr>
              <p:cNvPr id="781" name="Freeform: Shape 780">
                <a:extLst>
                  <a:ext uri="{FF2B5EF4-FFF2-40B4-BE49-F238E27FC236}">
                    <a16:creationId xmlns:a16="http://schemas.microsoft.com/office/drawing/2014/main" id="{15503940-CAB6-44AD-A0F8-58EE70A5BF18}"/>
                  </a:ext>
                </a:extLst>
              </p:cNvPr>
              <p:cNvSpPr/>
              <p:nvPr/>
            </p:nvSpPr>
            <p:spPr>
              <a:xfrm>
                <a:off x="2009691" y="2362255"/>
                <a:ext cx="572357" cy="518922"/>
              </a:xfrm>
              <a:custGeom>
                <a:avLst/>
                <a:gdLst>
                  <a:gd name="connsiteX0" fmla="*/ 421862 w 572357"/>
                  <a:gd name="connsiteY0" fmla="*/ 421100 h 518922"/>
                  <a:gd name="connsiteX1" fmla="*/ 150495 w 572357"/>
                  <a:gd name="connsiteY1" fmla="*/ 421100 h 518922"/>
                  <a:gd name="connsiteX2" fmla="*/ 106013 w 572357"/>
                  <a:gd name="connsiteY2" fmla="*/ 518922 h 518922"/>
                  <a:gd name="connsiteX3" fmla="*/ 0 w 572357"/>
                  <a:gd name="connsiteY3" fmla="*/ 518922 h 518922"/>
                  <a:gd name="connsiteX4" fmla="*/ 232791 w 572357"/>
                  <a:gd name="connsiteY4" fmla="*/ 0 h 518922"/>
                  <a:gd name="connsiteX5" fmla="*/ 339566 w 572357"/>
                  <a:gd name="connsiteY5" fmla="*/ 0 h 518922"/>
                  <a:gd name="connsiteX6" fmla="*/ 572357 w 572357"/>
                  <a:gd name="connsiteY6" fmla="*/ 518922 h 518922"/>
                  <a:gd name="connsiteX7" fmla="*/ 465582 w 572357"/>
                  <a:gd name="connsiteY7" fmla="*/ 518922 h 518922"/>
                  <a:gd name="connsiteX8" fmla="*/ 421862 w 572357"/>
                  <a:gd name="connsiteY8" fmla="*/ 421100 h 518922"/>
                  <a:gd name="connsiteX9" fmla="*/ 286226 w 572357"/>
                  <a:gd name="connsiteY9" fmla="*/ 108966 h 518922"/>
                  <a:gd name="connsiteX10" fmla="*/ 189833 w 572357"/>
                  <a:gd name="connsiteY10" fmla="*/ 329851 h 518922"/>
                  <a:gd name="connsiteX11" fmla="*/ 382619 w 572357"/>
                  <a:gd name="connsiteY11" fmla="*/ 329851 h 518922"/>
                  <a:gd name="connsiteX12" fmla="*/ 286226 w 572357"/>
                  <a:gd name="connsiteY12" fmla="*/ 108966 h 51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2357" h="518922">
                    <a:moveTo>
                      <a:pt x="421862" y="421100"/>
                    </a:moveTo>
                    <a:lnTo>
                      <a:pt x="150495" y="421100"/>
                    </a:lnTo>
                    <a:lnTo>
                      <a:pt x="106013" y="518922"/>
                    </a:lnTo>
                    <a:lnTo>
                      <a:pt x="0" y="518922"/>
                    </a:lnTo>
                    <a:lnTo>
                      <a:pt x="232791" y="0"/>
                    </a:lnTo>
                    <a:lnTo>
                      <a:pt x="339566" y="0"/>
                    </a:lnTo>
                    <a:lnTo>
                      <a:pt x="572357" y="518922"/>
                    </a:lnTo>
                    <a:lnTo>
                      <a:pt x="465582" y="518922"/>
                    </a:lnTo>
                    <a:lnTo>
                      <a:pt x="421862" y="421100"/>
                    </a:lnTo>
                    <a:close/>
                    <a:moveTo>
                      <a:pt x="286226" y="108966"/>
                    </a:moveTo>
                    <a:lnTo>
                      <a:pt x="189833" y="329851"/>
                    </a:lnTo>
                    <a:lnTo>
                      <a:pt x="382619" y="329851"/>
                    </a:lnTo>
                    <a:lnTo>
                      <a:pt x="286226" y="10896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2" name="Freeform: Shape 781">
                <a:extLst>
                  <a:ext uri="{FF2B5EF4-FFF2-40B4-BE49-F238E27FC236}">
                    <a16:creationId xmlns:a16="http://schemas.microsoft.com/office/drawing/2014/main" id="{079325FD-806E-4D2F-A685-E32F9FB11EEC}"/>
                  </a:ext>
                </a:extLst>
              </p:cNvPr>
              <p:cNvSpPr/>
              <p:nvPr/>
            </p:nvSpPr>
            <p:spPr>
              <a:xfrm>
                <a:off x="2733210" y="2362255"/>
                <a:ext cx="427005" cy="518922"/>
              </a:xfrm>
              <a:custGeom>
                <a:avLst/>
                <a:gdLst>
                  <a:gd name="connsiteX0" fmla="*/ 164592 w 427005"/>
                  <a:gd name="connsiteY0" fmla="*/ 88964 h 518922"/>
                  <a:gd name="connsiteX1" fmla="*/ 0 w 427005"/>
                  <a:gd name="connsiteY1" fmla="*/ 88964 h 518922"/>
                  <a:gd name="connsiteX2" fmla="*/ 0 w 427005"/>
                  <a:gd name="connsiteY2" fmla="*/ 0 h 518922"/>
                  <a:gd name="connsiteX3" fmla="*/ 427006 w 427005"/>
                  <a:gd name="connsiteY3" fmla="*/ 0 h 518922"/>
                  <a:gd name="connsiteX4" fmla="*/ 427006 w 427005"/>
                  <a:gd name="connsiteY4" fmla="*/ 88964 h 518922"/>
                  <a:gd name="connsiteX5" fmla="*/ 262414 w 427005"/>
                  <a:gd name="connsiteY5" fmla="*/ 88964 h 518922"/>
                  <a:gd name="connsiteX6" fmla="*/ 262414 w 427005"/>
                  <a:gd name="connsiteY6" fmla="*/ 518922 h 518922"/>
                  <a:gd name="connsiteX7" fmla="*/ 164592 w 427005"/>
                  <a:gd name="connsiteY7" fmla="*/ 518922 h 518922"/>
                  <a:gd name="connsiteX8" fmla="*/ 164592 w 427005"/>
                  <a:gd name="connsiteY8" fmla="*/ 88964 h 51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7005" h="518922">
                    <a:moveTo>
                      <a:pt x="164592" y="88964"/>
                    </a:moveTo>
                    <a:lnTo>
                      <a:pt x="0" y="88964"/>
                    </a:lnTo>
                    <a:lnTo>
                      <a:pt x="0" y="0"/>
                    </a:lnTo>
                    <a:lnTo>
                      <a:pt x="427006" y="0"/>
                    </a:lnTo>
                    <a:lnTo>
                      <a:pt x="427006" y="88964"/>
                    </a:lnTo>
                    <a:lnTo>
                      <a:pt x="262414" y="88964"/>
                    </a:lnTo>
                    <a:lnTo>
                      <a:pt x="262414" y="518922"/>
                    </a:lnTo>
                    <a:lnTo>
                      <a:pt x="164592" y="518922"/>
                    </a:lnTo>
                    <a:lnTo>
                      <a:pt x="164592" y="8896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3" name="Freeform: Shape 782">
                <a:extLst>
                  <a:ext uri="{FF2B5EF4-FFF2-40B4-BE49-F238E27FC236}">
                    <a16:creationId xmlns:a16="http://schemas.microsoft.com/office/drawing/2014/main" id="{FFCF5053-C491-4C48-9276-33D1DF0CF0F6}"/>
                  </a:ext>
                </a:extLst>
              </p:cNvPr>
              <p:cNvSpPr/>
              <p:nvPr/>
            </p:nvSpPr>
            <p:spPr>
              <a:xfrm>
                <a:off x="3442727" y="2361493"/>
                <a:ext cx="459581" cy="519684"/>
              </a:xfrm>
              <a:custGeom>
                <a:avLst/>
                <a:gdLst>
                  <a:gd name="connsiteX0" fmla="*/ 459581 w 459581"/>
                  <a:gd name="connsiteY0" fmla="*/ 519684 h 519684"/>
                  <a:gd name="connsiteX1" fmla="*/ 343186 w 459581"/>
                  <a:gd name="connsiteY1" fmla="*/ 519684 h 519684"/>
                  <a:gd name="connsiteX2" fmla="*/ 191929 w 459581"/>
                  <a:gd name="connsiteY2" fmla="*/ 346234 h 519684"/>
                  <a:gd name="connsiteX3" fmla="*/ 97822 w 459581"/>
                  <a:gd name="connsiteY3" fmla="*/ 346234 h 519684"/>
                  <a:gd name="connsiteX4" fmla="*/ 97822 w 459581"/>
                  <a:gd name="connsiteY4" fmla="*/ 519684 h 519684"/>
                  <a:gd name="connsiteX5" fmla="*/ 0 w 459581"/>
                  <a:gd name="connsiteY5" fmla="*/ 519684 h 519684"/>
                  <a:gd name="connsiteX6" fmla="*/ 0 w 459581"/>
                  <a:gd name="connsiteY6" fmla="*/ 0 h 519684"/>
                  <a:gd name="connsiteX7" fmla="*/ 246888 w 459581"/>
                  <a:gd name="connsiteY7" fmla="*/ 762 h 519684"/>
                  <a:gd name="connsiteX8" fmla="*/ 433673 w 459581"/>
                  <a:gd name="connsiteY8" fmla="*/ 172783 h 519684"/>
                  <a:gd name="connsiteX9" fmla="*/ 302419 w 459581"/>
                  <a:gd name="connsiteY9" fmla="*/ 335851 h 519684"/>
                  <a:gd name="connsiteX10" fmla="*/ 459581 w 459581"/>
                  <a:gd name="connsiteY10" fmla="*/ 513016 h 519684"/>
                  <a:gd name="connsiteX11" fmla="*/ 459581 w 459581"/>
                  <a:gd name="connsiteY11" fmla="*/ 519684 h 519684"/>
                  <a:gd name="connsiteX12" fmla="*/ 97822 w 459581"/>
                  <a:gd name="connsiteY12" fmla="*/ 91916 h 519684"/>
                  <a:gd name="connsiteX13" fmla="*/ 97822 w 459581"/>
                  <a:gd name="connsiteY13" fmla="*/ 257937 h 519684"/>
                  <a:gd name="connsiteX14" fmla="*/ 246793 w 459581"/>
                  <a:gd name="connsiteY14" fmla="*/ 257937 h 519684"/>
                  <a:gd name="connsiteX15" fmla="*/ 335756 w 459581"/>
                  <a:gd name="connsiteY15" fmla="*/ 174879 h 519684"/>
                  <a:gd name="connsiteX16" fmla="*/ 246793 w 459581"/>
                  <a:gd name="connsiteY16" fmla="*/ 91821 h 519684"/>
                  <a:gd name="connsiteX17" fmla="*/ 97822 w 459581"/>
                  <a:gd name="connsiteY17" fmla="*/ 91821 h 519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9581" h="519684">
                    <a:moveTo>
                      <a:pt x="459581" y="519684"/>
                    </a:moveTo>
                    <a:lnTo>
                      <a:pt x="343186" y="519684"/>
                    </a:lnTo>
                    <a:lnTo>
                      <a:pt x="191929" y="346234"/>
                    </a:lnTo>
                    <a:lnTo>
                      <a:pt x="97822" y="346234"/>
                    </a:lnTo>
                    <a:lnTo>
                      <a:pt x="97822" y="519684"/>
                    </a:lnTo>
                    <a:lnTo>
                      <a:pt x="0" y="519684"/>
                    </a:lnTo>
                    <a:lnTo>
                      <a:pt x="0" y="0"/>
                    </a:lnTo>
                    <a:cubicBezTo>
                      <a:pt x="82296" y="0"/>
                      <a:pt x="164592" y="762"/>
                      <a:pt x="246888" y="762"/>
                    </a:cubicBezTo>
                    <a:cubicBezTo>
                      <a:pt x="369189" y="1524"/>
                      <a:pt x="433673" y="83058"/>
                      <a:pt x="433673" y="172783"/>
                    </a:cubicBezTo>
                    <a:cubicBezTo>
                      <a:pt x="433673" y="243935"/>
                      <a:pt x="401003" y="315849"/>
                      <a:pt x="302419" y="335851"/>
                    </a:cubicBezTo>
                    <a:lnTo>
                      <a:pt x="459581" y="513016"/>
                    </a:lnTo>
                    <a:lnTo>
                      <a:pt x="459581" y="519684"/>
                    </a:lnTo>
                    <a:close/>
                    <a:moveTo>
                      <a:pt x="97822" y="91916"/>
                    </a:moveTo>
                    <a:lnTo>
                      <a:pt x="97822" y="257937"/>
                    </a:lnTo>
                    <a:lnTo>
                      <a:pt x="246793" y="257937"/>
                    </a:lnTo>
                    <a:cubicBezTo>
                      <a:pt x="309086" y="257937"/>
                      <a:pt x="335756" y="216408"/>
                      <a:pt x="335756" y="174879"/>
                    </a:cubicBezTo>
                    <a:cubicBezTo>
                      <a:pt x="335756" y="133350"/>
                      <a:pt x="308325" y="91821"/>
                      <a:pt x="246793" y="91821"/>
                    </a:cubicBezTo>
                    <a:lnTo>
                      <a:pt x="97822" y="9182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4" name="Freeform: Shape 783">
                <a:extLst>
                  <a:ext uri="{FF2B5EF4-FFF2-40B4-BE49-F238E27FC236}">
                    <a16:creationId xmlns:a16="http://schemas.microsoft.com/office/drawing/2014/main" id="{F86DC7C3-212B-4127-95B4-BFEE37AF81CB}"/>
                  </a:ext>
                </a:extLst>
              </p:cNvPr>
              <p:cNvSpPr/>
              <p:nvPr/>
            </p:nvSpPr>
            <p:spPr>
              <a:xfrm>
                <a:off x="4165389" y="2362255"/>
                <a:ext cx="97154" cy="518922"/>
              </a:xfrm>
              <a:custGeom>
                <a:avLst/>
                <a:gdLst>
                  <a:gd name="connsiteX0" fmla="*/ 0 w 97154"/>
                  <a:gd name="connsiteY0" fmla="*/ 518922 h 518922"/>
                  <a:gd name="connsiteX1" fmla="*/ 0 w 97154"/>
                  <a:gd name="connsiteY1" fmla="*/ 0 h 518922"/>
                  <a:gd name="connsiteX2" fmla="*/ 97155 w 97154"/>
                  <a:gd name="connsiteY2" fmla="*/ 0 h 518922"/>
                  <a:gd name="connsiteX3" fmla="*/ 97155 w 97154"/>
                  <a:gd name="connsiteY3" fmla="*/ 518922 h 518922"/>
                  <a:gd name="connsiteX4" fmla="*/ 0 w 97154"/>
                  <a:gd name="connsiteY4" fmla="*/ 518922 h 518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54" h="518922">
                    <a:moveTo>
                      <a:pt x="0" y="518922"/>
                    </a:moveTo>
                    <a:lnTo>
                      <a:pt x="0" y="0"/>
                    </a:lnTo>
                    <a:lnTo>
                      <a:pt x="97155" y="0"/>
                    </a:lnTo>
                    <a:lnTo>
                      <a:pt x="97155" y="518922"/>
                    </a:lnTo>
                    <a:lnTo>
                      <a:pt x="0" y="51892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5" name="Freeform: Shape 784">
                <a:extLst>
                  <a:ext uri="{FF2B5EF4-FFF2-40B4-BE49-F238E27FC236}">
                    <a16:creationId xmlns:a16="http://schemas.microsoft.com/office/drawing/2014/main" id="{2329964F-15DB-4BF7-8B08-49626A0F5B17}"/>
                  </a:ext>
                </a:extLst>
              </p:cNvPr>
              <p:cNvSpPr/>
              <p:nvPr/>
            </p:nvSpPr>
            <p:spPr>
              <a:xfrm>
                <a:off x="4562010" y="2363017"/>
                <a:ext cx="455295" cy="529304"/>
              </a:xfrm>
              <a:custGeom>
                <a:avLst/>
                <a:gdLst>
                  <a:gd name="connsiteX0" fmla="*/ 455200 w 455295"/>
                  <a:gd name="connsiteY0" fmla="*/ 0 h 529304"/>
                  <a:gd name="connsiteX1" fmla="*/ 455200 w 455295"/>
                  <a:gd name="connsiteY1" fmla="*/ 297275 h 529304"/>
                  <a:gd name="connsiteX2" fmla="*/ 230600 w 455295"/>
                  <a:gd name="connsiteY2" fmla="*/ 529304 h 529304"/>
                  <a:gd name="connsiteX3" fmla="*/ 0 w 455295"/>
                  <a:gd name="connsiteY3" fmla="*/ 297275 h 529304"/>
                  <a:gd name="connsiteX4" fmla="*/ 0 w 455295"/>
                  <a:gd name="connsiteY4" fmla="*/ 0 h 529304"/>
                  <a:gd name="connsiteX5" fmla="*/ 97155 w 455295"/>
                  <a:gd name="connsiteY5" fmla="*/ 0 h 529304"/>
                  <a:gd name="connsiteX6" fmla="*/ 97155 w 455295"/>
                  <a:gd name="connsiteY6" fmla="*/ 297275 h 529304"/>
                  <a:gd name="connsiteX7" fmla="*/ 231362 w 455295"/>
                  <a:gd name="connsiteY7" fmla="*/ 440341 h 529304"/>
                  <a:gd name="connsiteX8" fmla="*/ 358140 w 455295"/>
                  <a:gd name="connsiteY8" fmla="*/ 297275 h 529304"/>
                  <a:gd name="connsiteX9" fmla="*/ 358140 w 455295"/>
                  <a:gd name="connsiteY9" fmla="*/ 0 h 529304"/>
                  <a:gd name="connsiteX10" fmla="*/ 455295 w 455295"/>
                  <a:gd name="connsiteY10" fmla="*/ 0 h 529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5295" h="529304">
                    <a:moveTo>
                      <a:pt x="455200" y="0"/>
                    </a:moveTo>
                    <a:lnTo>
                      <a:pt x="455200" y="297275"/>
                    </a:lnTo>
                    <a:cubicBezTo>
                      <a:pt x="455200" y="450723"/>
                      <a:pt x="361093" y="529304"/>
                      <a:pt x="230600" y="529304"/>
                    </a:cubicBezTo>
                    <a:cubicBezTo>
                      <a:pt x="100108" y="529304"/>
                      <a:pt x="0" y="453676"/>
                      <a:pt x="0" y="297275"/>
                    </a:cubicBezTo>
                    <a:lnTo>
                      <a:pt x="0" y="0"/>
                    </a:lnTo>
                    <a:lnTo>
                      <a:pt x="97155" y="0"/>
                    </a:lnTo>
                    <a:lnTo>
                      <a:pt x="97155" y="297275"/>
                    </a:lnTo>
                    <a:cubicBezTo>
                      <a:pt x="97155" y="390715"/>
                      <a:pt x="150495" y="440341"/>
                      <a:pt x="231362" y="440341"/>
                    </a:cubicBezTo>
                    <a:cubicBezTo>
                      <a:pt x="312230" y="440341"/>
                      <a:pt x="358140" y="386239"/>
                      <a:pt x="358140" y="297275"/>
                    </a:cubicBezTo>
                    <a:lnTo>
                      <a:pt x="358140" y="0"/>
                    </a:lnTo>
                    <a:lnTo>
                      <a:pt x="45529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6" name="Freeform: Shape 785">
                <a:extLst>
                  <a:ext uri="{FF2B5EF4-FFF2-40B4-BE49-F238E27FC236}">
                    <a16:creationId xmlns:a16="http://schemas.microsoft.com/office/drawing/2014/main" id="{CAF327A3-4C77-45CC-BC70-0F4058CD83A6}"/>
                  </a:ext>
                </a:extLst>
              </p:cNvPr>
              <p:cNvSpPr/>
              <p:nvPr/>
            </p:nvSpPr>
            <p:spPr>
              <a:xfrm>
                <a:off x="5305437" y="2344444"/>
                <a:ext cx="444055" cy="550163"/>
              </a:xfrm>
              <a:custGeom>
                <a:avLst/>
                <a:gdLst>
                  <a:gd name="connsiteX0" fmla="*/ 349948 w 444055"/>
                  <a:gd name="connsiteY0" fmla="*/ 143066 h 550163"/>
                  <a:gd name="connsiteX1" fmla="*/ 226886 w 444055"/>
                  <a:gd name="connsiteY1" fmla="*/ 85249 h 550163"/>
                  <a:gd name="connsiteX2" fmla="*/ 119348 w 444055"/>
                  <a:gd name="connsiteY2" fmla="*/ 154210 h 550163"/>
                  <a:gd name="connsiteX3" fmla="*/ 234982 w 444055"/>
                  <a:gd name="connsiteY3" fmla="*/ 219456 h 550163"/>
                  <a:gd name="connsiteX4" fmla="*/ 444055 w 444055"/>
                  <a:gd name="connsiteY4" fmla="*/ 384810 h 550163"/>
                  <a:gd name="connsiteX5" fmla="*/ 226123 w 444055"/>
                  <a:gd name="connsiteY5" fmla="*/ 550164 h 550163"/>
                  <a:gd name="connsiteX6" fmla="*/ 0 w 444055"/>
                  <a:gd name="connsiteY6" fmla="*/ 422624 h 550163"/>
                  <a:gd name="connsiteX7" fmla="*/ 81534 w 444055"/>
                  <a:gd name="connsiteY7" fmla="*/ 380333 h 550163"/>
                  <a:gd name="connsiteX8" fmla="*/ 227552 w 444055"/>
                  <a:gd name="connsiteY8" fmla="*/ 462629 h 550163"/>
                  <a:gd name="connsiteX9" fmla="*/ 346900 w 444055"/>
                  <a:gd name="connsiteY9" fmla="*/ 384810 h 550163"/>
                  <a:gd name="connsiteX10" fmla="*/ 226790 w 444055"/>
                  <a:gd name="connsiteY10" fmla="*/ 308420 h 550163"/>
                  <a:gd name="connsiteX11" fmla="*/ 22955 w 444055"/>
                  <a:gd name="connsiteY11" fmla="*/ 151257 h 550163"/>
                  <a:gd name="connsiteX12" fmla="*/ 223838 w 444055"/>
                  <a:gd name="connsiteY12" fmla="*/ 0 h 550163"/>
                  <a:gd name="connsiteX13" fmla="*/ 427672 w 444055"/>
                  <a:gd name="connsiteY13" fmla="*/ 103061 h 550163"/>
                  <a:gd name="connsiteX14" fmla="*/ 349853 w 444055"/>
                  <a:gd name="connsiteY14" fmla="*/ 143066 h 55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4055" h="550163">
                    <a:moveTo>
                      <a:pt x="349948" y="143066"/>
                    </a:moveTo>
                    <a:cubicBezTo>
                      <a:pt x="332137" y="113443"/>
                      <a:pt x="283178" y="85249"/>
                      <a:pt x="226886" y="85249"/>
                    </a:cubicBezTo>
                    <a:cubicBezTo>
                      <a:pt x="154210" y="85249"/>
                      <a:pt x="119348" y="115633"/>
                      <a:pt x="119348" y="154210"/>
                    </a:cubicBezTo>
                    <a:cubicBezTo>
                      <a:pt x="119348" y="199453"/>
                      <a:pt x="172688" y="212026"/>
                      <a:pt x="234982" y="219456"/>
                    </a:cubicBezTo>
                    <a:cubicBezTo>
                      <a:pt x="343185" y="232791"/>
                      <a:pt x="444055" y="260985"/>
                      <a:pt x="444055" y="384810"/>
                    </a:cubicBezTo>
                    <a:cubicBezTo>
                      <a:pt x="444055" y="500443"/>
                      <a:pt x="341757" y="550164"/>
                      <a:pt x="226123" y="550164"/>
                    </a:cubicBezTo>
                    <a:cubicBezTo>
                      <a:pt x="120110" y="550164"/>
                      <a:pt x="38576" y="517493"/>
                      <a:pt x="0" y="422624"/>
                    </a:cubicBezTo>
                    <a:lnTo>
                      <a:pt x="81534" y="380333"/>
                    </a:lnTo>
                    <a:cubicBezTo>
                      <a:pt x="104489" y="437388"/>
                      <a:pt x="164592" y="462629"/>
                      <a:pt x="227552" y="462629"/>
                    </a:cubicBezTo>
                    <a:cubicBezTo>
                      <a:pt x="290513" y="462629"/>
                      <a:pt x="346900" y="441103"/>
                      <a:pt x="346900" y="384810"/>
                    </a:cubicBezTo>
                    <a:cubicBezTo>
                      <a:pt x="346900" y="335851"/>
                      <a:pt x="295751" y="315849"/>
                      <a:pt x="226790" y="308420"/>
                    </a:cubicBezTo>
                    <a:cubicBezTo>
                      <a:pt x="120777" y="295847"/>
                      <a:pt x="22955" y="267653"/>
                      <a:pt x="22955" y="151257"/>
                    </a:cubicBezTo>
                    <a:cubicBezTo>
                      <a:pt x="22955" y="44482"/>
                      <a:pt x="128206" y="762"/>
                      <a:pt x="223838" y="0"/>
                    </a:cubicBezTo>
                    <a:cubicBezTo>
                      <a:pt x="304609" y="0"/>
                      <a:pt x="388429" y="22955"/>
                      <a:pt x="427672" y="103061"/>
                    </a:cubicBezTo>
                    <a:lnTo>
                      <a:pt x="349853" y="14306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780" name="Freeform: Shape 779">
              <a:extLst>
                <a:ext uri="{FF2B5EF4-FFF2-40B4-BE49-F238E27FC236}">
                  <a16:creationId xmlns:a16="http://schemas.microsoft.com/office/drawing/2014/main" id="{24294DDA-CB57-4D85-B976-A461C38AFAFD}"/>
                </a:ext>
              </a:extLst>
            </p:cNvPr>
            <p:cNvSpPr/>
            <p:nvPr/>
          </p:nvSpPr>
          <p:spPr>
            <a:xfrm>
              <a:off x="5834931" y="2373400"/>
              <a:ext cx="91345" cy="92392"/>
            </a:xfrm>
            <a:custGeom>
              <a:avLst/>
              <a:gdLst>
                <a:gd name="connsiteX0" fmla="*/ 45720 w 91345"/>
                <a:gd name="connsiteY0" fmla="*/ 0 h 92392"/>
                <a:gd name="connsiteX1" fmla="*/ 65247 w 91345"/>
                <a:gd name="connsiteY1" fmla="*/ 3715 h 92392"/>
                <a:gd name="connsiteX2" fmla="*/ 79534 w 91345"/>
                <a:gd name="connsiteY2" fmla="*/ 13716 h 92392"/>
                <a:gd name="connsiteX3" fmla="*/ 88297 w 91345"/>
                <a:gd name="connsiteY3" fmla="*/ 28384 h 92392"/>
                <a:gd name="connsiteX4" fmla="*/ 91345 w 91345"/>
                <a:gd name="connsiteY4" fmla="*/ 46196 h 92392"/>
                <a:gd name="connsiteX5" fmla="*/ 88297 w 91345"/>
                <a:gd name="connsiteY5" fmla="*/ 64008 h 92392"/>
                <a:gd name="connsiteX6" fmla="*/ 79534 w 91345"/>
                <a:gd name="connsiteY6" fmla="*/ 78772 h 92392"/>
                <a:gd name="connsiteX7" fmla="*/ 65247 w 91345"/>
                <a:gd name="connsiteY7" fmla="*/ 88773 h 92392"/>
                <a:gd name="connsiteX8" fmla="*/ 45720 w 91345"/>
                <a:gd name="connsiteY8" fmla="*/ 92392 h 92392"/>
                <a:gd name="connsiteX9" fmla="*/ 26194 w 91345"/>
                <a:gd name="connsiteY9" fmla="*/ 88773 h 92392"/>
                <a:gd name="connsiteX10" fmla="*/ 11906 w 91345"/>
                <a:gd name="connsiteY10" fmla="*/ 78772 h 92392"/>
                <a:gd name="connsiteX11" fmla="*/ 3048 w 91345"/>
                <a:gd name="connsiteY11" fmla="*/ 64008 h 92392"/>
                <a:gd name="connsiteX12" fmla="*/ 0 w 91345"/>
                <a:gd name="connsiteY12" fmla="*/ 46196 h 92392"/>
                <a:gd name="connsiteX13" fmla="*/ 3048 w 91345"/>
                <a:gd name="connsiteY13" fmla="*/ 28384 h 92392"/>
                <a:gd name="connsiteX14" fmla="*/ 11906 w 91345"/>
                <a:gd name="connsiteY14" fmla="*/ 13716 h 92392"/>
                <a:gd name="connsiteX15" fmla="*/ 26194 w 91345"/>
                <a:gd name="connsiteY15" fmla="*/ 3715 h 92392"/>
                <a:gd name="connsiteX16" fmla="*/ 45720 w 91345"/>
                <a:gd name="connsiteY16" fmla="*/ 0 h 92392"/>
                <a:gd name="connsiteX17" fmla="*/ 6477 w 91345"/>
                <a:gd name="connsiteY17" fmla="*/ 46196 h 92392"/>
                <a:gd name="connsiteX18" fmla="*/ 9049 w 91345"/>
                <a:gd name="connsiteY18" fmla="*/ 62008 h 92392"/>
                <a:gd name="connsiteX19" fmla="*/ 16669 w 91345"/>
                <a:gd name="connsiteY19" fmla="*/ 74866 h 92392"/>
                <a:gd name="connsiteX20" fmla="*/ 29052 w 91345"/>
                <a:gd name="connsiteY20" fmla="*/ 83534 h 92392"/>
                <a:gd name="connsiteX21" fmla="*/ 45720 w 91345"/>
                <a:gd name="connsiteY21" fmla="*/ 86677 h 92392"/>
                <a:gd name="connsiteX22" fmla="*/ 62389 w 91345"/>
                <a:gd name="connsiteY22" fmla="*/ 83534 h 92392"/>
                <a:gd name="connsiteX23" fmla="*/ 74772 w 91345"/>
                <a:gd name="connsiteY23" fmla="*/ 74866 h 92392"/>
                <a:gd name="connsiteX24" fmla="*/ 82391 w 91345"/>
                <a:gd name="connsiteY24" fmla="*/ 62008 h 92392"/>
                <a:gd name="connsiteX25" fmla="*/ 85058 w 91345"/>
                <a:gd name="connsiteY25" fmla="*/ 46196 h 92392"/>
                <a:gd name="connsiteX26" fmla="*/ 82391 w 91345"/>
                <a:gd name="connsiteY26" fmla="*/ 30290 h 92392"/>
                <a:gd name="connsiteX27" fmla="*/ 74772 w 91345"/>
                <a:gd name="connsiteY27" fmla="*/ 17431 h 92392"/>
                <a:gd name="connsiteX28" fmla="*/ 62389 w 91345"/>
                <a:gd name="connsiteY28" fmla="*/ 8763 h 92392"/>
                <a:gd name="connsiteX29" fmla="*/ 45720 w 91345"/>
                <a:gd name="connsiteY29" fmla="*/ 5620 h 92392"/>
                <a:gd name="connsiteX30" fmla="*/ 29052 w 91345"/>
                <a:gd name="connsiteY30" fmla="*/ 8763 h 92392"/>
                <a:gd name="connsiteX31" fmla="*/ 16669 w 91345"/>
                <a:gd name="connsiteY31" fmla="*/ 17431 h 92392"/>
                <a:gd name="connsiteX32" fmla="*/ 9049 w 91345"/>
                <a:gd name="connsiteY32" fmla="*/ 30290 h 92392"/>
                <a:gd name="connsiteX33" fmla="*/ 6477 w 91345"/>
                <a:gd name="connsiteY33" fmla="*/ 46196 h 92392"/>
                <a:gd name="connsiteX34" fmla="*/ 52483 w 91345"/>
                <a:gd name="connsiteY34" fmla="*/ 51530 h 92392"/>
                <a:gd name="connsiteX35" fmla="*/ 67628 w 91345"/>
                <a:gd name="connsiteY35" fmla="*/ 68770 h 92392"/>
                <a:gd name="connsiteX36" fmla="*/ 67628 w 91345"/>
                <a:gd name="connsiteY36" fmla="*/ 69818 h 92392"/>
                <a:gd name="connsiteX37" fmla="*/ 61056 w 91345"/>
                <a:gd name="connsiteY37" fmla="*/ 69818 h 92392"/>
                <a:gd name="connsiteX38" fmla="*/ 45244 w 91345"/>
                <a:gd name="connsiteY38" fmla="*/ 51625 h 92392"/>
                <a:gd name="connsiteX39" fmla="*/ 34766 w 91345"/>
                <a:gd name="connsiteY39" fmla="*/ 51625 h 92392"/>
                <a:gd name="connsiteX40" fmla="*/ 34766 w 91345"/>
                <a:gd name="connsiteY40" fmla="*/ 69818 h 92392"/>
                <a:gd name="connsiteX41" fmla="*/ 28861 w 91345"/>
                <a:gd name="connsiteY41" fmla="*/ 69818 h 92392"/>
                <a:gd name="connsiteX42" fmla="*/ 28861 w 91345"/>
                <a:gd name="connsiteY42" fmla="*/ 21336 h 92392"/>
                <a:gd name="connsiteX43" fmla="*/ 50388 w 91345"/>
                <a:gd name="connsiteY43" fmla="*/ 21336 h 92392"/>
                <a:gd name="connsiteX44" fmla="*/ 59055 w 91345"/>
                <a:gd name="connsiteY44" fmla="*/ 23431 h 92392"/>
                <a:gd name="connsiteX45" fmla="*/ 64389 w 91345"/>
                <a:gd name="connsiteY45" fmla="*/ 28670 h 92392"/>
                <a:gd name="connsiteX46" fmla="*/ 66390 w 91345"/>
                <a:gd name="connsiteY46" fmla="*/ 35528 h 92392"/>
                <a:gd name="connsiteX47" fmla="*/ 65151 w 91345"/>
                <a:gd name="connsiteY47" fmla="*/ 42577 h 92392"/>
                <a:gd name="connsiteX48" fmla="*/ 60579 w 91345"/>
                <a:gd name="connsiteY48" fmla="*/ 48387 h 92392"/>
                <a:gd name="connsiteX49" fmla="*/ 52578 w 91345"/>
                <a:gd name="connsiteY49" fmla="*/ 51530 h 92392"/>
                <a:gd name="connsiteX50" fmla="*/ 34766 w 91345"/>
                <a:gd name="connsiteY50" fmla="*/ 46196 h 92392"/>
                <a:gd name="connsiteX51" fmla="*/ 49911 w 91345"/>
                <a:gd name="connsiteY51" fmla="*/ 46196 h 92392"/>
                <a:gd name="connsiteX52" fmla="*/ 57721 w 91345"/>
                <a:gd name="connsiteY52" fmla="*/ 43243 h 92392"/>
                <a:gd name="connsiteX53" fmla="*/ 60389 w 91345"/>
                <a:gd name="connsiteY53" fmla="*/ 36671 h 92392"/>
                <a:gd name="connsiteX54" fmla="*/ 57912 w 91345"/>
                <a:gd name="connsiteY54" fmla="*/ 30099 h 92392"/>
                <a:gd name="connsiteX55" fmla="*/ 50292 w 91345"/>
                <a:gd name="connsiteY55" fmla="*/ 27146 h 92392"/>
                <a:gd name="connsiteX56" fmla="*/ 34766 w 91345"/>
                <a:gd name="connsiteY56" fmla="*/ 27146 h 92392"/>
                <a:gd name="connsiteX57" fmla="*/ 34766 w 91345"/>
                <a:gd name="connsiteY57" fmla="*/ 46291 h 9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345" h="92392">
                  <a:moveTo>
                    <a:pt x="45720" y="0"/>
                  </a:moveTo>
                  <a:cubicBezTo>
                    <a:pt x="53054" y="0"/>
                    <a:pt x="59531" y="1238"/>
                    <a:pt x="65247" y="3715"/>
                  </a:cubicBezTo>
                  <a:cubicBezTo>
                    <a:pt x="70961" y="6191"/>
                    <a:pt x="75724" y="9525"/>
                    <a:pt x="79534" y="13716"/>
                  </a:cubicBezTo>
                  <a:cubicBezTo>
                    <a:pt x="83344" y="17907"/>
                    <a:pt x="86296" y="22860"/>
                    <a:pt x="88297" y="28384"/>
                  </a:cubicBezTo>
                  <a:cubicBezTo>
                    <a:pt x="90297" y="33909"/>
                    <a:pt x="91345" y="39910"/>
                    <a:pt x="91345" y="46196"/>
                  </a:cubicBezTo>
                  <a:cubicBezTo>
                    <a:pt x="91345" y="52483"/>
                    <a:pt x="90297" y="58388"/>
                    <a:pt x="88297" y="64008"/>
                  </a:cubicBezTo>
                  <a:cubicBezTo>
                    <a:pt x="86296" y="69628"/>
                    <a:pt x="83344" y="74486"/>
                    <a:pt x="79534" y="78772"/>
                  </a:cubicBezTo>
                  <a:cubicBezTo>
                    <a:pt x="75724" y="82963"/>
                    <a:pt x="70961" y="86296"/>
                    <a:pt x="65247" y="88773"/>
                  </a:cubicBezTo>
                  <a:cubicBezTo>
                    <a:pt x="59531" y="91249"/>
                    <a:pt x="53054" y="92392"/>
                    <a:pt x="45720" y="92392"/>
                  </a:cubicBezTo>
                  <a:cubicBezTo>
                    <a:pt x="38386" y="92392"/>
                    <a:pt x="31909" y="91154"/>
                    <a:pt x="26194" y="88773"/>
                  </a:cubicBezTo>
                  <a:cubicBezTo>
                    <a:pt x="20574" y="86296"/>
                    <a:pt x="15812" y="82963"/>
                    <a:pt x="11906" y="78772"/>
                  </a:cubicBezTo>
                  <a:cubicBezTo>
                    <a:pt x="8001" y="74581"/>
                    <a:pt x="5049" y="69628"/>
                    <a:pt x="3048" y="64008"/>
                  </a:cubicBezTo>
                  <a:cubicBezTo>
                    <a:pt x="1048" y="58388"/>
                    <a:pt x="0" y="52483"/>
                    <a:pt x="0" y="46196"/>
                  </a:cubicBezTo>
                  <a:cubicBezTo>
                    <a:pt x="0" y="39910"/>
                    <a:pt x="1048" y="33909"/>
                    <a:pt x="3048" y="28384"/>
                  </a:cubicBezTo>
                  <a:cubicBezTo>
                    <a:pt x="5049" y="22860"/>
                    <a:pt x="8001" y="17907"/>
                    <a:pt x="11906" y="13716"/>
                  </a:cubicBezTo>
                  <a:cubicBezTo>
                    <a:pt x="15812" y="9525"/>
                    <a:pt x="20574" y="6191"/>
                    <a:pt x="26194" y="3715"/>
                  </a:cubicBezTo>
                  <a:cubicBezTo>
                    <a:pt x="31814" y="1238"/>
                    <a:pt x="38386" y="0"/>
                    <a:pt x="45720" y="0"/>
                  </a:cubicBezTo>
                  <a:close/>
                  <a:moveTo>
                    <a:pt x="6477" y="46196"/>
                  </a:moveTo>
                  <a:cubicBezTo>
                    <a:pt x="6477" y="51816"/>
                    <a:pt x="7334" y="57150"/>
                    <a:pt x="9049" y="62008"/>
                  </a:cubicBezTo>
                  <a:cubicBezTo>
                    <a:pt x="10763" y="66866"/>
                    <a:pt x="13335" y="71152"/>
                    <a:pt x="16669" y="74866"/>
                  </a:cubicBezTo>
                  <a:cubicBezTo>
                    <a:pt x="20003" y="78581"/>
                    <a:pt x="24099" y="81439"/>
                    <a:pt x="29052" y="83534"/>
                  </a:cubicBezTo>
                  <a:cubicBezTo>
                    <a:pt x="33909" y="85630"/>
                    <a:pt x="39529" y="86677"/>
                    <a:pt x="45720" y="86677"/>
                  </a:cubicBezTo>
                  <a:cubicBezTo>
                    <a:pt x="51911" y="86677"/>
                    <a:pt x="57531" y="85630"/>
                    <a:pt x="62389" y="83534"/>
                  </a:cubicBezTo>
                  <a:cubicBezTo>
                    <a:pt x="67246" y="81439"/>
                    <a:pt x="71438" y="78581"/>
                    <a:pt x="74772" y="74866"/>
                  </a:cubicBezTo>
                  <a:cubicBezTo>
                    <a:pt x="78105" y="71152"/>
                    <a:pt x="80677" y="66961"/>
                    <a:pt x="82391" y="62008"/>
                  </a:cubicBezTo>
                  <a:cubicBezTo>
                    <a:pt x="84201" y="57150"/>
                    <a:pt x="85058" y="51816"/>
                    <a:pt x="85058" y="46196"/>
                  </a:cubicBezTo>
                  <a:cubicBezTo>
                    <a:pt x="85058" y="40576"/>
                    <a:pt x="84201" y="35242"/>
                    <a:pt x="82391" y="30290"/>
                  </a:cubicBezTo>
                  <a:cubicBezTo>
                    <a:pt x="80582" y="25336"/>
                    <a:pt x="78105" y="21050"/>
                    <a:pt x="74772" y="17431"/>
                  </a:cubicBezTo>
                  <a:cubicBezTo>
                    <a:pt x="71438" y="13811"/>
                    <a:pt x="67342" y="10858"/>
                    <a:pt x="62389" y="8763"/>
                  </a:cubicBezTo>
                  <a:cubicBezTo>
                    <a:pt x="57531" y="6667"/>
                    <a:pt x="51911" y="5620"/>
                    <a:pt x="45720" y="5620"/>
                  </a:cubicBezTo>
                  <a:cubicBezTo>
                    <a:pt x="39529" y="5620"/>
                    <a:pt x="33909" y="6667"/>
                    <a:pt x="29052" y="8763"/>
                  </a:cubicBezTo>
                  <a:cubicBezTo>
                    <a:pt x="24194" y="10858"/>
                    <a:pt x="20003" y="13716"/>
                    <a:pt x="16669" y="17431"/>
                  </a:cubicBezTo>
                  <a:cubicBezTo>
                    <a:pt x="13335" y="21145"/>
                    <a:pt x="10763" y="25432"/>
                    <a:pt x="9049" y="30290"/>
                  </a:cubicBezTo>
                  <a:cubicBezTo>
                    <a:pt x="7334" y="35242"/>
                    <a:pt x="6477" y="40481"/>
                    <a:pt x="6477" y="46196"/>
                  </a:cubicBezTo>
                  <a:close/>
                  <a:moveTo>
                    <a:pt x="52483" y="51530"/>
                  </a:moveTo>
                  <a:lnTo>
                    <a:pt x="67628" y="68770"/>
                  </a:lnTo>
                  <a:lnTo>
                    <a:pt x="67628" y="69818"/>
                  </a:lnTo>
                  <a:lnTo>
                    <a:pt x="61056" y="69818"/>
                  </a:lnTo>
                  <a:lnTo>
                    <a:pt x="45244" y="51625"/>
                  </a:lnTo>
                  <a:lnTo>
                    <a:pt x="34766" y="51625"/>
                  </a:lnTo>
                  <a:lnTo>
                    <a:pt x="34766" y="69818"/>
                  </a:lnTo>
                  <a:lnTo>
                    <a:pt x="28861" y="69818"/>
                  </a:lnTo>
                  <a:lnTo>
                    <a:pt x="28861" y="21336"/>
                  </a:lnTo>
                  <a:lnTo>
                    <a:pt x="50388" y="21336"/>
                  </a:lnTo>
                  <a:cubicBezTo>
                    <a:pt x="53816" y="21336"/>
                    <a:pt x="56769" y="22003"/>
                    <a:pt x="59055" y="23431"/>
                  </a:cubicBezTo>
                  <a:cubicBezTo>
                    <a:pt x="61341" y="24860"/>
                    <a:pt x="63151" y="26575"/>
                    <a:pt x="64389" y="28670"/>
                  </a:cubicBezTo>
                  <a:cubicBezTo>
                    <a:pt x="65627" y="30766"/>
                    <a:pt x="66294" y="33052"/>
                    <a:pt x="66390" y="35528"/>
                  </a:cubicBezTo>
                  <a:cubicBezTo>
                    <a:pt x="66485" y="38005"/>
                    <a:pt x="66104" y="40386"/>
                    <a:pt x="65151" y="42577"/>
                  </a:cubicBezTo>
                  <a:cubicBezTo>
                    <a:pt x="64198" y="44767"/>
                    <a:pt x="62675" y="46768"/>
                    <a:pt x="60579" y="48387"/>
                  </a:cubicBezTo>
                  <a:cubicBezTo>
                    <a:pt x="58484" y="50006"/>
                    <a:pt x="55817" y="51054"/>
                    <a:pt x="52578" y="51530"/>
                  </a:cubicBezTo>
                  <a:close/>
                  <a:moveTo>
                    <a:pt x="34766" y="46196"/>
                  </a:moveTo>
                  <a:lnTo>
                    <a:pt x="49911" y="46196"/>
                  </a:lnTo>
                  <a:cubicBezTo>
                    <a:pt x="53340" y="46196"/>
                    <a:pt x="56007" y="45244"/>
                    <a:pt x="57721" y="43243"/>
                  </a:cubicBezTo>
                  <a:cubicBezTo>
                    <a:pt x="59436" y="41243"/>
                    <a:pt x="60293" y="39052"/>
                    <a:pt x="60389" y="36671"/>
                  </a:cubicBezTo>
                  <a:cubicBezTo>
                    <a:pt x="60389" y="34290"/>
                    <a:pt x="59627" y="32099"/>
                    <a:pt x="57912" y="30099"/>
                  </a:cubicBezTo>
                  <a:cubicBezTo>
                    <a:pt x="56198" y="28099"/>
                    <a:pt x="53721" y="27146"/>
                    <a:pt x="50292" y="27146"/>
                  </a:cubicBezTo>
                  <a:lnTo>
                    <a:pt x="34766" y="27146"/>
                  </a:lnTo>
                  <a:lnTo>
                    <a:pt x="34766" y="4629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787" name="Group 786">
            <a:extLst>
              <a:ext uri="{FF2B5EF4-FFF2-40B4-BE49-F238E27FC236}">
                <a16:creationId xmlns:a16="http://schemas.microsoft.com/office/drawing/2014/main" id="{3052B379-9D05-4A04-838F-2565D1E02E48}"/>
              </a:ext>
            </a:extLst>
          </p:cNvPr>
          <p:cNvGrpSpPr/>
          <p:nvPr userDrawn="1"/>
        </p:nvGrpSpPr>
        <p:grpSpPr>
          <a:xfrm>
            <a:off x="5531527" y="5734753"/>
            <a:ext cx="656528" cy="275314"/>
            <a:chOff x="4579595" y="6204455"/>
            <a:chExt cx="1332043" cy="558590"/>
          </a:xfrm>
        </p:grpSpPr>
        <p:grpSp>
          <p:nvGrpSpPr>
            <p:cNvPr id="788" name="Graphic 694">
              <a:extLst>
                <a:ext uri="{FF2B5EF4-FFF2-40B4-BE49-F238E27FC236}">
                  <a16:creationId xmlns:a16="http://schemas.microsoft.com/office/drawing/2014/main" id="{4A226EB3-4482-4E48-B094-FB645A06819E}"/>
                </a:ext>
              </a:extLst>
            </p:cNvPr>
            <p:cNvGrpSpPr/>
            <p:nvPr/>
          </p:nvGrpSpPr>
          <p:grpSpPr>
            <a:xfrm>
              <a:off x="4579595" y="6204455"/>
              <a:ext cx="1286920" cy="558590"/>
              <a:chOff x="4579595" y="6204455"/>
              <a:chExt cx="1286920" cy="558590"/>
            </a:xfrm>
            <a:solidFill>
              <a:srgbClr val="A1ABB2"/>
            </a:solidFill>
          </p:grpSpPr>
          <p:sp>
            <p:nvSpPr>
              <p:cNvPr id="807" name="Freeform: Shape 806">
                <a:extLst>
                  <a:ext uri="{FF2B5EF4-FFF2-40B4-BE49-F238E27FC236}">
                    <a16:creationId xmlns:a16="http://schemas.microsoft.com/office/drawing/2014/main" id="{B59A7D4A-F5FB-462F-98CD-D57887A604CB}"/>
                  </a:ext>
                </a:extLst>
              </p:cNvPr>
              <p:cNvSpPr/>
              <p:nvPr/>
            </p:nvSpPr>
            <p:spPr>
              <a:xfrm>
                <a:off x="4579595" y="6204455"/>
                <a:ext cx="1286920" cy="28238"/>
              </a:xfrm>
              <a:custGeom>
                <a:avLst/>
                <a:gdLst>
                  <a:gd name="connsiteX0" fmla="*/ 0 w 1286920"/>
                  <a:gd name="connsiteY0" fmla="*/ 0 h 28238"/>
                  <a:gd name="connsiteX1" fmla="*/ 1286920 w 1286920"/>
                  <a:gd name="connsiteY1" fmla="*/ 0 h 28238"/>
                  <a:gd name="connsiteX2" fmla="*/ 1286920 w 1286920"/>
                  <a:gd name="connsiteY2" fmla="*/ 28238 h 28238"/>
                  <a:gd name="connsiteX3" fmla="*/ 0 w 1286920"/>
                  <a:gd name="connsiteY3" fmla="*/ 28238 h 28238"/>
                </a:gdLst>
                <a:ahLst/>
                <a:cxnLst>
                  <a:cxn ang="0">
                    <a:pos x="connsiteX0" y="connsiteY0"/>
                  </a:cxn>
                  <a:cxn ang="0">
                    <a:pos x="connsiteX1" y="connsiteY1"/>
                  </a:cxn>
                  <a:cxn ang="0">
                    <a:pos x="connsiteX2" y="connsiteY2"/>
                  </a:cxn>
                  <a:cxn ang="0">
                    <a:pos x="connsiteX3" y="connsiteY3"/>
                  </a:cxn>
                </a:cxnLst>
                <a:rect l="l" t="t" r="r" b="b"/>
                <a:pathLst>
                  <a:path w="1286920" h="28238">
                    <a:moveTo>
                      <a:pt x="0" y="0"/>
                    </a:moveTo>
                    <a:lnTo>
                      <a:pt x="1286920" y="0"/>
                    </a:lnTo>
                    <a:lnTo>
                      <a:pt x="1286920" y="28238"/>
                    </a:lnTo>
                    <a:lnTo>
                      <a:pt x="0" y="28238"/>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8" name="Freeform: Shape 807">
                <a:extLst>
                  <a:ext uri="{FF2B5EF4-FFF2-40B4-BE49-F238E27FC236}">
                    <a16:creationId xmlns:a16="http://schemas.microsoft.com/office/drawing/2014/main" id="{239BDAA2-DEAE-4021-9C79-D20D8C892FE9}"/>
                  </a:ext>
                </a:extLst>
              </p:cNvPr>
              <p:cNvSpPr/>
              <p:nvPr/>
            </p:nvSpPr>
            <p:spPr>
              <a:xfrm>
                <a:off x="4579595" y="6734807"/>
                <a:ext cx="1286920" cy="28238"/>
              </a:xfrm>
              <a:custGeom>
                <a:avLst/>
                <a:gdLst>
                  <a:gd name="connsiteX0" fmla="*/ 0 w 1286920"/>
                  <a:gd name="connsiteY0" fmla="*/ 0 h 28238"/>
                  <a:gd name="connsiteX1" fmla="*/ 1286920 w 1286920"/>
                  <a:gd name="connsiteY1" fmla="*/ 0 h 28238"/>
                  <a:gd name="connsiteX2" fmla="*/ 1286920 w 1286920"/>
                  <a:gd name="connsiteY2" fmla="*/ 28238 h 28238"/>
                  <a:gd name="connsiteX3" fmla="*/ 0 w 1286920"/>
                  <a:gd name="connsiteY3" fmla="*/ 28238 h 28238"/>
                </a:gdLst>
                <a:ahLst/>
                <a:cxnLst>
                  <a:cxn ang="0">
                    <a:pos x="connsiteX0" y="connsiteY0"/>
                  </a:cxn>
                  <a:cxn ang="0">
                    <a:pos x="connsiteX1" y="connsiteY1"/>
                  </a:cxn>
                  <a:cxn ang="0">
                    <a:pos x="connsiteX2" y="connsiteY2"/>
                  </a:cxn>
                  <a:cxn ang="0">
                    <a:pos x="connsiteX3" y="connsiteY3"/>
                  </a:cxn>
                </a:cxnLst>
                <a:rect l="l" t="t" r="r" b="b"/>
                <a:pathLst>
                  <a:path w="1286920" h="28238">
                    <a:moveTo>
                      <a:pt x="0" y="0"/>
                    </a:moveTo>
                    <a:lnTo>
                      <a:pt x="1286920" y="0"/>
                    </a:lnTo>
                    <a:lnTo>
                      <a:pt x="1286920" y="28238"/>
                    </a:lnTo>
                    <a:lnTo>
                      <a:pt x="0" y="28238"/>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789" name="Freeform: Shape 788">
              <a:extLst>
                <a:ext uri="{FF2B5EF4-FFF2-40B4-BE49-F238E27FC236}">
                  <a16:creationId xmlns:a16="http://schemas.microsoft.com/office/drawing/2014/main" id="{299A43AB-9BBD-445E-B44E-8EC7ACA16A49}"/>
                </a:ext>
              </a:extLst>
            </p:cNvPr>
            <p:cNvSpPr/>
            <p:nvPr/>
          </p:nvSpPr>
          <p:spPr>
            <a:xfrm>
              <a:off x="4585769" y="6316301"/>
              <a:ext cx="170115" cy="161617"/>
            </a:xfrm>
            <a:custGeom>
              <a:avLst/>
              <a:gdLst>
                <a:gd name="connsiteX0" fmla="*/ 158032 w 170115"/>
                <a:gd name="connsiteY0" fmla="*/ 39126 h 161617"/>
                <a:gd name="connsiteX1" fmla="*/ 124239 w 170115"/>
                <a:gd name="connsiteY1" fmla="*/ 10202 h 161617"/>
                <a:gd name="connsiteX2" fmla="*/ 75110 w 170115"/>
                <a:gd name="connsiteY2" fmla="*/ 0 h 161617"/>
                <a:gd name="connsiteX3" fmla="*/ 0 w 170115"/>
                <a:gd name="connsiteY3" fmla="*/ 0 h 161617"/>
                <a:gd name="connsiteX4" fmla="*/ 0 w 170115"/>
                <a:gd name="connsiteY4" fmla="*/ 161617 h 161617"/>
                <a:gd name="connsiteX5" fmla="*/ 73141 w 170115"/>
                <a:gd name="connsiteY5" fmla="*/ 161617 h 161617"/>
                <a:gd name="connsiteX6" fmla="*/ 123598 w 170115"/>
                <a:gd name="connsiteY6" fmla="*/ 151659 h 161617"/>
                <a:gd name="connsiteX7" fmla="*/ 157966 w 170115"/>
                <a:gd name="connsiteY7" fmla="*/ 123221 h 161617"/>
                <a:gd name="connsiteX8" fmla="*/ 170115 w 170115"/>
                <a:gd name="connsiteY8" fmla="*/ 81085 h 161617"/>
                <a:gd name="connsiteX9" fmla="*/ 158054 w 170115"/>
                <a:gd name="connsiteY9" fmla="*/ 39126 h 161617"/>
                <a:gd name="connsiteX10" fmla="*/ 39104 w 170115"/>
                <a:gd name="connsiteY10" fmla="*/ 29300 h 161617"/>
                <a:gd name="connsiteX11" fmla="*/ 70551 w 170115"/>
                <a:gd name="connsiteY11" fmla="*/ 29300 h 161617"/>
                <a:gd name="connsiteX12" fmla="*/ 114037 w 170115"/>
                <a:gd name="connsiteY12" fmla="*/ 43220 h 161617"/>
                <a:gd name="connsiteX13" fmla="*/ 129905 w 170115"/>
                <a:gd name="connsiteY13" fmla="*/ 80864 h 161617"/>
                <a:gd name="connsiteX14" fmla="*/ 114126 w 170115"/>
                <a:gd name="connsiteY14" fmla="*/ 118043 h 161617"/>
                <a:gd name="connsiteX15" fmla="*/ 71658 w 170115"/>
                <a:gd name="connsiteY15" fmla="*/ 132317 h 161617"/>
                <a:gd name="connsiteX16" fmla="*/ 39104 w 170115"/>
                <a:gd name="connsiteY16" fmla="*/ 132317 h 161617"/>
                <a:gd name="connsiteX17" fmla="*/ 39104 w 170115"/>
                <a:gd name="connsiteY17" fmla="*/ 29300 h 16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0115" h="161617">
                  <a:moveTo>
                    <a:pt x="158032" y="39126"/>
                  </a:moveTo>
                  <a:cubicBezTo>
                    <a:pt x="150043" y="26756"/>
                    <a:pt x="138668" y="17018"/>
                    <a:pt x="124239" y="10202"/>
                  </a:cubicBezTo>
                  <a:cubicBezTo>
                    <a:pt x="109921" y="3430"/>
                    <a:pt x="93390" y="0"/>
                    <a:pt x="75110" y="0"/>
                  </a:cubicBezTo>
                  <a:lnTo>
                    <a:pt x="0" y="0"/>
                  </a:lnTo>
                  <a:lnTo>
                    <a:pt x="0" y="161617"/>
                  </a:lnTo>
                  <a:lnTo>
                    <a:pt x="73141" y="161617"/>
                  </a:lnTo>
                  <a:cubicBezTo>
                    <a:pt x="91996" y="161617"/>
                    <a:pt x="108970" y="158254"/>
                    <a:pt x="123598" y="151659"/>
                  </a:cubicBezTo>
                  <a:cubicBezTo>
                    <a:pt x="138359" y="144998"/>
                    <a:pt x="149933" y="135415"/>
                    <a:pt x="157966" y="123221"/>
                  </a:cubicBezTo>
                  <a:cubicBezTo>
                    <a:pt x="166021" y="111005"/>
                    <a:pt x="170115" y="96820"/>
                    <a:pt x="170115" y="81085"/>
                  </a:cubicBezTo>
                  <a:cubicBezTo>
                    <a:pt x="170115" y="65351"/>
                    <a:pt x="166066" y="51519"/>
                    <a:pt x="158054" y="39126"/>
                  </a:cubicBezTo>
                  <a:close/>
                  <a:moveTo>
                    <a:pt x="39104" y="29300"/>
                  </a:moveTo>
                  <a:lnTo>
                    <a:pt x="70551" y="29300"/>
                  </a:lnTo>
                  <a:cubicBezTo>
                    <a:pt x="88765" y="29300"/>
                    <a:pt x="103393" y="33970"/>
                    <a:pt x="114037" y="43220"/>
                  </a:cubicBezTo>
                  <a:cubicBezTo>
                    <a:pt x="124704" y="52471"/>
                    <a:pt x="129905" y="64797"/>
                    <a:pt x="129905" y="80864"/>
                  </a:cubicBezTo>
                  <a:cubicBezTo>
                    <a:pt x="129905" y="96931"/>
                    <a:pt x="124748" y="108527"/>
                    <a:pt x="114126" y="118043"/>
                  </a:cubicBezTo>
                  <a:cubicBezTo>
                    <a:pt x="103570" y="127515"/>
                    <a:pt x="89296" y="132317"/>
                    <a:pt x="71658" y="132317"/>
                  </a:cubicBezTo>
                  <a:lnTo>
                    <a:pt x="39104" y="132317"/>
                  </a:lnTo>
                  <a:lnTo>
                    <a:pt x="39104" y="2930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0" name="Freeform: Shape 789">
              <a:extLst>
                <a:ext uri="{FF2B5EF4-FFF2-40B4-BE49-F238E27FC236}">
                  <a16:creationId xmlns:a16="http://schemas.microsoft.com/office/drawing/2014/main" id="{0F80F350-D0CE-4018-8DBD-898F4A137BC1}"/>
                </a:ext>
              </a:extLst>
            </p:cNvPr>
            <p:cNvSpPr/>
            <p:nvPr/>
          </p:nvSpPr>
          <p:spPr>
            <a:xfrm>
              <a:off x="4810214" y="6316279"/>
              <a:ext cx="39104" cy="161639"/>
            </a:xfrm>
            <a:custGeom>
              <a:avLst/>
              <a:gdLst>
                <a:gd name="connsiteX0" fmla="*/ 0 w 39104"/>
                <a:gd name="connsiteY0" fmla="*/ 0 h 161639"/>
                <a:gd name="connsiteX1" fmla="*/ 39104 w 39104"/>
                <a:gd name="connsiteY1" fmla="*/ 0 h 161639"/>
                <a:gd name="connsiteX2" fmla="*/ 39104 w 39104"/>
                <a:gd name="connsiteY2" fmla="*/ 161640 h 161639"/>
                <a:gd name="connsiteX3" fmla="*/ 0 w 39104"/>
                <a:gd name="connsiteY3" fmla="*/ 161640 h 161639"/>
              </a:gdLst>
              <a:ahLst/>
              <a:cxnLst>
                <a:cxn ang="0">
                  <a:pos x="connsiteX0" y="connsiteY0"/>
                </a:cxn>
                <a:cxn ang="0">
                  <a:pos x="connsiteX1" y="connsiteY1"/>
                </a:cxn>
                <a:cxn ang="0">
                  <a:pos x="connsiteX2" y="connsiteY2"/>
                </a:cxn>
                <a:cxn ang="0">
                  <a:pos x="connsiteX3" y="connsiteY3"/>
                </a:cxn>
              </a:cxnLst>
              <a:rect l="l" t="t" r="r" b="b"/>
              <a:pathLst>
                <a:path w="39104" h="161639">
                  <a:moveTo>
                    <a:pt x="0" y="0"/>
                  </a:moveTo>
                  <a:lnTo>
                    <a:pt x="39104" y="0"/>
                  </a:lnTo>
                  <a:lnTo>
                    <a:pt x="39104" y="161640"/>
                  </a:lnTo>
                  <a:lnTo>
                    <a:pt x="0" y="16164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1" name="Freeform: Shape 790">
              <a:extLst>
                <a:ext uri="{FF2B5EF4-FFF2-40B4-BE49-F238E27FC236}">
                  <a16:creationId xmlns:a16="http://schemas.microsoft.com/office/drawing/2014/main" id="{212FD16E-6101-4F6B-A432-335F766C6F8D}"/>
                </a:ext>
              </a:extLst>
            </p:cNvPr>
            <p:cNvSpPr/>
            <p:nvPr/>
          </p:nvSpPr>
          <p:spPr>
            <a:xfrm>
              <a:off x="4907433" y="6314265"/>
              <a:ext cx="120543" cy="165645"/>
            </a:xfrm>
            <a:custGeom>
              <a:avLst/>
              <a:gdLst>
                <a:gd name="connsiteX0" fmla="*/ 78828 w 120543"/>
                <a:gd name="connsiteY0" fmla="*/ 68737 h 165645"/>
                <a:gd name="connsiteX1" fmla="*/ 50634 w 120543"/>
                <a:gd name="connsiteY1" fmla="*/ 56388 h 165645"/>
                <a:gd name="connsiteX2" fmla="*/ 38883 w 120543"/>
                <a:gd name="connsiteY2" fmla="*/ 42601 h 165645"/>
                <a:gd name="connsiteX3" fmla="*/ 44615 w 120543"/>
                <a:gd name="connsiteY3" fmla="*/ 33284 h 165645"/>
                <a:gd name="connsiteX4" fmla="*/ 62784 w 120543"/>
                <a:gd name="connsiteY4" fmla="*/ 29300 h 165645"/>
                <a:gd name="connsiteX5" fmla="*/ 108925 w 120543"/>
                <a:gd name="connsiteY5" fmla="*/ 43575 h 165645"/>
                <a:gd name="connsiteX6" fmla="*/ 113196 w 120543"/>
                <a:gd name="connsiteY6" fmla="*/ 45898 h 165645"/>
                <a:gd name="connsiteX7" fmla="*/ 113196 w 120543"/>
                <a:gd name="connsiteY7" fmla="*/ 12459 h 165645"/>
                <a:gd name="connsiteX8" fmla="*/ 111581 w 120543"/>
                <a:gd name="connsiteY8" fmla="*/ 11663 h 165645"/>
                <a:gd name="connsiteX9" fmla="*/ 61788 w 120543"/>
                <a:gd name="connsiteY9" fmla="*/ 0 h 165645"/>
                <a:gd name="connsiteX10" fmla="*/ 17372 w 120543"/>
                <a:gd name="connsiteY10" fmla="*/ 12216 h 165645"/>
                <a:gd name="connsiteX11" fmla="*/ 0 w 120543"/>
                <a:gd name="connsiteY11" fmla="*/ 45854 h 165645"/>
                <a:gd name="connsiteX12" fmla="*/ 10800 w 120543"/>
                <a:gd name="connsiteY12" fmla="*/ 73672 h 165645"/>
                <a:gd name="connsiteX13" fmla="*/ 42225 w 120543"/>
                <a:gd name="connsiteY13" fmla="*/ 93921 h 165645"/>
                <a:gd name="connsiteX14" fmla="*/ 70064 w 120543"/>
                <a:gd name="connsiteY14" fmla="*/ 106668 h 165645"/>
                <a:gd name="connsiteX15" fmla="*/ 81594 w 120543"/>
                <a:gd name="connsiteY15" fmla="*/ 121739 h 165645"/>
                <a:gd name="connsiteX16" fmla="*/ 75398 w 120543"/>
                <a:gd name="connsiteY16" fmla="*/ 132029 h 165645"/>
                <a:gd name="connsiteX17" fmla="*/ 57185 w 120543"/>
                <a:gd name="connsiteY17" fmla="*/ 136367 h 165645"/>
                <a:gd name="connsiteX18" fmla="*/ 6816 w 120543"/>
                <a:gd name="connsiteY18" fmla="*/ 116184 h 165645"/>
                <a:gd name="connsiteX19" fmla="*/ 2191 w 120543"/>
                <a:gd name="connsiteY19" fmla="*/ 112710 h 165645"/>
                <a:gd name="connsiteX20" fmla="*/ 2191 w 120543"/>
                <a:gd name="connsiteY20" fmla="*/ 149866 h 165645"/>
                <a:gd name="connsiteX21" fmla="*/ 3696 w 120543"/>
                <a:gd name="connsiteY21" fmla="*/ 150685 h 165645"/>
                <a:gd name="connsiteX22" fmla="*/ 31027 w 120543"/>
                <a:gd name="connsiteY22" fmla="*/ 162259 h 165645"/>
                <a:gd name="connsiteX23" fmla="*/ 60261 w 120543"/>
                <a:gd name="connsiteY23" fmla="*/ 165645 h 165645"/>
                <a:gd name="connsiteX24" fmla="*/ 103437 w 120543"/>
                <a:gd name="connsiteY24" fmla="*/ 152721 h 165645"/>
                <a:gd name="connsiteX25" fmla="*/ 120544 w 120543"/>
                <a:gd name="connsiteY25" fmla="*/ 118021 h 165645"/>
                <a:gd name="connsiteX26" fmla="*/ 110474 w 120543"/>
                <a:gd name="connsiteY26" fmla="*/ 89606 h 165645"/>
                <a:gd name="connsiteX27" fmla="*/ 78762 w 120543"/>
                <a:gd name="connsiteY27" fmla="*/ 68715 h 16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0543" h="165645">
                  <a:moveTo>
                    <a:pt x="78828" y="68737"/>
                  </a:moveTo>
                  <a:cubicBezTo>
                    <a:pt x="58468" y="60305"/>
                    <a:pt x="52294" y="57406"/>
                    <a:pt x="50634" y="56388"/>
                  </a:cubicBezTo>
                  <a:cubicBezTo>
                    <a:pt x="42844" y="51984"/>
                    <a:pt x="38883" y="47337"/>
                    <a:pt x="38883" y="42601"/>
                  </a:cubicBezTo>
                  <a:cubicBezTo>
                    <a:pt x="38883" y="38728"/>
                    <a:pt x="40764" y="35674"/>
                    <a:pt x="44615" y="33284"/>
                  </a:cubicBezTo>
                  <a:cubicBezTo>
                    <a:pt x="48864" y="30650"/>
                    <a:pt x="54972" y="29300"/>
                    <a:pt x="62784" y="29300"/>
                  </a:cubicBezTo>
                  <a:cubicBezTo>
                    <a:pt x="76062" y="29300"/>
                    <a:pt x="91575" y="34103"/>
                    <a:pt x="108925" y="43575"/>
                  </a:cubicBezTo>
                  <a:lnTo>
                    <a:pt x="113196" y="45898"/>
                  </a:lnTo>
                  <a:lnTo>
                    <a:pt x="113196" y="12459"/>
                  </a:lnTo>
                  <a:lnTo>
                    <a:pt x="111581" y="11663"/>
                  </a:lnTo>
                  <a:cubicBezTo>
                    <a:pt x="95691" y="3917"/>
                    <a:pt x="78939" y="0"/>
                    <a:pt x="61788" y="0"/>
                  </a:cubicBezTo>
                  <a:cubicBezTo>
                    <a:pt x="43552" y="0"/>
                    <a:pt x="28614" y="4116"/>
                    <a:pt x="17372" y="12216"/>
                  </a:cubicBezTo>
                  <a:cubicBezTo>
                    <a:pt x="5842" y="20537"/>
                    <a:pt x="0" y="31845"/>
                    <a:pt x="0" y="45854"/>
                  </a:cubicBezTo>
                  <a:cubicBezTo>
                    <a:pt x="0" y="56366"/>
                    <a:pt x="3629" y="65727"/>
                    <a:pt x="10800" y="73672"/>
                  </a:cubicBezTo>
                  <a:cubicBezTo>
                    <a:pt x="17771" y="81395"/>
                    <a:pt x="28349" y="88211"/>
                    <a:pt x="42225" y="93921"/>
                  </a:cubicBezTo>
                  <a:cubicBezTo>
                    <a:pt x="53533" y="98856"/>
                    <a:pt x="62916" y="103149"/>
                    <a:pt x="70064" y="106668"/>
                  </a:cubicBezTo>
                  <a:cubicBezTo>
                    <a:pt x="77832" y="110696"/>
                    <a:pt x="81594" y="115631"/>
                    <a:pt x="81594" y="121739"/>
                  </a:cubicBezTo>
                  <a:cubicBezTo>
                    <a:pt x="81594" y="126010"/>
                    <a:pt x="79558" y="129374"/>
                    <a:pt x="75398" y="132029"/>
                  </a:cubicBezTo>
                  <a:cubicBezTo>
                    <a:pt x="70883" y="134906"/>
                    <a:pt x="64753" y="136367"/>
                    <a:pt x="57185" y="136367"/>
                  </a:cubicBezTo>
                  <a:cubicBezTo>
                    <a:pt x="41605" y="136367"/>
                    <a:pt x="24653" y="129573"/>
                    <a:pt x="6816" y="116184"/>
                  </a:cubicBezTo>
                  <a:lnTo>
                    <a:pt x="2191" y="112710"/>
                  </a:lnTo>
                  <a:lnTo>
                    <a:pt x="2191" y="149866"/>
                  </a:lnTo>
                  <a:lnTo>
                    <a:pt x="3696" y="150685"/>
                  </a:lnTo>
                  <a:cubicBezTo>
                    <a:pt x="13721" y="156129"/>
                    <a:pt x="22927" y="160024"/>
                    <a:pt x="31027" y="162259"/>
                  </a:cubicBezTo>
                  <a:cubicBezTo>
                    <a:pt x="39193" y="164516"/>
                    <a:pt x="49019" y="165645"/>
                    <a:pt x="60261" y="165645"/>
                  </a:cubicBezTo>
                  <a:cubicBezTo>
                    <a:pt x="77788" y="165645"/>
                    <a:pt x="92305" y="161285"/>
                    <a:pt x="103437" y="152721"/>
                  </a:cubicBezTo>
                  <a:cubicBezTo>
                    <a:pt x="114790" y="143957"/>
                    <a:pt x="120544" y="132295"/>
                    <a:pt x="120544" y="118021"/>
                  </a:cubicBezTo>
                  <a:cubicBezTo>
                    <a:pt x="120544" y="107022"/>
                    <a:pt x="117158" y="97462"/>
                    <a:pt x="110474" y="89606"/>
                  </a:cubicBezTo>
                  <a:cubicBezTo>
                    <a:pt x="103968" y="81926"/>
                    <a:pt x="93301" y="74911"/>
                    <a:pt x="78762" y="68715"/>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2" name="Freeform: Shape 791">
              <a:extLst>
                <a:ext uri="{FF2B5EF4-FFF2-40B4-BE49-F238E27FC236}">
                  <a16:creationId xmlns:a16="http://schemas.microsoft.com/office/drawing/2014/main" id="{EE260612-A30A-41A7-BB67-2CB7A7A4E03C}"/>
                </a:ext>
              </a:extLst>
            </p:cNvPr>
            <p:cNvSpPr/>
            <p:nvPr/>
          </p:nvSpPr>
          <p:spPr>
            <a:xfrm>
              <a:off x="5077061" y="6316279"/>
              <a:ext cx="161573" cy="161639"/>
            </a:xfrm>
            <a:custGeom>
              <a:avLst/>
              <a:gdLst>
                <a:gd name="connsiteX0" fmla="*/ 0 w 161573"/>
                <a:gd name="connsiteY0" fmla="*/ 29323 h 161639"/>
                <a:gd name="connsiteX1" fmla="*/ 61235 w 161573"/>
                <a:gd name="connsiteY1" fmla="*/ 29323 h 161639"/>
                <a:gd name="connsiteX2" fmla="*/ 61235 w 161573"/>
                <a:gd name="connsiteY2" fmla="*/ 161640 h 161639"/>
                <a:gd name="connsiteX3" fmla="*/ 100339 w 161573"/>
                <a:gd name="connsiteY3" fmla="*/ 161640 h 161639"/>
                <a:gd name="connsiteX4" fmla="*/ 100339 w 161573"/>
                <a:gd name="connsiteY4" fmla="*/ 29323 h 161639"/>
                <a:gd name="connsiteX5" fmla="*/ 161573 w 161573"/>
                <a:gd name="connsiteY5" fmla="*/ 29323 h 161639"/>
                <a:gd name="connsiteX6" fmla="*/ 161573 w 161573"/>
                <a:gd name="connsiteY6" fmla="*/ 0 h 161639"/>
                <a:gd name="connsiteX7" fmla="*/ 0 w 161573"/>
                <a:gd name="connsiteY7" fmla="*/ 0 h 161639"/>
                <a:gd name="connsiteX8" fmla="*/ 0 w 161573"/>
                <a:gd name="connsiteY8" fmla="*/ 29323 h 1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1573" h="161639">
                  <a:moveTo>
                    <a:pt x="0" y="29323"/>
                  </a:moveTo>
                  <a:lnTo>
                    <a:pt x="61235" y="29323"/>
                  </a:lnTo>
                  <a:lnTo>
                    <a:pt x="61235" y="161640"/>
                  </a:lnTo>
                  <a:lnTo>
                    <a:pt x="100339" y="161640"/>
                  </a:lnTo>
                  <a:lnTo>
                    <a:pt x="100339" y="29323"/>
                  </a:lnTo>
                  <a:lnTo>
                    <a:pt x="161573" y="29323"/>
                  </a:lnTo>
                  <a:lnTo>
                    <a:pt x="161573" y="0"/>
                  </a:lnTo>
                  <a:lnTo>
                    <a:pt x="0" y="0"/>
                  </a:lnTo>
                  <a:lnTo>
                    <a:pt x="0" y="29323"/>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3" name="Freeform: Shape 792">
              <a:extLst>
                <a:ext uri="{FF2B5EF4-FFF2-40B4-BE49-F238E27FC236}">
                  <a16:creationId xmlns:a16="http://schemas.microsoft.com/office/drawing/2014/main" id="{95D7D2BF-4F78-455F-874D-92F223718CAF}"/>
                </a:ext>
              </a:extLst>
            </p:cNvPr>
            <p:cNvSpPr/>
            <p:nvPr/>
          </p:nvSpPr>
          <p:spPr>
            <a:xfrm>
              <a:off x="5298120" y="6316279"/>
              <a:ext cx="118972" cy="161639"/>
            </a:xfrm>
            <a:custGeom>
              <a:avLst/>
              <a:gdLst>
                <a:gd name="connsiteX0" fmla="*/ 39104 w 118972"/>
                <a:gd name="connsiteY0" fmla="*/ 93810 h 161639"/>
                <a:gd name="connsiteX1" fmla="*/ 113905 w 118972"/>
                <a:gd name="connsiteY1" fmla="*/ 93810 h 161639"/>
                <a:gd name="connsiteX2" fmla="*/ 113905 w 118972"/>
                <a:gd name="connsiteY2" fmla="*/ 64488 h 161639"/>
                <a:gd name="connsiteX3" fmla="*/ 39104 w 118972"/>
                <a:gd name="connsiteY3" fmla="*/ 64488 h 161639"/>
                <a:gd name="connsiteX4" fmla="*/ 39104 w 118972"/>
                <a:gd name="connsiteY4" fmla="*/ 29323 h 161639"/>
                <a:gd name="connsiteX5" fmla="*/ 117246 w 118972"/>
                <a:gd name="connsiteY5" fmla="*/ 29323 h 161639"/>
                <a:gd name="connsiteX6" fmla="*/ 117246 w 118972"/>
                <a:gd name="connsiteY6" fmla="*/ 0 h 161639"/>
                <a:gd name="connsiteX7" fmla="*/ 0 w 118972"/>
                <a:gd name="connsiteY7" fmla="*/ 0 h 161639"/>
                <a:gd name="connsiteX8" fmla="*/ 0 w 118972"/>
                <a:gd name="connsiteY8" fmla="*/ 161640 h 161639"/>
                <a:gd name="connsiteX9" fmla="*/ 118972 w 118972"/>
                <a:gd name="connsiteY9" fmla="*/ 161640 h 161639"/>
                <a:gd name="connsiteX10" fmla="*/ 118972 w 118972"/>
                <a:gd name="connsiteY10" fmla="*/ 132339 h 161639"/>
                <a:gd name="connsiteX11" fmla="*/ 39104 w 118972"/>
                <a:gd name="connsiteY11" fmla="*/ 132339 h 161639"/>
                <a:gd name="connsiteX12" fmla="*/ 39104 w 118972"/>
                <a:gd name="connsiteY12" fmla="*/ 93810 h 1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8972" h="161639">
                  <a:moveTo>
                    <a:pt x="39104" y="93810"/>
                  </a:moveTo>
                  <a:lnTo>
                    <a:pt x="113905" y="93810"/>
                  </a:lnTo>
                  <a:lnTo>
                    <a:pt x="113905" y="64488"/>
                  </a:lnTo>
                  <a:lnTo>
                    <a:pt x="39104" y="64488"/>
                  </a:lnTo>
                  <a:lnTo>
                    <a:pt x="39104" y="29323"/>
                  </a:lnTo>
                  <a:lnTo>
                    <a:pt x="117246" y="29323"/>
                  </a:lnTo>
                  <a:lnTo>
                    <a:pt x="117246" y="0"/>
                  </a:lnTo>
                  <a:lnTo>
                    <a:pt x="0" y="0"/>
                  </a:lnTo>
                  <a:lnTo>
                    <a:pt x="0" y="161640"/>
                  </a:lnTo>
                  <a:lnTo>
                    <a:pt x="118972" y="161640"/>
                  </a:lnTo>
                  <a:lnTo>
                    <a:pt x="118972" y="132339"/>
                  </a:lnTo>
                  <a:lnTo>
                    <a:pt x="39104" y="132339"/>
                  </a:lnTo>
                  <a:lnTo>
                    <a:pt x="39104" y="9381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4" name="Freeform: Shape 793">
              <a:extLst>
                <a:ext uri="{FF2B5EF4-FFF2-40B4-BE49-F238E27FC236}">
                  <a16:creationId xmlns:a16="http://schemas.microsoft.com/office/drawing/2014/main" id="{683A5FDB-7173-4D0B-ABA6-F8959656FE5B}"/>
                </a:ext>
              </a:extLst>
            </p:cNvPr>
            <p:cNvSpPr/>
            <p:nvPr/>
          </p:nvSpPr>
          <p:spPr>
            <a:xfrm>
              <a:off x="5470737" y="6314265"/>
              <a:ext cx="164295" cy="165645"/>
            </a:xfrm>
            <a:custGeom>
              <a:avLst/>
              <a:gdLst>
                <a:gd name="connsiteX0" fmla="*/ 128090 w 164295"/>
                <a:gd name="connsiteY0" fmla="*/ 130325 h 165645"/>
                <a:gd name="connsiteX1" fmla="*/ 101777 w 164295"/>
                <a:gd name="connsiteY1" fmla="*/ 133888 h 165645"/>
                <a:gd name="connsiteX2" fmla="*/ 69644 w 164295"/>
                <a:gd name="connsiteY2" fmla="*/ 127404 h 165645"/>
                <a:gd name="connsiteX3" fmla="*/ 47890 w 164295"/>
                <a:gd name="connsiteY3" fmla="*/ 109301 h 165645"/>
                <a:gd name="connsiteX4" fmla="*/ 40211 w 164295"/>
                <a:gd name="connsiteY4" fmla="*/ 82878 h 165645"/>
                <a:gd name="connsiteX5" fmla="*/ 47956 w 164295"/>
                <a:gd name="connsiteY5" fmla="*/ 56676 h 165645"/>
                <a:gd name="connsiteX6" fmla="*/ 69777 w 164295"/>
                <a:gd name="connsiteY6" fmla="*/ 38352 h 165645"/>
                <a:gd name="connsiteX7" fmla="*/ 101777 w 164295"/>
                <a:gd name="connsiteY7" fmla="*/ 31757 h 165645"/>
                <a:gd name="connsiteX8" fmla="*/ 129219 w 164295"/>
                <a:gd name="connsiteY8" fmla="*/ 35342 h 165645"/>
                <a:gd name="connsiteX9" fmla="*/ 158099 w 164295"/>
                <a:gd name="connsiteY9" fmla="*/ 47049 h 165645"/>
                <a:gd name="connsiteX10" fmla="*/ 162303 w 164295"/>
                <a:gd name="connsiteY10" fmla="*/ 49240 h 165645"/>
                <a:gd name="connsiteX11" fmla="*/ 162303 w 164295"/>
                <a:gd name="connsiteY11" fmla="*/ 14274 h 165645"/>
                <a:gd name="connsiteX12" fmla="*/ 160599 w 164295"/>
                <a:gd name="connsiteY12" fmla="*/ 13522 h 165645"/>
                <a:gd name="connsiteX13" fmla="*/ 129661 w 164295"/>
                <a:gd name="connsiteY13" fmla="*/ 3076 h 165645"/>
                <a:gd name="connsiteX14" fmla="*/ 100294 w 164295"/>
                <a:gd name="connsiteY14" fmla="*/ 0 h 165645"/>
                <a:gd name="connsiteX15" fmla="*/ 49151 w 164295"/>
                <a:gd name="connsiteY15" fmla="*/ 10423 h 165645"/>
                <a:gd name="connsiteX16" fmla="*/ 13145 w 164295"/>
                <a:gd name="connsiteY16" fmla="*/ 40321 h 165645"/>
                <a:gd name="connsiteX17" fmla="*/ 0 w 164295"/>
                <a:gd name="connsiteY17" fmla="*/ 84228 h 165645"/>
                <a:gd name="connsiteX18" fmla="*/ 12769 w 164295"/>
                <a:gd name="connsiteY18" fmla="*/ 126275 h 165645"/>
                <a:gd name="connsiteX19" fmla="*/ 47735 w 164295"/>
                <a:gd name="connsiteY19" fmla="*/ 155576 h 165645"/>
                <a:gd name="connsiteX20" fmla="*/ 97705 w 164295"/>
                <a:gd name="connsiteY20" fmla="*/ 165645 h 165645"/>
                <a:gd name="connsiteX21" fmla="*/ 131210 w 164295"/>
                <a:gd name="connsiteY21" fmla="*/ 162215 h 165645"/>
                <a:gd name="connsiteX22" fmla="*/ 162635 w 164295"/>
                <a:gd name="connsiteY22" fmla="*/ 150751 h 165645"/>
                <a:gd name="connsiteX23" fmla="*/ 164295 w 164295"/>
                <a:gd name="connsiteY23" fmla="*/ 149977 h 165645"/>
                <a:gd name="connsiteX24" fmla="*/ 164295 w 164295"/>
                <a:gd name="connsiteY24" fmla="*/ 115188 h 165645"/>
                <a:gd name="connsiteX25" fmla="*/ 160135 w 164295"/>
                <a:gd name="connsiteY25" fmla="*/ 117224 h 165645"/>
                <a:gd name="connsiteX26" fmla="*/ 128068 w 164295"/>
                <a:gd name="connsiteY26" fmla="*/ 130325 h 16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4295" h="165645">
                  <a:moveTo>
                    <a:pt x="128090" y="130325"/>
                  </a:moveTo>
                  <a:cubicBezTo>
                    <a:pt x="119791" y="132693"/>
                    <a:pt x="110939" y="133888"/>
                    <a:pt x="101777" y="133888"/>
                  </a:cubicBezTo>
                  <a:cubicBezTo>
                    <a:pt x="89915" y="133888"/>
                    <a:pt x="79094" y="131697"/>
                    <a:pt x="69644" y="127404"/>
                  </a:cubicBezTo>
                  <a:cubicBezTo>
                    <a:pt x="60305" y="123155"/>
                    <a:pt x="53002" y="117069"/>
                    <a:pt x="47890" y="109301"/>
                  </a:cubicBezTo>
                  <a:cubicBezTo>
                    <a:pt x="42800" y="101556"/>
                    <a:pt x="40211" y="92682"/>
                    <a:pt x="40211" y="82878"/>
                  </a:cubicBezTo>
                  <a:cubicBezTo>
                    <a:pt x="40211" y="73074"/>
                    <a:pt x="42822" y="64488"/>
                    <a:pt x="47956" y="56676"/>
                  </a:cubicBezTo>
                  <a:cubicBezTo>
                    <a:pt x="53113" y="48842"/>
                    <a:pt x="60438" y="42667"/>
                    <a:pt x="69777" y="38352"/>
                  </a:cubicBezTo>
                  <a:cubicBezTo>
                    <a:pt x="79226" y="33970"/>
                    <a:pt x="89982" y="31757"/>
                    <a:pt x="101777" y="31757"/>
                  </a:cubicBezTo>
                  <a:cubicBezTo>
                    <a:pt x="111271" y="31757"/>
                    <a:pt x="120522" y="32952"/>
                    <a:pt x="129219" y="35342"/>
                  </a:cubicBezTo>
                  <a:cubicBezTo>
                    <a:pt x="137982" y="37732"/>
                    <a:pt x="147698" y="41671"/>
                    <a:pt x="158099" y="47049"/>
                  </a:cubicBezTo>
                  <a:lnTo>
                    <a:pt x="162303" y="49240"/>
                  </a:lnTo>
                  <a:lnTo>
                    <a:pt x="162303" y="14274"/>
                  </a:lnTo>
                  <a:lnTo>
                    <a:pt x="160599" y="13522"/>
                  </a:lnTo>
                  <a:cubicBezTo>
                    <a:pt x="149601" y="8631"/>
                    <a:pt x="139199" y="5112"/>
                    <a:pt x="129661" y="3076"/>
                  </a:cubicBezTo>
                  <a:cubicBezTo>
                    <a:pt x="120123" y="1040"/>
                    <a:pt x="110231" y="0"/>
                    <a:pt x="100294" y="0"/>
                  </a:cubicBezTo>
                  <a:cubicBezTo>
                    <a:pt x="81439" y="0"/>
                    <a:pt x="64244" y="3497"/>
                    <a:pt x="49151" y="10423"/>
                  </a:cubicBezTo>
                  <a:cubicBezTo>
                    <a:pt x="33948" y="17394"/>
                    <a:pt x="21843" y="27442"/>
                    <a:pt x="13145" y="40321"/>
                  </a:cubicBezTo>
                  <a:cubicBezTo>
                    <a:pt x="4426" y="53245"/>
                    <a:pt x="0" y="68006"/>
                    <a:pt x="0" y="84228"/>
                  </a:cubicBezTo>
                  <a:cubicBezTo>
                    <a:pt x="0" y="99387"/>
                    <a:pt x="4293" y="113550"/>
                    <a:pt x="12769" y="126275"/>
                  </a:cubicBezTo>
                  <a:cubicBezTo>
                    <a:pt x="21223" y="138978"/>
                    <a:pt x="32996" y="148848"/>
                    <a:pt x="47735" y="155576"/>
                  </a:cubicBezTo>
                  <a:cubicBezTo>
                    <a:pt x="62363" y="162259"/>
                    <a:pt x="79182" y="165645"/>
                    <a:pt x="97705" y="165645"/>
                  </a:cubicBezTo>
                  <a:cubicBezTo>
                    <a:pt x="110386" y="165645"/>
                    <a:pt x="121650" y="164494"/>
                    <a:pt x="131210" y="162215"/>
                  </a:cubicBezTo>
                  <a:cubicBezTo>
                    <a:pt x="140749" y="159958"/>
                    <a:pt x="151327" y="156085"/>
                    <a:pt x="162635" y="150751"/>
                  </a:cubicBezTo>
                  <a:lnTo>
                    <a:pt x="164295" y="149977"/>
                  </a:lnTo>
                  <a:lnTo>
                    <a:pt x="164295" y="115188"/>
                  </a:lnTo>
                  <a:lnTo>
                    <a:pt x="160135" y="117224"/>
                  </a:lnTo>
                  <a:cubicBezTo>
                    <a:pt x="147277" y="123509"/>
                    <a:pt x="136477" y="127913"/>
                    <a:pt x="128068" y="130325"/>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5" name="Freeform: Shape 794">
              <a:extLst>
                <a:ext uri="{FF2B5EF4-FFF2-40B4-BE49-F238E27FC236}">
                  <a16:creationId xmlns:a16="http://schemas.microsoft.com/office/drawing/2014/main" id="{EE275704-E15D-448F-AD90-E7C36AD38912}"/>
                </a:ext>
              </a:extLst>
            </p:cNvPr>
            <p:cNvSpPr/>
            <p:nvPr/>
          </p:nvSpPr>
          <p:spPr>
            <a:xfrm>
              <a:off x="5698435" y="6316279"/>
              <a:ext cx="161949" cy="161639"/>
            </a:xfrm>
            <a:custGeom>
              <a:avLst/>
              <a:gdLst>
                <a:gd name="connsiteX0" fmla="*/ 122845 w 161949"/>
                <a:gd name="connsiteY0" fmla="*/ 0 h 161639"/>
                <a:gd name="connsiteX1" fmla="*/ 122845 w 161949"/>
                <a:gd name="connsiteY1" fmla="*/ 65616 h 161639"/>
                <a:gd name="connsiteX2" fmla="*/ 39126 w 161949"/>
                <a:gd name="connsiteY2" fmla="*/ 65616 h 161639"/>
                <a:gd name="connsiteX3" fmla="*/ 39126 w 161949"/>
                <a:gd name="connsiteY3" fmla="*/ 0 h 161639"/>
                <a:gd name="connsiteX4" fmla="*/ 0 w 161949"/>
                <a:gd name="connsiteY4" fmla="*/ 0 h 161639"/>
                <a:gd name="connsiteX5" fmla="*/ 0 w 161949"/>
                <a:gd name="connsiteY5" fmla="*/ 161640 h 161639"/>
                <a:gd name="connsiteX6" fmla="*/ 39126 w 161949"/>
                <a:gd name="connsiteY6" fmla="*/ 161640 h 161639"/>
                <a:gd name="connsiteX7" fmla="*/ 39126 w 161949"/>
                <a:gd name="connsiteY7" fmla="*/ 95824 h 161639"/>
                <a:gd name="connsiteX8" fmla="*/ 122845 w 161949"/>
                <a:gd name="connsiteY8" fmla="*/ 95824 h 161639"/>
                <a:gd name="connsiteX9" fmla="*/ 122845 w 161949"/>
                <a:gd name="connsiteY9" fmla="*/ 161640 h 161639"/>
                <a:gd name="connsiteX10" fmla="*/ 161949 w 161949"/>
                <a:gd name="connsiteY10" fmla="*/ 161640 h 161639"/>
                <a:gd name="connsiteX11" fmla="*/ 161949 w 161949"/>
                <a:gd name="connsiteY11" fmla="*/ 0 h 161639"/>
                <a:gd name="connsiteX12" fmla="*/ 122845 w 161949"/>
                <a:gd name="connsiteY12" fmla="*/ 0 h 1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949" h="161639">
                  <a:moveTo>
                    <a:pt x="122845" y="0"/>
                  </a:moveTo>
                  <a:lnTo>
                    <a:pt x="122845" y="65616"/>
                  </a:lnTo>
                  <a:lnTo>
                    <a:pt x="39126" y="65616"/>
                  </a:lnTo>
                  <a:lnTo>
                    <a:pt x="39126" y="0"/>
                  </a:lnTo>
                  <a:lnTo>
                    <a:pt x="0" y="0"/>
                  </a:lnTo>
                  <a:lnTo>
                    <a:pt x="0" y="161640"/>
                  </a:lnTo>
                  <a:lnTo>
                    <a:pt x="39126" y="161640"/>
                  </a:lnTo>
                  <a:lnTo>
                    <a:pt x="39126" y="95824"/>
                  </a:lnTo>
                  <a:lnTo>
                    <a:pt x="122845" y="95824"/>
                  </a:lnTo>
                  <a:lnTo>
                    <a:pt x="122845" y="161640"/>
                  </a:lnTo>
                  <a:lnTo>
                    <a:pt x="161949" y="161640"/>
                  </a:lnTo>
                  <a:lnTo>
                    <a:pt x="161949" y="0"/>
                  </a:lnTo>
                  <a:lnTo>
                    <a:pt x="122845" y="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6" name="Freeform: Shape 795">
              <a:extLst>
                <a:ext uri="{FF2B5EF4-FFF2-40B4-BE49-F238E27FC236}">
                  <a16:creationId xmlns:a16="http://schemas.microsoft.com/office/drawing/2014/main" id="{5B7BC4E8-7044-452A-9AA6-6B6DF0FE46FD}"/>
                </a:ext>
              </a:extLst>
            </p:cNvPr>
            <p:cNvSpPr/>
            <p:nvPr/>
          </p:nvSpPr>
          <p:spPr>
            <a:xfrm>
              <a:off x="4582471" y="6532978"/>
              <a:ext cx="117113" cy="118065"/>
            </a:xfrm>
            <a:custGeom>
              <a:avLst/>
              <a:gdLst>
                <a:gd name="connsiteX0" fmla="*/ 90579 w 117113"/>
                <a:gd name="connsiteY0" fmla="*/ 91531 h 118065"/>
                <a:gd name="connsiteX1" fmla="*/ 72344 w 117113"/>
                <a:gd name="connsiteY1" fmla="*/ 94009 h 118065"/>
                <a:gd name="connsiteX2" fmla="*/ 50125 w 117113"/>
                <a:gd name="connsiteY2" fmla="*/ 89517 h 118065"/>
                <a:gd name="connsiteX3" fmla="*/ 35209 w 117113"/>
                <a:gd name="connsiteY3" fmla="*/ 77124 h 118065"/>
                <a:gd name="connsiteX4" fmla="*/ 29964 w 117113"/>
                <a:gd name="connsiteY4" fmla="*/ 59044 h 118065"/>
                <a:gd name="connsiteX5" fmla="*/ 35254 w 117113"/>
                <a:gd name="connsiteY5" fmla="*/ 41118 h 118065"/>
                <a:gd name="connsiteX6" fmla="*/ 50236 w 117113"/>
                <a:gd name="connsiteY6" fmla="*/ 28548 h 118065"/>
                <a:gd name="connsiteX7" fmla="*/ 72344 w 117113"/>
                <a:gd name="connsiteY7" fmla="*/ 23989 h 118065"/>
                <a:gd name="connsiteX8" fmla="*/ 91398 w 117113"/>
                <a:gd name="connsiteY8" fmla="*/ 26468 h 118065"/>
                <a:gd name="connsiteX9" fmla="*/ 111514 w 117113"/>
                <a:gd name="connsiteY9" fmla="*/ 34634 h 118065"/>
                <a:gd name="connsiteX10" fmla="*/ 115719 w 117113"/>
                <a:gd name="connsiteY10" fmla="*/ 36825 h 118065"/>
                <a:gd name="connsiteX11" fmla="*/ 115719 w 117113"/>
                <a:gd name="connsiteY11" fmla="*/ 10313 h 118065"/>
                <a:gd name="connsiteX12" fmla="*/ 114015 w 117113"/>
                <a:gd name="connsiteY12" fmla="*/ 9560 h 118065"/>
                <a:gd name="connsiteX13" fmla="*/ 92106 w 117113"/>
                <a:gd name="connsiteY13" fmla="*/ 2169 h 118065"/>
                <a:gd name="connsiteX14" fmla="*/ 71304 w 117113"/>
                <a:gd name="connsiteY14" fmla="*/ 0 h 118065"/>
                <a:gd name="connsiteX15" fmla="*/ 35032 w 117113"/>
                <a:gd name="connsiteY15" fmla="*/ 7392 h 118065"/>
                <a:gd name="connsiteX16" fmla="*/ 9383 w 117113"/>
                <a:gd name="connsiteY16" fmla="*/ 28703 h 118065"/>
                <a:gd name="connsiteX17" fmla="*/ 0 w 117113"/>
                <a:gd name="connsiteY17" fmla="*/ 60017 h 118065"/>
                <a:gd name="connsiteX18" fmla="*/ 9118 w 117113"/>
                <a:gd name="connsiteY18" fmla="*/ 90026 h 118065"/>
                <a:gd name="connsiteX19" fmla="*/ 34036 w 117113"/>
                <a:gd name="connsiteY19" fmla="*/ 110917 h 118065"/>
                <a:gd name="connsiteX20" fmla="*/ 69489 w 117113"/>
                <a:gd name="connsiteY20" fmla="*/ 118065 h 118065"/>
                <a:gd name="connsiteX21" fmla="*/ 93213 w 117113"/>
                <a:gd name="connsiteY21" fmla="*/ 115631 h 118065"/>
                <a:gd name="connsiteX22" fmla="*/ 115454 w 117113"/>
                <a:gd name="connsiteY22" fmla="*/ 107509 h 118065"/>
                <a:gd name="connsiteX23" fmla="*/ 117113 w 117113"/>
                <a:gd name="connsiteY23" fmla="*/ 106734 h 118065"/>
                <a:gd name="connsiteX24" fmla="*/ 117113 w 117113"/>
                <a:gd name="connsiteY24" fmla="*/ 80377 h 118065"/>
                <a:gd name="connsiteX25" fmla="*/ 112953 w 117113"/>
                <a:gd name="connsiteY25" fmla="*/ 82413 h 118065"/>
                <a:gd name="connsiteX26" fmla="*/ 90579 w 117113"/>
                <a:gd name="connsiteY26" fmla="*/ 91553 h 11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7113" h="118065">
                  <a:moveTo>
                    <a:pt x="90579" y="91531"/>
                  </a:moveTo>
                  <a:cubicBezTo>
                    <a:pt x="84825" y="93168"/>
                    <a:pt x="78673" y="94009"/>
                    <a:pt x="72344" y="94009"/>
                  </a:cubicBezTo>
                  <a:cubicBezTo>
                    <a:pt x="64134" y="94009"/>
                    <a:pt x="56654" y="92505"/>
                    <a:pt x="50125" y="89517"/>
                  </a:cubicBezTo>
                  <a:cubicBezTo>
                    <a:pt x="43729" y="86596"/>
                    <a:pt x="38706" y="82435"/>
                    <a:pt x="35209" y="77124"/>
                  </a:cubicBezTo>
                  <a:cubicBezTo>
                    <a:pt x="31735" y="71835"/>
                    <a:pt x="29964" y="65749"/>
                    <a:pt x="29964" y="59044"/>
                  </a:cubicBezTo>
                  <a:cubicBezTo>
                    <a:pt x="29964" y="52338"/>
                    <a:pt x="31735" y="46451"/>
                    <a:pt x="35254" y="41118"/>
                  </a:cubicBezTo>
                  <a:cubicBezTo>
                    <a:pt x="38772" y="35740"/>
                    <a:pt x="43818" y="31536"/>
                    <a:pt x="50236" y="28548"/>
                  </a:cubicBezTo>
                  <a:cubicBezTo>
                    <a:pt x="56764" y="25538"/>
                    <a:pt x="64200" y="23989"/>
                    <a:pt x="72344" y="23989"/>
                  </a:cubicBezTo>
                  <a:cubicBezTo>
                    <a:pt x="78939" y="23989"/>
                    <a:pt x="85357" y="24830"/>
                    <a:pt x="91398" y="26468"/>
                  </a:cubicBezTo>
                  <a:cubicBezTo>
                    <a:pt x="97506" y="28128"/>
                    <a:pt x="104278" y="30872"/>
                    <a:pt x="111514" y="34634"/>
                  </a:cubicBezTo>
                  <a:lnTo>
                    <a:pt x="115719" y="36825"/>
                  </a:lnTo>
                  <a:lnTo>
                    <a:pt x="115719" y="10313"/>
                  </a:lnTo>
                  <a:lnTo>
                    <a:pt x="114015" y="9560"/>
                  </a:lnTo>
                  <a:cubicBezTo>
                    <a:pt x="106225" y="6086"/>
                    <a:pt x="98856" y="3607"/>
                    <a:pt x="92106" y="2169"/>
                  </a:cubicBezTo>
                  <a:cubicBezTo>
                    <a:pt x="85357" y="730"/>
                    <a:pt x="78363" y="0"/>
                    <a:pt x="71304" y="0"/>
                  </a:cubicBezTo>
                  <a:cubicBezTo>
                    <a:pt x="57937" y="0"/>
                    <a:pt x="45743" y="2479"/>
                    <a:pt x="35032" y="7392"/>
                  </a:cubicBezTo>
                  <a:cubicBezTo>
                    <a:pt x="24211" y="12349"/>
                    <a:pt x="15580" y="19519"/>
                    <a:pt x="9383" y="28703"/>
                  </a:cubicBezTo>
                  <a:cubicBezTo>
                    <a:pt x="3165" y="37909"/>
                    <a:pt x="0" y="48465"/>
                    <a:pt x="0" y="60017"/>
                  </a:cubicBezTo>
                  <a:cubicBezTo>
                    <a:pt x="0" y="70839"/>
                    <a:pt x="3054" y="80930"/>
                    <a:pt x="9118" y="90026"/>
                  </a:cubicBezTo>
                  <a:cubicBezTo>
                    <a:pt x="15137" y="99077"/>
                    <a:pt x="23524" y="106115"/>
                    <a:pt x="34036" y="110917"/>
                  </a:cubicBezTo>
                  <a:cubicBezTo>
                    <a:pt x="44415" y="115675"/>
                    <a:pt x="56344" y="118065"/>
                    <a:pt x="69489" y="118065"/>
                  </a:cubicBezTo>
                  <a:cubicBezTo>
                    <a:pt x="78452" y="118065"/>
                    <a:pt x="86441" y="117246"/>
                    <a:pt x="93213" y="115631"/>
                  </a:cubicBezTo>
                  <a:cubicBezTo>
                    <a:pt x="99985" y="114015"/>
                    <a:pt x="107465" y="111293"/>
                    <a:pt x="115454" y="107509"/>
                  </a:cubicBezTo>
                  <a:lnTo>
                    <a:pt x="117113" y="106734"/>
                  </a:lnTo>
                  <a:lnTo>
                    <a:pt x="117113" y="80377"/>
                  </a:lnTo>
                  <a:lnTo>
                    <a:pt x="112953" y="82413"/>
                  </a:lnTo>
                  <a:cubicBezTo>
                    <a:pt x="103968" y="86817"/>
                    <a:pt x="96444" y="89893"/>
                    <a:pt x="90579" y="91553"/>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7" name="Freeform: Shape 796">
              <a:extLst>
                <a:ext uri="{FF2B5EF4-FFF2-40B4-BE49-F238E27FC236}">
                  <a16:creationId xmlns:a16="http://schemas.microsoft.com/office/drawing/2014/main" id="{E936A2D5-9156-4B36-A6C3-51BD7CA53BA4}"/>
                </a:ext>
              </a:extLst>
            </p:cNvPr>
            <p:cNvSpPr/>
            <p:nvPr/>
          </p:nvSpPr>
          <p:spPr>
            <a:xfrm>
              <a:off x="4748249" y="6532956"/>
              <a:ext cx="139487" cy="118087"/>
            </a:xfrm>
            <a:custGeom>
              <a:avLst/>
              <a:gdLst>
                <a:gd name="connsiteX0" fmla="*/ 104898 w 139487"/>
                <a:gd name="connsiteY0" fmla="*/ 7281 h 118087"/>
                <a:gd name="connsiteX1" fmla="*/ 69821 w 139487"/>
                <a:gd name="connsiteY1" fmla="*/ 0 h 118087"/>
                <a:gd name="connsiteX2" fmla="*/ 33881 w 139487"/>
                <a:gd name="connsiteY2" fmla="*/ 7613 h 118087"/>
                <a:gd name="connsiteX3" fmla="*/ 9051 w 139487"/>
                <a:gd name="connsiteY3" fmla="*/ 29212 h 118087"/>
                <a:gd name="connsiteX4" fmla="*/ 0 w 139487"/>
                <a:gd name="connsiteY4" fmla="*/ 59066 h 118087"/>
                <a:gd name="connsiteX5" fmla="*/ 9073 w 139487"/>
                <a:gd name="connsiteY5" fmla="*/ 89163 h 118087"/>
                <a:gd name="connsiteX6" fmla="*/ 34213 w 139487"/>
                <a:gd name="connsiteY6" fmla="*/ 110430 h 118087"/>
                <a:gd name="connsiteX7" fmla="*/ 69666 w 139487"/>
                <a:gd name="connsiteY7" fmla="*/ 118087 h 118087"/>
                <a:gd name="connsiteX8" fmla="*/ 105207 w 139487"/>
                <a:gd name="connsiteY8" fmla="*/ 110563 h 118087"/>
                <a:gd name="connsiteX9" fmla="*/ 130303 w 139487"/>
                <a:gd name="connsiteY9" fmla="*/ 89185 h 118087"/>
                <a:gd name="connsiteX10" fmla="*/ 139487 w 139487"/>
                <a:gd name="connsiteY10" fmla="*/ 59110 h 118087"/>
                <a:gd name="connsiteX11" fmla="*/ 130060 w 139487"/>
                <a:gd name="connsiteY11" fmla="*/ 28548 h 118087"/>
                <a:gd name="connsiteX12" fmla="*/ 104920 w 139487"/>
                <a:gd name="connsiteY12" fmla="*/ 7325 h 118087"/>
                <a:gd name="connsiteX13" fmla="*/ 109589 w 139487"/>
                <a:gd name="connsiteY13" fmla="*/ 59066 h 118087"/>
                <a:gd name="connsiteX14" fmla="*/ 98568 w 139487"/>
                <a:gd name="connsiteY14" fmla="*/ 84161 h 118087"/>
                <a:gd name="connsiteX15" fmla="*/ 69821 w 139487"/>
                <a:gd name="connsiteY15" fmla="*/ 94032 h 118087"/>
                <a:gd name="connsiteX16" fmla="*/ 49019 w 139487"/>
                <a:gd name="connsiteY16" fmla="*/ 89539 h 118087"/>
                <a:gd name="connsiteX17" fmla="*/ 34966 w 139487"/>
                <a:gd name="connsiteY17" fmla="*/ 77124 h 118087"/>
                <a:gd name="connsiteX18" fmla="*/ 29942 w 139487"/>
                <a:gd name="connsiteY18" fmla="*/ 59066 h 118087"/>
                <a:gd name="connsiteX19" fmla="*/ 34811 w 139487"/>
                <a:gd name="connsiteY19" fmla="*/ 40941 h 118087"/>
                <a:gd name="connsiteX20" fmla="*/ 48753 w 139487"/>
                <a:gd name="connsiteY20" fmla="*/ 28548 h 118087"/>
                <a:gd name="connsiteX21" fmla="*/ 69644 w 139487"/>
                <a:gd name="connsiteY21" fmla="*/ 24033 h 118087"/>
                <a:gd name="connsiteX22" fmla="*/ 90535 w 139487"/>
                <a:gd name="connsiteY22" fmla="*/ 28526 h 118087"/>
                <a:gd name="connsiteX23" fmla="*/ 104610 w 139487"/>
                <a:gd name="connsiteY23" fmla="*/ 40963 h 118087"/>
                <a:gd name="connsiteX24" fmla="*/ 109589 w 139487"/>
                <a:gd name="connsiteY24" fmla="*/ 59066 h 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487" h="118087">
                  <a:moveTo>
                    <a:pt x="104898" y="7281"/>
                  </a:moveTo>
                  <a:cubicBezTo>
                    <a:pt x="94541" y="2456"/>
                    <a:pt x="82723" y="0"/>
                    <a:pt x="69821" y="0"/>
                  </a:cubicBezTo>
                  <a:cubicBezTo>
                    <a:pt x="56919" y="0"/>
                    <a:pt x="44283" y="2567"/>
                    <a:pt x="33881" y="7613"/>
                  </a:cubicBezTo>
                  <a:cubicBezTo>
                    <a:pt x="23392" y="12703"/>
                    <a:pt x="15049" y="19984"/>
                    <a:pt x="9051" y="29212"/>
                  </a:cubicBezTo>
                  <a:cubicBezTo>
                    <a:pt x="3054" y="38485"/>
                    <a:pt x="0" y="48510"/>
                    <a:pt x="0" y="59066"/>
                  </a:cubicBezTo>
                  <a:cubicBezTo>
                    <a:pt x="0" y="69622"/>
                    <a:pt x="3054" y="80112"/>
                    <a:pt x="9073" y="89163"/>
                  </a:cubicBezTo>
                  <a:cubicBezTo>
                    <a:pt x="15071" y="98148"/>
                    <a:pt x="23524" y="105296"/>
                    <a:pt x="34213" y="110430"/>
                  </a:cubicBezTo>
                  <a:cubicBezTo>
                    <a:pt x="44814" y="115498"/>
                    <a:pt x="56742" y="118087"/>
                    <a:pt x="69666" y="118087"/>
                  </a:cubicBezTo>
                  <a:cubicBezTo>
                    <a:pt x="82590" y="118087"/>
                    <a:pt x="94718" y="115564"/>
                    <a:pt x="105207" y="110563"/>
                  </a:cubicBezTo>
                  <a:cubicBezTo>
                    <a:pt x="115786" y="105517"/>
                    <a:pt x="124217" y="98325"/>
                    <a:pt x="130303" y="89185"/>
                  </a:cubicBezTo>
                  <a:cubicBezTo>
                    <a:pt x="136411" y="80001"/>
                    <a:pt x="139487" y="69865"/>
                    <a:pt x="139487" y="59110"/>
                  </a:cubicBezTo>
                  <a:cubicBezTo>
                    <a:pt x="139487" y="48355"/>
                    <a:pt x="136323" y="37799"/>
                    <a:pt x="130060" y="28548"/>
                  </a:cubicBezTo>
                  <a:cubicBezTo>
                    <a:pt x="123841" y="19342"/>
                    <a:pt x="115387" y="12216"/>
                    <a:pt x="104920" y="7325"/>
                  </a:cubicBezTo>
                  <a:close/>
                  <a:moveTo>
                    <a:pt x="109589" y="59066"/>
                  </a:moveTo>
                  <a:cubicBezTo>
                    <a:pt x="109589" y="69423"/>
                    <a:pt x="105982" y="77633"/>
                    <a:pt x="98568" y="84161"/>
                  </a:cubicBezTo>
                  <a:cubicBezTo>
                    <a:pt x="91133" y="90712"/>
                    <a:pt x="81462" y="94032"/>
                    <a:pt x="69821" y="94032"/>
                  </a:cubicBezTo>
                  <a:cubicBezTo>
                    <a:pt x="62098" y="94032"/>
                    <a:pt x="55104" y="92527"/>
                    <a:pt x="49019" y="89539"/>
                  </a:cubicBezTo>
                  <a:cubicBezTo>
                    <a:pt x="43043" y="86618"/>
                    <a:pt x="38308" y="82435"/>
                    <a:pt x="34966" y="77124"/>
                  </a:cubicBezTo>
                  <a:cubicBezTo>
                    <a:pt x="31624" y="71813"/>
                    <a:pt x="29942" y="65749"/>
                    <a:pt x="29942" y="59066"/>
                  </a:cubicBezTo>
                  <a:cubicBezTo>
                    <a:pt x="29942" y="52382"/>
                    <a:pt x="31580" y="46230"/>
                    <a:pt x="34811" y="40941"/>
                  </a:cubicBezTo>
                  <a:cubicBezTo>
                    <a:pt x="38042" y="35674"/>
                    <a:pt x="42711" y="31513"/>
                    <a:pt x="48753" y="28548"/>
                  </a:cubicBezTo>
                  <a:cubicBezTo>
                    <a:pt x="54883" y="25538"/>
                    <a:pt x="61898" y="24033"/>
                    <a:pt x="69644" y="24033"/>
                  </a:cubicBezTo>
                  <a:cubicBezTo>
                    <a:pt x="77390" y="24033"/>
                    <a:pt x="84405" y="25538"/>
                    <a:pt x="90535" y="28526"/>
                  </a:cubicBezTo>
                  <a:cubicBezTo>
                    <a:pt x="96554" y="31447"/>
                    <a:pt x="101290" y="35652"/>
                    <a:pt x="104610" y="40963"/>
                  </a:cubicBezTo>
                  <a:cubicBezTo>
                    <a:pt x="107907" y="46297"/>
                    <a:pt x="109589" y="52382"/>
                    <a:pt x="109589" y="59066"/>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8" name="Freeform: Shape 797">
              <a:extLst>
                <a:ext uri="{FF2B5EF4-FFF2-40B4-BE49-F238E27FC236}">
                  <a16:creationId xmlns:a16="http://schemas.microsoft.com/office/drawing/2014/main" id="{721E3D43-44E2-4CDA-8732-3E514D91B75E}"/>
                </a:ext>
              </a:extLst>
            </p:cNvPr>
            <p:cNvSpPr/>
            <p:nvPr/>
          </p:nvSpPr>
          <p:spPr>
            <a:xfrm>
              <a:off x="4943726" y="6534351"/>
              <a:ext cx="121185" cy="115254"/>
            </a:xfrm>
            <a:custGeom>
              <a:avLst/>
              <a:gdLst>
                <a:gd name="connsiteX0" fmla="*/ 92527 w 121185"/>
                <a:gd name="connsiteY0" fmla="*/ 72012 h 115254"/>
                <a:gd name="connsiteX1" fmla="*/ 24675 w 121185"/>
                <a:gd name="connsiteY1" fmla="*/ 0 h 115254"/>
                <a:gd name="connsiteX2" fmla="*/ 0 w 121185"/>
                <a:gd name="connsiteY2" fmla="*/ 0 h 115254"/>
                <a:gd name="connsiteX3" fmla="*/ 0 w 121185"/>
                <a:gd name="connsiteY3" fmla="*/ 115254 h 115254"/>
                <a:gd name="connsiteX4" fmla="*/ 28659 w 121185"/>
                <a:gd name="connsiteY4" fmla="*/ 115254 h 115254"/>
                <a:gd name="connsiteX5" fmla="*/ 28659 w 121185"/>
                <a:gd name="connsiteY5" fmla="*/ 42025 h 115254"/>
                <a:gd name="connsiteX6" fmla="*/ 96931 w 121185"/>
                <a:gd name="connsiteY6" fmla="*/ 115254 h 115254"/>
                <a:gd name="connsiteX7" fmla="*/ 121185 w 121185"/>
                <a:gd name="connsiteY7" fmla="*/ 115254 h 115254"/>
                <a:gd name="connsiteX8" fmla="*/ 121185 w 121185"/>
                <a:gd name="connsiteY8" fmla="*/ 0 h 115254"/>
                <a:gd name="connsiteX9" fmla="*/ 92527 w 121185"/>
                <a:gd name="connsiteY9" fmla="*/ 0 h 115254"/>
                <a:gd name="connsiteX10" fmla="*/ 92527 w 121185"/>
                <a:gd name="connsiteY10" fmla="*/ 72012 h 11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185" h="115254">
                  <a:moveTo>
                    <a:pt x="92527" y="72012"/>
                  </a:moveTo>
                  <a:lnTo>
                    <a:pt x="24675" y="0"/>
                  </a:lnTo>
                  <a:lnTo>
                    <a:pt x="0" y="0"/>
                  </a:lnTo>
                  <a:lnTo>
                    <a:pt x="0" y="115254"/>
                  </a:lnTo>
                  <a:lnTo>
                    <a:pt x="28659" y="115254"/>
                  </a:lnTo>
                  <a:lnTo>
                    <a:pt x="28659" y="42025"/>
                  </a:lnTo>
                  <a:lnTo>
                    <a:pt x="96931" y="115254"/>
                  </a:lnTo>
                  <a:lnTo>
                    <a:pt x="121185" y="115254"/>
                  </a:lnTo>
                  <a:lnTo>
                    <a:pt x="121185" y="0"/>
                  </a:lnTo>
                  <a:lnTo>
                    <a:pt x="92527" y="0"/>
                  </a:lnTo>
                  <a:lnTo>
                    <a:pt x="92527" y="72012"/>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9" name="Freeform: Shape 798">
              <a:extLst>
                <a:ext uri="{FF2B5EF4-FFF2-40B4-BE49-F238E27FC236}">
                  <a16:creationId xmlns:a16="http://schemas.microsoft.com/office/drawing/2014/main" id="{8B6122E7-1BC3-47C9-B82B-C26AC4D870F3}"/>
                </a:ext>
              </a:extLst>
            </p:cNvPr>
            <p:cNvSpPr/>
            <p:nvPr/>
          </p:nvSpPr>
          <p:spPr>
            <a:xfrm>
              <a:off x="5119618" y="6534351"/>
              <a:ext cx="115188" cy="115254"/>
            </a:xfrm>
            <a:custGeom>
              <a:avLst/>
              <a:gdLst>
                <a:gd name="connsiteX0" fmla="*/ 0 w 115188"/>
                <a:gd name="connsiteY0" fmla="*/ 22307 h 115254"/>
                <a:gd name="connsiteX1" fmla="*/ 42999 w 115188"/>
                <a:gd name="connsiteY1" fmla="*/ 22307 h 115254"/>
                <a:gd name="connsiteX2" fmla="*/ 42999 w 115188"/>
                <a:gd name="connsiteY2" fmla="*/ 115254 h 115254"/>
                <a:gd name="connsiteX3" fmla="*/ 72189 w 115188"/>
                <a:gd name="connsiteY3" fmla="*/ 115254 h 115254"/>
                <a:gd name="connsiteX4" fmla="*/ 72189 w 115188"/>
                <a:gd name="connsiteY4" fmla="*/ 22307 h 115254"/>
                <a:gd name="connsiteX5" fmla="*/ 115188 w 115188"/>
                <a:gd name="connsiteY5" fmla="*/ 22307 h 115254"/>
                <a:gd name="connsiteX6" fmla="*/ 115188 w 115188"/>
                <a:gd name="connsiteY6" fmla="*/ 0 h 115254"/>
                <a:gd name="connsiteX7" fmla="*/ 0 w 115188"/>
                <a:gd name="connsiteY7" fmla="*/ 0 h 115254"/>
                <a:gd name="connsiteX8" fmla="*/ 0 w 115188"/>
                <a:gd name="connsiteY8" fmla="*/ 22307 h 11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188" h="115254">
                  <a:moveTo>
                    <a:pt x="0" y="22307"/>
                  </a:moveTo>
                  <a:lnTo>
                    <a:pt x="42999" y="22307"/>
                  </a:lnTo>
                  <a:lnTo>
                    <a:pt x="42999" y="115254"/>
                  </a:lnTo>
                  <a:lnTo>
                    <a:pt x="72189" y="115254"/>
                  </a:lnTo>
                  <a:lnTo>
                    <a:pt x="72189" y="22307"/>
                  </a:lnTo>
                  <a:lnTo>
                    <a:pt x="115188" y="22307"/>
                  </a:lnTo>
                  <a:lnTo>
                    <a:pt x="115188" y="0"/>
                  </a:lnTo>
                  <a:lnTo>
                    <a:pt x="0" y="0"/>
                  </a:lnTo>
                  <a:lnTo>
                    <a:pt x="0" y="22307"/>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0" name="Freeform: Shape 799">
              <a:extLst>
                <a:ext uri="{FF2B5EF4-FFF2-40B4-BE49-F238E27FC236}">
                  <a16:creationId xmlns:a16="http://schemas.microsoft.com/office/drawing/2014/main" id="{C0F59631-0DE6-41CB-A7BA-B84CE278D48E}"/>
                </a:ext>
              </a:extLst>
            </p:cNvPr>
            <p:cNvSpPr/>
            <p:nvPr/>
          </p:nvSpPr>
          <p:spPr>
            <a:xfrm>
              <a:off x="5291658" y="6534351"/>
              <a:ext cx="107531" cy="115232"/>
            </a:xfrm>
            <a:custGeom>
              <a:avLst/>
              <a:gdLst>
                <a:gd name="connsiteX0" fmla="*/ 87946 w 107531"/>
                <a:gd name="connsiteY0" fmla="*/ 83475 h 115232"/>
                <a:gd name="connsiteX1" fmla="*/ 76372 w 107531"/>
                <a:gd name="connsiteY1" fmla="*/ 66590 h 115232"/>
                <a:gd name="connsiteX2" fmla="*/ 70219 w 107531"/>
                <a:gd name="connsiteY2" fmla="*/ 61234 h 115232"/>
                <a:gd name="connsiteX3" fmla="*/ 82037 w 107531"/>
                <a:gd name="connsiteY3" fmla="*/ 51696 h 115232"/>
                <a:gd name="connsiteX4" fmla="*/ 87968 w 107531"/>
                <a:gd name="connsiteY4" fmla="*/ 33682 h 115232"/>
                <a:gd name="connsiteX5" fmla="*/ 76128 w 107531"/>
                <a:gd name="connsiteY5" fmla="*/ 9162 h 115232"/>
                <a:gd name="connsiteX6" fmla="*/ 46496 w 107531"/>
                <a:gd name="connsiteY6" fmla="*/ 0 h 115232"/>
                <a:gd name="connsiteX7" fmla="*/ 0 w 107531"/>
                <a:gd name="connsiteY7" fmla="*/ 0 h 115232"/>
                <a:gd name="connsiteX8" fmla="*/ 0 w 107531"/>
                <a:gd name="connsiteY8" fmla="*/ 115232 h 115232"/>
                <a:gd name="connsiteX9" fmla="*/ 29190 w 107531"/>
                <a:gd name="connsiteY9" fmla="*/ 115232 h 115232"/>
                <a:gd name="connsiteX10" fmla="*/ 29190 w 107531"/>
                <a:gd name="connsiteY10" fmla="*/ 69002 h 115232"/>
                <a:gd name="connsiteX11" fmla="*/ 34811 w 107531"/>
                <a:gd name="connsiteY11" fmla="*/ 69002 h 115232"/>
                <a:gd name="connsiteX12" fmla="*/ 43331 w 107531"/>
                <a:gd name="connsiteY12" fmla="*/ 71149 h 115232"/>
                <a:gd name="connsiteX13" fmla="*/ 51519 w 107531"/>
                <a:gd name="connsiteY13" fmla="*/ 79049 h 115232"/>
                <a:gd name="connsiteX14" fmla="*/ 66059 w 107531"/>
                <a:gd name="connsiteY14" fmla="*/ 102286 h 115232"/>
                <a:gd name="connsiteX15" fmla="*/ 73517 w 107531"/>
                <a:gd name="connsiteY15" fmla="*/ 114082 h 115232"/>
                <a:gd name="connsiteX16" fmla="*/ 74380 w 107531"/>
                <a:gd name="connsiteY16" fmla="*/ 115232 h 115232"/>
                <a:gd name="connsiteX17" fmla="*/ 107531 w 107531"/>
                <a:gd name="connsiteY17" fmla="*/ 115232 h 115232"/>
                <a:gd name="connsiteX18" fmla="*/ 104278 w 107531"/>
                <a:gd name="connsiteY18" fmla="*/ 110674 h 115232"/>
                <a:gd name="connsiteX19" fmla="*/ 87946 w 107531"/>
                <a:gd name="connsiteY19" fmla="*/ 83475 h 115232"/>
                <a:gd name="connsiteX20" fmla="*/ 29190 w 107531"/>
                <a:gd name="connsiteY20" fmla="*/ 21975 h 115232"/>
                <a:gd name="connsiteX21" fmla="*/ 40875 w 107531"/>
                <a:gd name="connsiteY21" fmla="*/ 21975 h 115232"/>
                <a:gd name="connsiteX22" fmla="*/ 54020 w 107531"/>
                <a:gd name="connsiteY22" fmla="*/ 25162 h 115232"/>
                <a:gd name="connsiteX23" fmla="*/ 58026 w 107531"/>
                <a:gd name="connsiteY23" fmla="*/ 34058 h 115232"/>
                <a:gd name="connsiteX24" fmla="*/ 53865 w 107531"/>
                <a:gd name="connsiteY24" fmla="*/ 43154 h 115232"/>
                <a:gd name="connsiteX25" fmla="*/ 41229 w 107531"/>
                <a:gd name="connsiteY25" fmla="*/ 46673 h 115232"/>
                <a:gd name="connsiteX26" fmla="*/ 29190 w 107531"/>
                <a:gd name="connsiteY26" fmla="*/ 46673 h 115232"/>
                <a:gd name="connsiteX27" fmla="*/ 29190 w 107531"/>
                <a:gd name="connsiteY27" fmla="*/ 21953 h 11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7531" h="115232">
                  <a:moveTo>
                    <a:pt x="87946" y="83475"/>
                  </a:moveTo>
                  <a:cubicBezTo>
                    <a:pt x="83343" y="75531"/>
                    <a:pt x="79558" y="70020"/>
                    <a:pt x="76372" y="66590"/>
                  </a:cubicBezTo>
                  <a:cubicBezTo>
                    <a:pt x="74491" y="64576"/>
                    <a:pt x="72432" y="62784"/>
                    <a:pt x="70219" y="61234"/>
                  </a:cubicBezTo>
                  <a:cubicBezTo>
                    <a:pt x="75177" y="58667"/>
                    <a:pt x="79138" y="55481"/>
                    <a:pt x="82037" y="51696"/>
                  </a:cubicBezTo>
                  <a:cubicBezTo>
                    <a:pt x="85976" y="46584"/>
                    <a:pt x="87968" y="40521"/>
                    <a:pt x="87968" y="33682"/>
                  </a:cubicBezTo>
                  <a:cubicBezTo>
                    <a:pt x="87968" y="23657"/>
                    <a:pt x="83984" y="15403"/>
                    <a:pt x="76128" y="9162"/>
                  </a:cubicBezTo>
                  <a:cubicBezTo>
                    <a:pt x="68471" y="3076"/>
                    <a:pt x="58490" y="0"/>
                    <a:pt x="46496" y="0"/>
                  </a:cubicBezTo>
                  <a:lnTo>
                    <a:pt x="0" y="0"/>
                  </a:lnTo>
                  <a:lnTo>
                    <a:pt x="0" y="115232"/>
                  </a:lnTo>
                  <a:lnTo>
                    <a:pt x="29190" y="115232"/>
                  </a:lnTo>
                  <a:lnTo>
                    <a:pt x="29190" y="69002"/>
                  </a:lnTo>
                  <a:lnTo>
                    <a:pt x="34811" y="69002"/>
                  </a:lnTo>
                  <a:cubicBezTo>
                    <a:pt x="38064" y="69002"/>
                    <a:pt x="40852" y="69710"/>
                    <a:pt x="43331" y="71149"/>
                  </a:cubicBezTo>
                  <a:cubicBezTo>
                    <a:pt x="45876" y="72654"/>
                    <a:pt x="48642" y="75309"/>
                    <a:pt x="51519" y="79049"/>
                  </a:cubicBezTo>
                  <a:cubicBezTo>
                    <a:pt x="54551" y="82989"/>
                    <a:pt x="59442" y="90801"/>
                    <a:pt x="66059" y="102286"/>
                  </a:cubicBezTo>
                  <a:cubicBezTo>
                    <a:pt x="69224" y="107730"/>
                    <a:pt x="71658" y="111581"/>
                    <a:pt x="73517" y="114082"/>
                  </a:cubicBezTo>
                  <a:lnTo>
                    <a:pt x="74380" y="115232"/>
                  </a:lnTo>
                  <a:lnTo>
                    <a:pt x="107531" y="115232"/>
                  </a:lnTo>
                  <a:lnTo>
                    <a:pt x="104278" y="110674"/>
                  </a:lnTo>
                  <a:cubicBezTo>
                    <a:pt x="100759" y="105761"/>
                    <a:pt x="95271" y="96621"/>
                    <a:pt x="87946" y="83475"/>
                  </a:cubicBezTo>
                  <a:close/>
                  <a:moveTo>
                    <a:pt x="29190" y="21975"/>
                  </a:moveTo>
                  <a:lnTo>
                    <a:pt x="40875" y="21975"/>
                  </a:lnTo>
                  <a:cubicBezTo>
                    <a:pt x="46651" y="21975"/>
                    <a:pt x="51077" y="23038"/>
                    <a:pt x="54020" y="25162"/>
                  </a:cubicBezTo>
                  <a:cubicBezTo>
                    <a:pt x="56698" y="27087"/>
                    <a:pt x="58026" y="29987"/>
                    <a:pt x="58026" y="34058"/>
                  </a:cubicBezTo>
                  <a:cubicBezTo>
                    <a:pt x="58026" y="38130"/>
                    <a:pt x="56676" y="40941"/>
                    <a:pt x="53865" y="43154"/>
                  </a:cubicBezTo>
                  <a:cubicBezTo>
                    <a:pt x="50900" y="45500"/>
                    <a:pt x="46651" y="46673"/>
                    <a:pt x="41229" y="46673"/>
                  </a:cubicBezTo>
                  <a:lnTo>
                    <a:pt x="29190" y="46673"/>
                  </a:lnTo>
                  <a:lnTo>
                    <a:pt x="29190" y="21953"/>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1" name="Freeform: Shape 800">
              <a:extLst>
                <a:ext uri="{FF2B5EF4-FFF2-40B4-BE49-F238E27FC236}">
                  <a16:creationId xmlns:a16="http://schemas.microsoft.com/office/drawing/2014/main" id="{5EF92C3D-129E-4156-BD94-37E46FBE9662}"/>
                </a:ext>
              </a:extLst>
            </p:cNvPr>
            <p:cNvSpPr/>
            <p:nvPr/>
          </p:nvSpPr>
          <p:spPr>
            <a:xfrm>
              <a:off x="5435815" y="6532956"/>
              <a:ext cx="139487" cy="118087"/>
            </a:xfrm>
            <a:custGeom>
              <a:avLst/>
              <a:gdLst>
                <a:gd name="connsiteX0" fmla="*/ 104898 w 139487"/>
                <a:gd name="connsiteY0" fmla="*/ 7281 h 118087"/>
                <a:gd name="connsiteX1" fmla="*/ 69821 w 139487"/>
                <a:gd name="connsiteY1" fmla="*/ 0 h 118087"/>
                <a:gd name="connsiteX2" fmla="*/ 33881 w 139487"/>
                <a:gd name="connsiteY2" fmla="*/ 7613 h 118087"/>
                <a:gd name="connsiteX3" fmla="*/ 9051 w 139487"/>
                <a:gd name="connsiteY3" fmla="*/ 29212 h 118087"/>
                <a:gd name="connsiteX4" fmla="*/ 0 w 139487"/>
                <a:gd name="connsiteY4" fmla="*/ 59066 h 118087"/>
                <a:gd name="connsiteX5" fmla="*/ 9073 w 139487"/>
                <a:gd name="connsiteY5" fmla="*/ 89163 h 118087"/>
                <a:gd name="connsiteX6" fmla="*/ 34213 w 139487"/>
                <a:gd name="connsiteY6" fmla="*/ 110430 h 118087"/>
                <a:gd name="connsiteX7" fmla="*/ 69666 w 139487"/>
                <a:gd name="connsiteY7" fmla="*/ 118087 h 118087"/>
                <a:gd name="connsiteX8" fmla="*/ 105207 w 139487"/>
                <a:gd name="connsiteY8" fmla="*/ 110563 h 118087"/>
                <a:gd name="connsiteX9" fmla="*/ 130303 w 139487"/>
                <a:gd name="connsiteY9" fmla="*/ 89185 h 118087"/>
                <a:gd name="connsiteX10" fmla="*/ 139487 w 139487"/>
                <a:gd name="connsiteY10" fmla="*/ 59110 h 118087"/>
                <a:gd name="connsiteX11" fmla="*/ 130060 w 139487"/>
                <a:gd name="connsiteY11" fmla="*/ 28548 h 118087"/>
                <a:gd name="connsiteX12" fmla="*/ 104920 w 139487"/>
                <a:gd name="connsiteY12" fmla="*/ 7325 h 118087"/>
                <a:gd name="connsiteX13" fmla="*/ 109589 w 139487"/>
                <a:gd name="connsiteY13" fmla="*/ 59066 h 118087"/>
                <a:gd name="connsiteX14" fmla="*/ 98568 w 139487"/>
                <a:gd name="connsiteY14" fmla="*/ 84161 h 118087"/>
                <a:gd name="connsiteX15" fmla="*/ 69821 w 139487"/>
                <a:gd name="connsiteY15" fmla="*/ 94032 h 118087"/>
                <a:gd name="connsiteX16" fmla="*/ 49019 w 139487"/>
                <a:gd name="connsiteY16" fmla="*/ 89539 h 118087"/>
                <a:gd name="connsiteX17" fmla="*/ 34966 w 139487"/>
                <a:gd name="connsiteY17" fmla="*/ 77124 h 118087"/>
                <a:gd name="connsiteX18" fmla="*/ 29942 w 139487"/>
                <a:gd name="connsiteY18" fmla="*/ 59066 h 118087"/>
                <a:gd name="connsiteX19" fmla="*/ 34811 w 139487"/>
                <a:gd name="connsiteY19" fmla="*/ 40941 h 118087"/>
                <a:gd name="connsiteX20" fmla="*/ 48753 w 139487"/>
                <a:gd name="connsiteY20" fmla="*/ 28548 h 118087"/>
                <a:gd name="connsiteX21" fmla="*/ 69644 w 139487"/>
                <a:gd name="connsiteY21" fmla="*/ 24033 h 118087"/>
                <a:gd name="connsiteX22" fmla="*/ 90535 w 139487"/>
                <a:gd name="connsiteY22" fmla="*/ 28526 h 118087"/>
                <a:gd name="connsiteX23" fmla="*/ 104610 w 139487"/>
                <a:gd name="connsiteY23" fmla="*/ 40963 h 118087"/>
                <a:gd name="connsiteX24" fmla="*/ 109589 w 139487"/>
                <a:gd name="connsiteY24" fmla="*/ 59066 h 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487" h="118087">
                  <a:moveTo>
                    <a:pt x="104898" y="7281"/>
                  </a:moveTo>
                  <a:cubicBezTo>
                    <a:pt x="94541" y="2456"/>
                    <a:pt x="82723" y="0"/>
                    <a:pt x="69821" y="0"/>
                  </a:cubicBezTo>
                  <a:cubicBezTo>
                    <a:pt x="56919" y="0"/>
                    <a:pt x="44283" y="2567"/>
                    <a:pt x="33881" y="7613"/>
                  </a:cubicBezTo>
                  <a:cubicBezTo>
                    <a:pt x="23392" y="12703"/>
                    <a:pt x="15049" y="19984"/>
                    <a:pt x="9051" y="29212"/>
                  </a:cubicBezTo>
                  <a:cubicBezTo>
                    <a:pt x="3054" y="38485"/>
                    <a:pt x="0" y="48510"/>
                    <a:pt x="0" y="59066"/>
                  </a:cubicBezTo>
                  <a:cubicBezTo>
                    <a:pt x="0" y="69622"/>
                    <a:pt x="3054" y="80112"/>
                    <a:pt x="9073" y="89163"/>
                  </a:cubicBezTo>
                  <a:cubicBezTo>
                    <a:pt x="15071" y="98148"/>
                    <a:pt x="23525" y="105296"/>
                    <a:pt x="34213" y="110430"/>
                  </a:cubicBezTo>
                  <a:cubicBezTo>
                    <a:pt x="44814" y="115498"/>
                    <a:pt x="56742" y="118087"/>
                    <a:pt x="69666" y="118087"/>
                  </a:cubicBezTo>
                  <a:cubicBezTo>
                    <a:pt x="82590" y="118087"/>
                    <a:pt x="94718" y="115564"/>
                    <a:pt x="105207" y="110563"/>
                  </a:cubicBezTo>
                  <a:cubicBezTo>
                    <a:pt x="115786" y="105517"/>
                    <a:pt x="124217" y="98325"/>
                    <a:pt x="130303" y="89185"/>
                  </a:cubicBezTo>
                  <a:cubicBezTo>
                    <a:pt x="136411" y="80001"/>
                    <a:pt x="139487" y="69865"/>
                    <a:pt x="139487" y="59110"/>
                  </a:cubicBezTo>
                  <a:cubicBezTo>
                    <a:pt x="139487" y="48355"/>
                    <a:pt x="136323" y="37799"/>
                    <a:pt x="130060" y="28548"/>
                  </a:cubicBezTo>
                  <a:cubicBezTo>
                    <a:pt x="123841" y="19342"/>
                    <a:pt x="115387" y="12216"/>
                    <a:pt x="104920" y="7325"/>
                  </a:cubicBezTo>
                  <a:close/>
                  <a:moveTo>
                    <a:pt x="109589" y="59066"/>
                  </a:moveTo>
                  <a:cubicBezTo>
                    <a:pt x="109589" y="69423"/>
                    <a:pt x="105982" y="77633"/>
                    <a:pt x="98568" y="84161"/>
                  </a:cubicBezTo>
                  <a:cubicBezTo>
                    <a:pt x="91132" y="90712"/>
                    <a:pt x="81462" y="94032"/>
                    <a:pt x="69821" y="94032"/>
                  </a:cubicBezTo>
                  <a:cubicBezTo>
                    <a:pt x="62098" y="94032"/>
                    <a:pt x="55104" y="92527"/>
                    <a:pt x="49019" y="89539"/>
                  </a:cubicBezTo>
                  <a:cubicBezTo>
                    <a:pt x="43043" y="86618"/>
                    <a:pt x="38308" y="82435"/>
                    <a:pt x="34966" y="77124"/>
                  </a:cubicBezTo>
                  <a:cubicBezTo>
                    <a:pt x="31624" y="71813"/>
                    <a:pt x="29942" y="65749"/>
                    <a:pt x="29942" y="59066"/>
                  </a:cubicBezTo>
                  <a:cubicBezTo>
                    <a:pt x="29942" y="52382"/>
                    <a:pt x="31580" y="46230"/>
                    <a:pt x="34811" y="40941"/>
                  </a:cubicBezTo>
                  <a:cubicBezTo>
                    <a:pt x="38042" y="35674"/>
                    <a:pt x="42711" y="31513"/>
                    <a:pt x="48753" y="28548"/>
                  </a:cubicBezTo>
                  <a:cubicBezTo>
                    <a:pt x="54883" y="25538"/>
                    <a:pt x="61898" y="24033"/>
                    <a:pt x="69644" y="24033"/>
                  </a:cubicBezTo>
                  <a:cubicBezTo>
                    <a:pt x="77390" y="24033"/>
                    <a:pt x="84405" y="25538"/>
                    <a:pt x="90535" y="28526"/>
                  </a:cubicBezTo>
                  <a:cubicBezTo>
                    <a:pt x="96554" y="31447"/>
                    <a:pt x="101290" y="35652"/>
                    <a:pt x="104610" y="40963"/>
                  </a:cubicBezTo>
                  <a:cubicBezTo>
                    <a:pt x="107929" y="46297"/>
                    <a:pt x="109589" y="52404"/>
                    <a:pt x="109589" y="59066"/>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2" name="Freeform: Shape 801">
              <a:extLst>
                <a:ext uri="{FF2B5EF4-FFF2-40B4-BE49-F238E27FC236}">
                  <a16:creationId xmlns:a16="http://schemas.microsoft.com/office/drawing/2014/main" id="{3D69E664-2B92-42E2-8F06-B2684F387344}"/>
                </a:ext>
              </a:extLst>
            </p:cNvPr>
            <p:cNvSpPr/>
            <p:nvPr/>
          </p:nvSpPr>
          <p:spPr>
            <a:xfrm>
              <a:off x="5633660" y="6534351"/>
              <a:ext cx="87967" cy="115254"/>
            </a:xfrm>
            <a:custGeom>
              <a:avLst/>
              <a:gdLst>
                <a:gd name="connsiteX0" fmla="*/ 29190 w 87967"/>
                <a:gd name="connsiteY0" fmla="*/ 0 h 115254"/>
                <a:gd name="connsiteX1" fmla="*/ 0 w 87967"/>
                <a:gd name="connsiteY1" fmla="*/ 0 h 115254"/>
                <a:gd name="connsiteX2" fmla="*/ 0 w 87967"/>
                <a:gd name="connsiteY2" fmla="*/ 115254 h 115254"/>
                <a:gd name="connsiteX3" fmla="*/ 87968 w 87967"/>
                <a:gd name="connsiteY3" fmla="*/ 115254 h 115254"/>
                <a:gd name="connsiteX4" fmla="*/ 87968 w 87967"/>
                <a:gd name="connsiteY4" fmla="*/ 92947 h 115254"/>
                <a:gd name="connsiteX5" fmla="*/ 29190 w 87967"/>
                <a:gd name="connsiteY5" fmla="*/ 92947 h 115254"/>
                <a:gd name="connsiteX6" fmla="*/ 29190 w 87967"/>
                <a:gd name="connsiteY6" fmla="*/ 0 h 11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967" h="115254">
                  <a:moveTo>
                    <a:pt x="29190" y="0"/>
                  </a:moveTo>
                  <a:lnTo>
                    <a:pt x="0" y="0"/>
                  </a:lnTo>
                  <a:lnTo>
                    <a:pt x="0" y="115254"/>
                  </a:lnTo>
                  <a:lnTo>
                    <a:pt x="87968" y="115254"/>
                  </a:lnTo>
                  <a:lnTo>
                    <a:pt x="87968" y="92947"/>
                  </a:lnTo>
                  <a:lnTo>
                    <a:pt x="29190" y="92947"/>
                  </a:lnTo>
                  <a:lnTo>
                    <a:pt x="29190" y="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3" name="Freeform: Shape 802">
              <a:extLst>
                <a:ext uri="{FF2B5EF4-FFF2-40B4-BE49-F238E27FC236}">
                  <a16:creationId xmlns:a16="http://schemas.microsoft.com/office/drawing/2014/main" id="{F10F1671-68C8-43BC-9FC3-9EC2E85B6C5E}"/>
                </a:ext>
              </a:extLst>
            </p:cNvPr>
            <p:cNvSpPr/>
            <p:nvPr/>
          </p:nvSpPr>
          <p:spPr>
            <a:xfrm>
              <a:off x="5774563" y="6532956"/>
              <a:ext cx="86396" cy="118087"/>
            </a:xfrm>
            <a:custGeom>
              <a:avLst/>
              <a:gdLst>
                <a:gd name="connsiteX0" fmla="*/ 79116 w 86396"/>
                <a:gd name="connsiteY0" fmla="*/ 63226 h 118087"/>
                <a:gd name="connsiteX1" fmla="*/ 56521 w 86396"/>
                <a:gd name="connsiteY1" fmla="*/ 48333 h 118087"/>
                <a:gd name="connsiteX2" fmla="*/ 36803 w 86396"/>
                <a:gd name="connsiteY2" fmla="*/ 39724 h 118087"/>
                <a:gd name="connsiteX3" fmla="*/ 28991 w 86396"/>
                <a:gd name="connsiteY3" fmla="*/ 30783 h 118087"/>
                <a:gd name="connsiteX4" fmla="*/ 32620 w 86396"/>
                <a:gd name="connsiteY4" fmla="*/ 24963 h 118087"/>
                <a:gd name="connsiteX5" fmla="*/ 44925 w 86396"/>
                <a:gd name="connsiteY5" fmla="*/ 22307 h 118087"/>
                <a:gd name="connsiteX6" fmla="*/ 76925 w 86396"/>
                <a:gd name="connsiteY6" fmla="*/ 32222 h 118087"/>
                <a:gd name="connsiteX7" fmla="*/ 81196 w 86396"/>
                <a:gd name="connsiteY7" fmla="*/ 34545 h 118087"/>
                <a:gd name="connsiteX8" fmla="*/ 81196 w 86396"/>
                <a:gd name="connsiteY8" fmla="*/ 9073 h 118087"/>
                <a:gd name="connsiteX9" fmla="*/ 79581 w 86396"/>
                <a:gd name="connsiteY9" fmla="*/ 8277 h 118087"/>
                <a:gd name="connsiteX10" fmla="*/ 44239 w 86396"/>
                <a:gd name="connsiteY10" fmla="*/ 0 h 118087"/>
                <a:gd name="connsiteX11" fmla="*/ 12548 w 86396"/>
                <a:gd name="connsiteY11" fmla="*/ 8741 h 118087"/>
                <a:gd name="connsiteX12" fmla="*/ 0 w 86396"/>
                <a:gd name="connsiteY12" fmla="*/ 33063 h 118087"/>
                <a:gd name="connsiteX13" fmla="*/ 7812 w 86396"/>
                <a:gd name="connsiteY13" fmla="*/ 53179 h 118087"/>
                <a:gd name="connsiteX14" fmla="*/ 30186 w 86396"/>
                <a:gd name="connsiteY14" fmla="*/ 67608 h 118087"/>
                <a:gd name="connsiteX15" fmla="*/ 49683 w 86396"/>
                <a:gd name="connsiteY15" fmla="*/ 76549 h 118087"/>
                <a:gd name="connsiteX16" fmla="*/ 57317 w 86396"/>
                <a:gd name="connsiteY16" fmla="*/ 86374 h 118087"/>
                <a:gd name="connsiteX17" fmla="*/ 53356 w 86396"/>
                <a:gd name="connsiteY17" fmla="*/ 92881 h 118087"/>
                <a:gd name="connsiteX18" fmla="*/ 41030 w 86396"/>
                <a:gd name="connsiteY18" fmla="*/ 95802 h 118087"/>
                <a:gd name="connsiteX19" fmla="*/ 6174 w 86396"/>
                <a:gd name="connsiteY19" fmla="*/ 81816 h 118087"/>
                <a:gd name="connsiteX20" fmla="*/ 1549 w 86396"/>
                <a:gd name="connsiteY20" fmla="*/ 78341 h 118087"/>
                <a:gd name="connsiteX21" fmla="*/ 1549 w 86396"/>
                <a:gd name="connsiteY21" fmla="*/ 106668 h 118087"/>
                <a:gd name="connsiteX22" fmla="*/ 3054 w 86396"/>
                <a:gd name="connsiteY22" fmla="*/ 107487 h 118087"/>
                <a:gd name="connsiteX23" fmla="*/ 22440 w 86396"/>
                <a:gd name="connsiteY23" fmla="*/ 115675 h 118087"/>
                <a:gd name="connsiteX24" fmla="*/ 43198 w 86396"/>
                <a:gd name="connsiteY24" fmla="*/ 118087 h 118087"/>
                <a:gd name="connsiteX25" fmla="*/ 74048 w 86396"/>
                <a:gd name="connsiteY25" fmla="*/ 108837 h 118087"/>
                <a:gd name="connsiteX26" fmla="*/ 86397 w 86396"/>
                <a:gd name="connsiteY26" fmla="*/ 83785 h 118087"/>
                <a:gd name="connsiteX27" fmla="*/ 79116 w 86396"/>
                <a:gd name="connsiteY27" fmla="*/ 63270 h 11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396" h="118087">
                  <a:moveTo>
                    <a:pt x="79116" y="63226"/>
                  </a:moveTo>
                  <a:cubicBezTo>
                    <a:pt x="74446" y="57738"/>
                    <a:pt x="66856" y="52714"/>
                    <a:pt x="56521" y="48333"/>
                  </a:cubicBezTo>
                  <a:cubicBezTo>
                    <a:pt x="41539" y="42136"/>
                    <a:pt x="37776" y="40299"/>
                    <a:pt x="36803" y="39724"/>
                  </a:cubicBezTo>
                  <a:cubicBezTo>
                    <a:pt x="31624" y="36781"/>
                    <a:pt x="28991" y="33793"/>
                    <a:pt x="28991" y="30783"/>
                  </a:cubicBezTo>
                  <a:cubicBezTo>
                    <a:pt x="28991" y="28349"/>
                    <a:pt x="30142" y="26512"/>
                    <a:pt x="32620" y="24963"/>
                  </a:cubicBezTo>
                  <a:cubicBezTo>
                    <a:pt x="35475" y="23193"/>
                    <a:pt x="39613" y="22307"/>
                    <a:pt x="44925" y="22307"/>
                  </a:cubicBezTo>
                  <a:cubicBezTo>
                    <a:pt x="54109" y="22307"/>
                    <a:pt x="64864" y="25649"/>
                    <a:pt x="76925" y="32222"/>
                  </a:cubicBezTo>
                  <a:lnTo>
                    <a:pt x="81196" y="34545"/>
                  </a:lnTo>
                  <a:lnTo>
                    <a:pt x="81196" y="9073"/>
                  </a:lnTo>
                  <a:lnTo>
                    <a:pt x="79581" y="8277"/>
                  </a:lnTo>
                  <a:cubicBezTo>
                    <a:pt x="68316" y="2788"/>
                    <a:pt x="56432" y="0"/>
                    <a:pt x="44239" y="0"/>
                  </a:cubicBezTo>
                  <a:cubicBezTo>
                    <a:pt x="31248" y="0"/>
                    <a:pt x="20581" y="2943"/>
                    <a:pt x="12548" y="8741"/>
                  </a:cubicBezTo>
                  <a:cubicBezTo>
                    <a:pt x="4227" y="14739"/>
                    <a:pt x="0" y="22927"/>
                    <a:pt x="0" y="33063"/>
                  </a:cubicBezTo>
                  <a:cubicBezTo>
                    <a:pt x="0" y="40653"/>
                    <a:pt x="2634" y="47425"/>
                    <a:pt x="7812" y="53179"/>
                  </a:cubicBezTo>
                  <a:cubicBezTo>
                    <a:pt x="12791" y="58712"/>
                    <a:pt x="20338" y="63558"/>
                    <a:pt x="30186" y="67608"/>
                  </a:cubicBezTo>
                  <a:cubicBezTo>
                    <a:pt x="38153" y="71082"/>
                    <a:pt x="44748" y="74092"/>
                    <a:pt x="49683" y="76549"/>
                  </a:cubicBezTo>
                  <a:cubicBezTo>
                    <a:pt x="54817" y="79226"/>
                    <a:pt x="57317" y="82435"/>
                    <a:pt x="57317" y="86374"/>
                  </a:cubicBezTo>
                  <a:cubicBezTo>
                    <a:pt x="57317" y="89096"/>
                    <a:pt x="56056" y="91155"/>
                    <a:pt x="53356" y="92881"/>
                  </a:cubicBezTo>
                  <a:cubicBezTo>
                    <a:pt x="50324" y="94806"/>
                    <a:pt x="46164" y="95802"/>
                    <a:pt x="41030" y="95802"/>
                  </a:cubicBezTo>
                  <a:cubicBezTo>
                    <a:pt x="30274" y="95802"/>
                    <a:pt x="18545" y="91088"/>
                    <a:pt x="6174" y="81816"/>
                  </a:cubicBezTo>
                  <a:lnTo>
                    <a:pt x="1549" y="78341"/>
                  </a:lnTo>
                  <a:lnTo>
                    <a:pt x="1549" y="106668"/>
                  </a:lnTo>
                  <a:lnTo>
                    <a:pt x="3054" y="107487"/>
                  </a:lnTo>
                  <a:cubicBezTo>
                    <a:pt x="10158" y="111337"/>
                    <a:pt x="16686" y="114104"/>
                    <a:pt x="22440" y="115675"/>
                  </a:cubicBezTo>
                  <a:cubicBezTo>
                    <a:pt x="28238" y="117268"/>
                    <a:pt x="35232" y="118087"/>
                    <a:pt x="43198" y="118087"/>
                  </a:cubicBezTo>
                  <a:cubicBezTo>
                    <a:pt x="55702" y="118087"/>
                    <a:pt x="66081" y="114967"/>
                    <a:pt x="74048" y="108837"/>
                  </a:cubicBezTo>
                  <a:cubicBezTo>
                    <a:pt x="82236" y="102530"/>
                    <a:pt x="86397" y="94098"/>
                    <a:pt x="86397" y="83785"/>
                  </a:cubicBezTo>
                  <a:cubicBezTo>
                    <a:pt x="86397" y="75863"/>
                    <a:pt x="83940" y="68958"/>
                    <a:pt x="79116" y="63270"/>
                  </a:cubicBez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804" name="Graphic 694">
              <a:extLst>
                <a:ext uri="{FF2B5EF4-FFF2-40B4-BE49-F238E27FC236}">
                  <a16:creationId xmlns:a16="http://schemas.microsoft.com/office/drawing/2014/main" id="{202CBE68-B0AE-4F4D-A888-FF520DD9D729}"/>
                </a:ext>
              </a:extLst>
            </p:cNvPr>
            <p:cNvGrpSpPr/>
            <p:nvPr/>
          </p:nvGrpSpPr>
          <p:grpSpPr>
            <a:xfrm>
              <a:off x="5863040" y="6535147"/>
              <a:ext cx="48598" cy="24476"/>
              <a:chOff x="5863040" y="6535147"/>
              <a:chExt cx="48598" cy="24476"/>
            </a:xfrm>
            <a:solidFill>
              <a:srgbClr val="A1ABB2"/>
            </a:solidFill>
          </p:grpSpPr>
          <p:sp>
            <p:nvSpPr>
              <p:cNvPr id="805" name="Freeform: Shape 804">
                <a:extLst>
                  <a:ext uri="{FF2B5EF4-FFF2-40B4-BE49-F238E27FC236}">
                    <a16:creationId xmlns:a16="http://schemas.microsoft.com/office/drawing/2014/main" id="{114AE4C6-740D-45DB-9E7E-BA632C898786}"/>
                  </a:ext>
                </a:extLst>
              </p:cNvPr>
              <p:cNvSpPr/>
              <p:nvPr/>
            </p:nvSpPr>
            <p:spPr>
              <a:xfrm>
                <a:off x="5863040" y="6535147"/>
                <a:ext cx="20426" cy="24476"/>
              </a:xfrm>
              <a:custGeom>
                <a:avLst/>
                <a:gdLst>
                  <a:gd name="connsiteX0" fmla="*/ 22 w 20426"/>
                  <a:gd name="connsiteY0" fmla="*/ 0 h 24476"/>
                  <a:gd name="connsiteX1" fmla="*/ 20426 w 20426"/>
                  <a:gd name="connsiteY1" fmla="*/ 0 h 24476"/>
                  <a:gd name="connsiteX2" fmla="*/ 20426 w 20426"/>
                  <a:gd name="connsiteY2" fmla="*/ 3120 h 24476"/>
                  <a:gd name="connsiteX3" fmla="*/ 11906 w 20426"/>
                  <a:gd name="connsiteY3" fmla="*/ 3120 h 24476"/>
                  <a:gd name="connsiteX4" fmla="*/ 11906 w 20426"/>
                  <a:gd name="connsiteY4" fmla="*/ 24476 h 24476"/>
                  <a:gd name="connsiteX5" fmla="*/ 8387 w 20426"/>
                  <a:gd name="connsiteY5" fmla="*/ 24476 h 24476"/>
                  <a:gd name="connsiteX6" fmla="*/ 8387 w 20426"/>
                  <a:gd name="connsiteY6" fmla="*/ 3120 h 24476"/>
                  <a:gd name="connsiteX7" fmla="*/ 0 w 20426"/>
                  <a:gd name="connsiteY7" fmla="*/ 3120 h 24476"/>
                  <a:gd name="connsiteX8" fmla="*/ 0 w 20426"/>
                  <a:gd name="connsiteY8" fmla="*/ 0 h 24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6" h="24476">
                    <a:moveTo>
                      <a:pt x="22" y="0"/>
                    </a:moveTo>
                    <a:lnTo>
                      <a:pt x="20426" y="0"/>
                    </a:lnTo>
                    <a:lnTo>
                      <a:pt x="20426" y="3120"/>
                    </a:lnTo>
                    <a:lnTo>
                      <a:pt x="11906" y="3120"/>
                    </a:lnTo>
                    <a:lnTo>
                      <a:pt x="11906" y="24476"/>
                    </a:lnTo>
                    <a:lnTo>
                      <a:pt x="8387" y="24476"/>
                    </a:lnTo>
                    <a:lnTo>
                      <a:pt x="8387" y="3120"/>
                    </a:lnTo>
                    <a:lnTo>
                      <a:pt x="0" y="3120"/>
                    </a:lnTo>
                    <a:lnTo>
                      <a:pt x="0" y="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6" name="Freeform: Shape 805">
                <a:extLst>
                  <a:ext uri="{FF2B5EF4-FFF2-40B4-BE49-F238E27FC236}">
                    <a16:creationId xmlns:a16="http://schemas.microsoft.com/office/drawing/2014/main" id="{38CAC814-27E4-41FC-9B19-C1507449E698}"/>
                  </a:ext>
                </a:extLst>
              </p:cNvPr>
              <p:cNvSpPr/>
              <p:nvPr/>
            </p:nvSpPr>
            <p:spPr>
              <a:xfrm>
                <a:off x="5888888" y="6535191"/>
                <a:ext cx="22749" cy="24431"/>
              </a:xfrm>
              <a:custGeom>
                <a:avLst/>
                <a:gdLst>
                  <a:gd name="connsiteX0" fmla="*/ 19475 w 22749"/>
                  <a:gd name="connsiteY0" fmla="*/ 0 h 24431"/>
                  <a:gd name="connsiteX1" fmla="*/ 22750 w 22749"/>
                  <a:gd name="connsiteY1" fmla="*/ 0 h 24431"/>
                  <a:gd name="connsiteX2" fmla="*/ 22750 w 22749"/>
                  <a:gd name="connsiteY2" fmla="*/ 24432 h 24431"/>
                  <a:gd name="connsiteX3" fmla="*/ 19231 w 22749"/>
                  <a:gd name="connsiteY3" fmla="*/ 24432 h 24431"/>
                  <a:gd name="connsiteX4" fmla="*/ 19231 w 22749"/>
                  <a:gd name="connsiteY4" fmla="*/ 5422 h 24431"/>
                  <a:gd name="connsiteX5" fmla="*/ 11729 w 22749"/>
                  <a:gd name="connsiteY5" fmla="*/ 14872 h 24431"/>
                  <a:gd name="connsiteX6" fmla="*/ 11087 w 22749"/>
                  <a:gd name="connsiteY6" fmla="*/ 14872 h 24431"/>
                  <a:gd name="connsiteX7" fmla="*/ 3497 w 22749"/>
                  <a:gd name="connsiteY7" fmla="*/ 5422 h 24431"/>
                  <a:gd name="connsiteX8" fmla="*/ 3497 w 22749"/>
                  <a:gd name="connsiteY8" fmla="*/ 24432 h 24431"/>
                  <a:gd name="connsiteX9" fmla="*/ 0 w 22749"/>
                  <a:gd name="connsiteY9" fmla="*/ 24432 h 24431"/>
                  <a:gd name="connsiteX10" fmla="*/ 0 w 22749"/>
                  <a:gd name="connsiteY10" fmla="*/ 0 h 24431"/>
                  <a:gd name="connsiteX11" fmla="*/ 3320 w 22749"/>
                  <a:gd name="connsiteY11" fmla="*/ 0 h 24431"/>
                  <a:gd name="connsiteX12" fmla="*/ 11441 w 22749"/>
                  <a:gd name="connsiteY12" fmla="*/ 10025 h 24431"/>
                  <a:gd name="connsiteX13" fmla="*/ 19519 w 22749"/>
                  <a:gd name="connsiteY13" fmla="*/ 0 h 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749" h="24431">
                    <a:moveTo>
                      <a:pt x="19475" y="0"/>
                    </a:moveTo>
                    <a:lnTo>
                      <a:pt x="22750" y="0"/>
                    </a:lnTo>
                    <a:lnTo>
                      <a:pt x="22750" y="24432"/>
                    </a:lnTo>
                    <a:lnTo>
                      <a:pt x="19231" y="24432"/>
                    </a:lnTo>
                    <a:lnTo>
                      <a:pt x="19231" y="5422"/>
                    </a:lnTo>
                    <a:lnTo>
                      <a:pt x="11729" y="14872"/>
                    </a:lnTo>
                    <a:lnTo>
                      <a:pt x="11087" y="14872"/>
                    </a:lnTo>
                    <a:lnTo>
                      <a:pt x="3497" y="5422"/>
                    </a:lnTo>
                    <a:lnTo>
                      <a:pt x="3497" y="24432"/>
                    </a:lnTo>
                    <a:lnTo>
                      <a:pt x="0" y="24432"/>
                    </a:lnTo>
                    <a:lnTo>
                      <a:pt x="0" y="0"/>
                    </a:lnTo>
                    <a:lnTo>
                      <a:pt x="3320" y="0"/>
                    </a:lnTo>
                    <a:lnTo>
                      <a:pt x="11441" y="10025"/>
                    </a:lnTo>
                    <a:lnTo>
                      <a:pt x="19519" y="0"/>
                    </a:lnTo>
                    <a:close/>
                  </a:path>
                </a:pathLst>
              </a:custGeom>
              <a:solidFill>
                <a:srgbClr val="A1ABB2"/>
              </a:solidFill>
              <a:ln w="219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pic>
        <p:nvPicPr>
          <p:cNvPr id="809" name="Graphic 808">
            <a:extLst>
              <a:ext uri="{FF2B5EF4-FFF2-40B4-BE49-F238E27FC236}">
                <a16:creationId xmlns:a16="http://schemas.microsoft.com/office/drawing/2014/main" id="{901C964D-AAFE-42FA-9663-32F0CDEEE7D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39353" y="5154588"/>
            <a:ext cx="1197148" cy="177043"/>
          </a:xfrm>
          <a:prstGeom prst="rect">
            <a:avLst/>
          </a:prstGeom>
        </p:spPr>
      </p:pic>
      <p:grpSp>
        <p:nvGrpSpPr>
          <p:cNvPr id="823" name="Group 822">
            <a:extLst>
              <a:ext uri="{FF2B5EF4-FFF2-40B4-BE49-F238E27FC236}">
                <a16:creationId xmlns:a16="http://schemas.microsoft.com/office/drawing/2014/main" id="{11193DC8-C5CE-41B2-95C1-06BED20B4A23}"/>
              </a:ext>
            </a:extLst>
          </p:cNvPr>
          <p:cNvGrpSpPr/>
          <p:nvPr userDrawn="1"/>
        </p:nvGrpSpPr>
        <p:grpSpPr>
          <a:xfrm>
            <a:off x="3339353" y="3526492"/>
            <a:ext cx="517860" cy="341666"/>
            <a:chOff x="6268120" y="5005971"/>
            <a:chExt cx="1222533" cy="806585"/>
          </a:xfrm>
        </p:grpSpPr>
        <p:sp>
          <p:nvSpPr>
            <p:cNvPr id="824" name="Freeform: Shape 823">
              <a:extLst>
                <a:ext uri="{FF2B5EF4-FFF2-40B4-BE49-F238E27FC236}">
                  <a16:creationId xmlns:a16="http://schemas.microsoft.com/office/drawing/2014/main" id="{88C556C3-042F-454D-A9FF-020F0BBE2A8A}"/>
                </a:ext>
              </a:extLst>
            </p:cNvPr>
            <p:cNvSpPr/>
            <p:nvPr/>
          </p:nvSpPr>
          <p:spPr>
            <a:xfrm>
              <a:off x="6268120" y="5757005"/>
              <a:ext cx="487775" cy="55551"/>
            </a:xfrm>
            <a:custGeom>
              <a:avLst/>
              <a:gdLst>
                <a:gd name="connsiteX0" fmla="*/ 0 w 487775"/>
                <a:gd name="connsiteY0" fmla="*/ 7525 h 55551"/>
                <a:gd name="connsiteX1" fmla="*/ 487775 w 487775"/>
                <a:gd name="connsiteY1" fmla="*/ 0 h 55551"/>
                <a:gd name="connsiteX2" fmla="*/ 421100 w 487775"/>
                <a:gd name="connsiteY2" fmla="*/ 0 h 55551"/>
                <a:gd name="connsiteX3" fmla="*/ 0 w 487775"/>
                <a:gd name="connsiteY3" fmla="*/ 7525 h 55551"/>
              </a:gdLst>
              <a:ahLst/>
              <a:cxnLst>
                <a:cxn ang="0">
                  <a:pos x="connsiteX0" y="connsiteY0"/>
                </a:cxn>
                <a:cxn ang="0">
                  <a:pos x="connsiteX1" y="connsiteY1"/>
                </a:cxn>
                <a:cxn ang="0">
                  <a:pos x="connsiteX2" y="connsiteY2"/>
                </a:cxn>
                <a:cxn ang="0">
                  <a:pos x="connsiteX3" y="connsiteY3"/>
                </a:cxn>
              </a:cxnLst>
              <a:rect l="l" t="t" r="r" b="b"/>
              <a:pathLst>
                <a:path w="487775" h="55551">
                  <a:moveTo>
                    <a:pt x="0" y="7525"/>
                  </a:moveTo>
                  <a:cubicBezTo>
                    <a:pt x="92297" y="72485"/>
                    <a:pt x="277940" y="73057"/>
                    <a:pt x="487775" y="0"/>
                  </a:cubicBezTo>
                  <a:lnTo>
                    <a:pt x="421100" y="0"/>
                  </a:lnTo>
                  <a:cubicBezTo>
                    <a:pt x="240125" y="56388"/>
                    <a:pt x="80105" y="64960"/>
                    <a:pt x="0" y="752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5" name="Freeform: Shape 824">
              <a:extLst>
                <a:ext uri="{FF2B5EF4-FFF2-40B4-BE49-F238E27FC236}">
                  <a16:creationId xmlns:a16="http://schemas.microsoft.com/office/drawing/2014/main" id="{B28FEE9F-8A38-4DB6-94BC-66E75FDDEA0C}"/>
                </a:ext>
              </a:extLst>
            </p:cNvPr>
            <p:cNvSpPr/>
            <p:nvPr/>
          </p:nvSpPr>
          <p:spPr>
            <a:xfrm>
              <a:off x="6662550" y="5005971"/>
              <a:ext cx="795210" cy="507669"/>
            </a:xfrm>
            <a:custGeom>
              <a:avLst/>
              <a:gdLst>
                <a:gd name="connsiteX0" fmla="*/ 17717 w 795210"/>
                <a:gd name="connsiteY0" fmla="*/ 171533 h 507669"/>
                <a:gd name="connsiteX1" fmla="*/ 709517 w 795210"/>
                <a:gd name="connsiteY1" fmla="*/ 120669 h 507669"/>
                <a:gd name="connsiteX2" fmla="*/ 537210 w 795210"/>
                <a:gd name="connsiteY2" fmla="*/ 462522 h 507669"/>
                <a:gd name="connsiteX3" fmla="*/ 530352 w 795210"/>
                <a:gd name="connsiteY3" fmla="*/ 507670 h 507669"/>
                <a:gd name="connsiteX4" fmla="*/ 782003 w 795210"/>
                <a:gd name="connsiteY4" fmla="*/ 90665 h 507669"/>
                <a:gd name="connsiteX5" fmla="*/ 25241 w 795210"/>
                <a:gd name="connsiteY5" fmla="*/ 151244 h 507669"/>
                <a:gd name="connsiteX6" fmla="*/ 0 w 795210"/>
                <a:gd name="connsiteY6" fmla="*/ 164675 h 507669"/>
                <a:gd name="connsiteX7" fmla="*/ 17717 w 795210"/>
                <a:gd name="connsiteY7" fmla="*/ 171533 h 50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210" h="507669">
                  <a:moveTo>
                    <a:pt x="17717" y="171533"/>
                  </a:moveTo>
                  <a:cubicBezTo>
                    <a:pt x="319373" y="18752"/>
                    <a:pt x="640747" y="-11062"/>
                    <a:pt x="709517" y="120669"/>
                  </a:cubicBezTo>
                  <a:cubicBezTo>
                    <a:pt x="753618" y="205156"/>
                    <a:pt x="666464" y="350698"/>
                    <a:pt x="537210" y="462522"/>
                  </a:cubicBezTo>
                  <a:lnTo>
                    <a:pt x="530352" y="507670"/>
                  </a:lnTo>
                  <a:cubicBezTo>
                    <a:pt x="713613" y="366891"/>
                    <a:pt x="837057" y="196202"/>
                    <a:pt x="782003" y="90665"/>
                  </a:cubicBezTo>
                  <a:cubicBezTo>
                    <a:pt x="706850" y="-53353"/>
                    <a:pt x="353759" y="-20396"/>
                    <a:pt x="25241" y="151244"/>
                  </a:cubicBezTo>
                  <a:cubicBezTo>
                    <a:pt x="16764" y="155721"/>
                    <a:pt x="8382" y="160198"/>
                    <a:pt x="0" y="164675"/>
                  </a:cubicBezTo>
                  <a:lnTo>
                    <a:pt x="17717" y="171533"/>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6" name="Freeform: Shape 825">
              <a:extLst>
                <a:ext uri="{FF2B5EF4-FFF2-40B4-BE49-F238E27FC236}">
                  <a16:creationId xmlns:a16="http://schemas.microsoft.com/office/drawing/2014/main" id="{F33C9B9F-82D4-4DF0-88AD-0C27C50364D7}"/>
                </a:ext>
              </a:extLst>
            </p:cNvPr>
            <p:cNvSpPr/>
            <p:nvPr/>
          </p:nvSpPr>
          <p:spPr>
            <a:xfrm>
              <a:off x="6506721" y="5235797"/>
              <a:ext cx="68103" cy="45815"/>
            </a:xfrm>
            <a:custGeom>
              <a:avLst/>
              <a:gdLst>
                <a:gd name="connsiteX0" fmla="*/ 47435 w 68103"/>
                <a:gd name="connsiteY0" fmla="*/ 0 h 45815"/>
                <a:gd name="connsiteX1" fmla="*/ 3143 w 68103"/>
                <a:gd name="connsiteY1" fmla="*/ 31052 h 45815"/>
                <a:gd name="connsiteX2" fmla="*/ 0 w 68103"/>
                <a:gd name="connsiteY2" fmla="*/ 45815 h 45815"/>
                <a:gd name="connsiteX3" fmla="*/ 68104 w 68103"/>
                <a:gd name="connsiteY3" fmla="*/ 381 h 45815"/>
                <a:gd name="connsiteX4" fmla="*/ 47435 w 68103"/>
                <a:gd name="connsiteY4" fmla="*/ 95 h 45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3" h="45815">
                  <a:moveTo>
                    <a:pt x="47435" y="0"/>
                  </a:moveTo>
                  <a:cubicBezTo>
                    <a:pt x="31623" y="10478"/>
                    <a:pt x="18098" y="20193"/>
                    <a:pt x="3143" y="31052"/>
                  </a:cubicBezTo>
                  <a:lnTo>
                    <a:pt x="0" y="45815"/>
                  </a:lnTo>
                  <a:cubicBezTo>
                    <a:pt x="21336" y="30766"/>
                    <a:pt x="44958" y="14669"/>
                    <a:pt x="68104" y="381"/>
                  </a:cubicBezTo>
                  <a:lnTo>
                    <a:pt x="47435" y="95"/>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7" name="Freeform: Shape 826">
              <a:extLst>
                <a:ext uri="{FF2B5EF4-FFF2-40B4-BE49-F238E27FC236}">
                  <a16:creationId xmlns:a16="http://schemas.microsoft.com/office/drawing/2014/main" id="{5A46E4AE-93BC-466A-A492-2E58324BC392}"/>
                </a:ext>
              </a:extLst>
            </p:cNvPr>
            <p:cNvSpPr/>
            <p:nvPr/>
          </p:nvSpPr>
          <p:spPr>
            <a:xfrm>
              <a:off x="6312220" y="5619178"/>
              <a:ext cx="109537" cy="100869"/>
            </a:xfrm>
            <a:custGeom>
              <a:avLst/>
              <a:gdLst>
                <a:gd name="connsiteX0" fmla="*/ 21431 w 109537"/>
                <a:gd name="connsiteY0" fmla="*/ 100298 h 100869"/>
                <a:gd name="connsiteX1" fmla="*/ 34957 w 109537"/>
                <a:gd name="connsiteY1" fmla="*/ 100489 h 100869"/>
                <a:gd name="connsiteX2" fmla="*/ 50483 w 109537"/>
                <a:gd name="connsiteY2" fmla="*/ 100870 h 100869"/>
                <a:gd name="connsiteX3" fmla="*/ 73628 w 109537"/>
                <a:gd name="connsiteY3" fmla="*/ 96107 h 100869"/>
                <a:gd name="connsiteX4" fmla="*/ 92774 w 109537"/>
                <a:gd name="connsiteY4" fmla="*/ 82296 h 100869"/>
                <a:gd name="connsiteX5" fmla="*/ 105346 w 109537"/>
                <a:gd name="connsiteY5" fmla="*/ 61341 h 100869"/>
                <a:gd name="connsiteX6" fmla="*/ 109537 w 109537"/>
                <a:gd name="connsiteY6" fmla="*/ 38576 h 100869"/>
                <a:gd name="connsiteX7" fmla="*/ 104299 w 109537"/>
                <a:gd name="connsiteY7" fmla="*/ 17240 h 100869"/>
                <a:gd name="connsiteX8" fmla="*/ 89821 w 109537"/>
                <a:gd name="connsiteY8" fmla="*/ 4286 h 100869"/>
                <a:gd name="connsiteX9" fmla="*/ 66103 w 109537"/>
                <a:gd name="connsiteY9" fmla="*/ 286 h 100869"/>
                <a:gd name="connsiteX10" fmla="*/ 47339 w 109537"/>
                <a:gd name="connsiteY10" fmla="*/ 572 h 100869"/>
                <a:gd name="connsiteX11" fmla="*/ 27908 w 109537"/>
                <a:gd name="connsiteY11" fmla="*/ 762 h 100869"/>
                <a:gd name="connsiteX12" fmla="*/ 11335 w 109537"/>
                <a:gd name="connsiteY12" fmla="*/ 0 h 100869"/>
                <a:gd name="connsiteX13" fmla="*/ 10382 w 109537"/>
                <a:gd name="connsiteY13" fmla="*/ 5144 h 100869"/>
                <a:gd name="connsiteX14" fmla="*/ 17621 w 109537"/>
                <a:gd name="connsiteY14" fmla="*/ 5620 h 100869"/>
                <a:gd name="connsiteX15" fmla="*/ 22479 w 109537"/>
                <a:gd name="connsiteY15" fmla="*/ 6191 h 100869"/>
                <a:gd name="connsiteX16" fmla="*/ 24003 w 109537"/>
                <a:gd name="connsiteY16" fmla="*/ 7239 h 100869"/>
                <a:gd name="connsiteX17" fmla="*/ 24575 w 109537"/>
                <a:gd name="connsiteY17" fmla="*/ 9430 h 100869"/>
                <a:gd name="connsiteX18" fmla="*/ 22384 w 109537"/>
                <a:gd name="connsiteY18" fmla="*/ 26765 h 100869"/>
                <a:gd name="connsiteX19" fmla="*/ 14383 w 109537"/>
                <a:gd name="connsiteY19" fmla="*/ 72771 h 100869"/>
                <a:gd name="connsiteX20" fmla="*/ 10287 w 109537"/>
                <a:gd name="connsiteY20" fmla="*/ 92488 h 100869"/>
                <a:gd name="connsiteX21" fmla="*/ 8858 w 109537"/>
                <a:gd name="connsiteY21" fmla="*/ 94298 h 100869"/>
                <a:gd name="connsiteX22" fmla="*/ 381 w 109537"/>
                <a:gd name="connsiteY22" fmla="*/ 96298 h 100869"/>
                <a:gd name="connsiteX23" fmla="*/ 0 w 109537"/>
                <a:gd name="connsiteY23" fmla="*/ 100870 h 100869"/>
                <a:gd name="connsiteX24" fmla="*/ 12954 w 109537"/>
                <a:gd name="connsiteY24" fmla="*/ 100298 h 100869"/>
                <a:gd name="connsiteX25" fmla="*/ 21622 w 109537"/>
                <a:gd name="connsiteY25" fmla="*/ 100298 h 100869"/>
                <a:gd name="connsiteX26" fmla="*/ 37052 w 109537"/>
                <a:gd name="connsiteY26" fmla="*/ 48101 h 100869"/>
                <a:gd name="connsiteX27" fmla="*/ 44387 w 109537"/>
                <a:gd name="connsiteY27" fmla="*/ 7906 h 100869"/>
                <a:gd name="connsiteX28" fmla="*/ 58769 w 109537"/>
                <a:gd name="connsiteY28" fmla="*/ 7049 h 100869"/>
                <a:gd name="connsiteX29" fmla="*/ 72485 w 109537"/>
                <a:gd name="connsiteY29" fmla="*/ 8668 h 100869"/>
                <a:gd name="connsiteX30" fmla="*/ 81820 w 109537"/>
                <a:gd name="connsiteY30" fmla="*/ 14288 h 100869"/>
                <a:gd name="connsiteX31" fmla="*/ 87535 w 109537"/>
                <a:gd name="connsiteY31" fmla="*/ 24575 h 100869"/>
                <a:gd name="connsiteX32" fmla="*/ 89345 w 109537"/>
                <a:gd name="connsiteY32" fmla="*/ 36957 h 100869"/>
                <a:gd name="connsiteX33" fmla="*/ 87154 w 109537"/>
                <a:gd name="connsiteY33" fmla="*/ 56579 h 100869"/>
                <a:gd name="connsiteX34" fmla="*/ 81248 w 109537"/>
                <a:gd name="connsiteY34" fmla="*/ 74486 h 100869"/>
                <a:gd name="connsiteX35" fmla="*/ 72676 w 109537"/>
                <a:gd name="connsiteY35" fmla="*/ 86773 h 100869"/>
                <a:gd name="connsiteX36" fmla="*/ 65437 w 109537"/>
                <a:gd name="connsiteY36" fmla="*/ 91726 h 100869"/>
                <a:gd name="connsiteX37" fmla="*/ 51435 w 109537"/>
                <a:gd name="connsiteY37" fmla="*/ 94107 h 100869"/>
                <a:gd name="connsiteX38" fmla="*/ 44101 w 109537"/>
                <a:gd name="connsiteY38" fmla="*/ 93726 h 100869"/>
                <a:gd name="connsiteX39" fmla="*/ 29528 w 109537"/>
                <a:gd name="connsiteY39" fmla="*/ 91821 h 100869"/>
                <a:gd name="connsiteX40" fmla="*/ 37052 w 109537"/>
                <a:gd name="connsiteY40" fmla="*/ 48197 h 10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9537" h="100869">
                  <a:moveTo>
                    <a:pt x="21431" y="100298"/>
                  </a:moveTo>
                  <a:cubicBezTo>
                    <a:pt x="26003" y="100298"/>
                    <a:pt x="30480" y="100298"/>
                    <a:pt x="34957" y="100489"/>
                  </a:cubicBezTo>
                  <a:cubicBezTo>
                    <a:pt x="42577" y="100775"/>
                    <a:pt x="47720" y="100870"/>
                    <a:pt x="50483" y="100870"/>
                  </a:cubicBezTo>
                  <a:cubicBezTo>
                    <a:pt x="58769" y="100870"/>
                    <a:pt x="66484" y="99251"/>
                    <a:pt x="73628" y="96107"/>
                  </a:cubicBezTo>
                  <a:cubicBezTo>
                    <a:pt x="80772" y="92964"/>
                    <a:pt x="87154" y="88297"/>
                    <a:pt x="92774" y="82296"/>
                  </a:cubicBezTo>
                  <a:cubicBezTo>
                    <a:pt x="98393" y="76295"/>
                    <a:pt x="102584" y="69342"/>
                    <a:pt x="105346" y="61341"/>
                  </a:cubicBezTo>
                  <a:cubicBezTo>
                    <a:pt x="108109" y="53435"/>
                    <a:pt x="109537" y="45815"/>
                    <a:pt x="109537" y="38576"/>
                  </a:cubicBezTo>
                  <a:cubicBezTo>
                    <a:pt x="109537" y="30385"/>
                    <a:pt x="107823" y="23241"/>
                    <a:pt x="104299" y="17240"/>
                  </a:cubicBezTo>
                  <a:cubicBezTo>
                    <a:pt x="100775" y="11240"/>
                    <a:pt x="96012" y="6953"/>
                    <a:pt x="89821" y="4286"/>
                  </a:cubicBezTo>
                  <a:cubicBezTo>
                    <a:pt x="83630" y="1619"/>
                    <a:pt x="75724" y="286"/>
                    <a:pt x="66103" y="286"/>
                  </a:cubicBezTo>
                  <a:cubicBezTo>
                    <a:pt x="63151" y="286"/>
                    <a:pt x="56864" y="286"/>
                    <a:pt x="47339" y="572"/>
                  </a:cubicBezTo>
                  <a:cubicBezTo>
                    <a:pt x="39719" y="667"/>
                    <a:pt x="33147" y="762"/>
                    <a:pt x="27908" y="762"/>
                  </a:cubicBezTo>
                  <a:cubicBezTo>
                    <a:pt x="21526" y="762"/>
                    <a:pt x="16002" y="476"/>
                    <a:pt x="11335" y="0"/>
                  </a:cubicBezTo>
                  <a:lnTo>
                    <a:pt x="10382" y="5144"/>
                  </a:lnTo>
                  <a:cubicBezTo>
                    <a:pt x="10382" y="5144"/>
                    <a:pt x="13049" y="5334"/>
                    <a:pt x="17621" y="5620"/>
                  </a:cubicBezTo>
                  <a:cubicBezTo>
                    <a:pt x="20193" y="5810"/>
                    <a:pt x="21812" y="6001"/>
                    <a:pt x="22479" y="6191"/>
                  </a:cubicBezTo>
                  <a:cubicBezTo>
                    <a:pt x="23146" y="6382"/>
                    <a:pt x="23622" y="6763"/>
                    <a:pt x="24003" y="7239"/>
                  </a:cubicBezTo>
                  <a:cubicBezTo>
                    <a:pt x="24384" y="7715"/>
                    <a:pt x="24575" y="8477"/>
                    <a:pt x="24575" y="9430"/>
                  </a:cubicBezTo>
                  <a:cubicBezTo>
                    <a:pt x="24575" y="12192"/>
                    <a:pt x="23813" y="18002"/>
                    <a:pt x="22384" y="26765"/>
                  </a:cubicBezTo>
                  <a:cubicBezTo>
                    <a:pt x="19241" y="45434"/>
                    <a:pt x="16573" y="60865"/>
                    <a:pt x="14383" y="72771"/>
                  </a:cubicBezTo>
                  <a:cubicBezTo>
                    <a:pt x="12192" y="84677"/>
                    <a:pt x="10763" y="91250"/>
                    <a:pt x="10287" y="92488"/>
                  </a:cubicBezTo>
                  <a:cubicBezTo>
                    <a:pt x="9906" y="93250"/>
                    <a:pt x="9430" y="93917"/>
                    <a:pt x="8858" y="94298"/>
                  </a:cubicBezTo>
                  <a:cubicBezTo>
                    <a:pt x="7810" y="95060"/>
                    <a:pt x="4953" y="95631"/>
                    <a:pt x="381" y="96298"/>
                  </a:cubicBezTo>
                  <a:lnTo>
                    <a:pt x="0" y="100870"/>
                  </a:lnTo>
                  <a:lnTo>
                    <a:pt x="12954" y="100298"/>
                  </a:lnTo>
                  <a:cubicBezTo>
                    <a:pt x="15145" y="100298"/>
                    <a:pt x="18098" y="100298"/>
                    <a:pt x="21622" y="100298"/>
                  </a:cubicBezTo>
                  <a:moveTo>
                    <a:pt x="37052" y="48101"/>
                  </a:moveTo>
                  <a:lnTo>
                    <a:pt x="44387" y="7906"/>
                  </a:lnTo>
                  <a:cubicBezTo>
                    <a:pt x="48577" y="7334"/>
                    <a:pt x="53340" y="7049"/>
                    <a:pt x="58769" y="7049"/>
                  </a:cubicBezTo>
                  <a:cubicBezTo>
                    <a:pt x="64198" y="7049"/>
                    <a:pt x="68866" y="7620"/>
                    <a:pt x="72485" y="8668"/>
                  </a:cubicBezTo>
                  <a:cubicBezTo>
                    <a:pt x="76105" y="9716"/>
                    <a:pt x="79248" y="11621"/>
                    <a:pt x="81820" y="14288"/>
                  </a:cubicBezTo>
                  <a:cubicBezTo>
                    <a:pt x="84392" y="16955"/>
                    <a:pt x="86392" y="20383"/>
                    <a:pt x="87535" y="24575"/>
                  </a:cubicBezTo>
                  <a:cubicBezTo>
                    <a:pt x="88773" y="28766"/>
                    <a:pt x="89345" y="32861"/>
                    <a:pt x="89345" y="36957"/>
                  </a:cubicBezTo>
                  <a:cubicBezTo>
                    <a:pt x="89345" y="43053"/>
                    <a:pt x="88583" y="49625"/>
                    <a:pt x="87154" y="56579"/>
                  </a:cubicBezTo>
                  <a:cubicBezTo>
                    <a:pt x="85725" y="63627"/>
                    <a:pt x="83725" y="69628"/>
                    <a:pt x="81248" y="74486"/>
                  </a:cubicBezTo>
                  <a:cubicBezTo>
                    <a:pt x="78772" y="79343"/>
                    <a:pt x="75914" y="83439"/>
                    <a:pt x="72676" y="86773"/>
                  </a:cubicBezTo>
                  <a:cubicBezTo>
                    <a:pt x="70580" y="88868"/>
                    <a:pt x="68199" y="90583"/>
                    <a:pt x="65437" y="91726"/>
                  </a:cubicBezTo>
                  <a:cubicBezTo>
                    <a:pt x="61532" y="93250"/>
                    <a:pt x="56864" y="94107"/>
                    <a:pt x="51435" y="94107"/>
                  </a:cubicBezTo>
                  <a:cubicBezTo>
                    <a:pt x="49149" y="94107"/>
                    <a:pt x="46672" y="94012"/>
                    <a:pt x="44101" y="93726"/>
                  </a:cubicBezTo>
                  <a:lnTo>
                    <a:pt x="29528" y="91821"/>
                  </a:lnTo>
                  <a:cubicBezTo>
                    <a:pt x="30480" y="85154"/>
                    <a:pt x="32957" y="70580"/>
                    <a:pt x="37052" y="4819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8" name="Freeform: Shape 827">
              <a:extLst>
                <a:ext uri="{FF2B5EF4-FFF2-40B4-BE49-F238E27FC236}">
                  <a16:creationId xmlns:a16="http://schemas.microsoft.com/office/drawing/2014/main" id="{473F3C1C-6048-4C7A-9A99-2ACA4C842869}"/>
                </a:ext>
              </a:extLst>
            </p:cNvPr>
            <p:cNvSpPr/>
            <p:nvPr/>
          </p:nvSpPr>
          <p:spPr>
            <a:xfrm>
              <a:off x="6403374" y="5636037"/>
              <a:ext cx="88391" cy="84105"/>
            </a:xfrm>
            <a:custGeom>
              <a:avLst/>
              <a:gdLst>
                <a:gd name="connsiteX0" fmla="*/ 28670 w 88391"/>
                <a:gd name="connsiteY0" fmla="*/ 84106 h 84105"/>
                <a:gd name="connsiteX1" fmla="*/ 29051 w 88391"/>
                <a:gd name="connsiteY1" fmla="*/ 80105 h 84105"/>
                <a:gd name="connsiteX2" fmla="*/ 22098 w 88391"/>
                <a:gd name="connsiteY2" fmla="*/ 79724 h 84105"/>
                <a:gd name="connsiteX3" fmla="*/ 19050 w 88391"/>
                <a:gd name="connsiteY3" fmla="*/ 78677 h 84105"/>
                <a:gd name="connsiteX4" fmla="*/ 18478 w 88391"/>
                <a:gd name="connsiteY4" fmla="*/ 77343 h 84105"/>
                <a:gd name="connsiteX5" fmla="*/ 20288 w 88391"/>
                <a:gd name="connsiteY5" fmla="*/ 72390 h 84105"/>
                <a:gd name="connsiteX6" fmla="*/ 31433 w 88391"/>
                <a:gd name="connsiteY6" fmla="*/ 51435 h 84105"/>
                <a:gd name="connsiteX7" fmla="*/ 53626 w 88391"/>
                <a:gd name="connsiteY7" fmla="*/ 51435 h 84105"/>
                <a:gd name="connsiteX8" fmla="*/ 58579 w 88391"/>
                <a:gd name="connsiteY8" fmla="*/ 51435 h 84105"/>
                <a:gd name="connsiteX9" fmla="*/ 61436 w 88391"/>
                <a:gd name="connsiteY9" fmla="*/ 76867 h 84105"/>
                <a:gd name="connsiteX10" fmla="*/ 61055 w 88391"/>
                <a:gd name="connsiteY10" fmla="*/ 78772 h 84105"/>
                <a:gd name="connsiteX11" fmla="*/ 59150 w 88391"/>
                <a:gd name="connsiteY11" fmla="*/ 79629 h 84105"/>
                <a:gd name="connsiteX12" fmla="*/ 51435 w 88391"/>
                <a:gd name="connsiteY12" fmla="*/ 80105 h 84105"/>
                <a:gd name="connsiteX13" fmla="*/ 51435 w 88391"/>
                <a:gd name="connsiteY13" fmla="*/ 84106 h 84105"/>
                <a:gd name="connsiteX14" fmla="*/ 69437 w 88391"/>
                <a:gd name="connsiteY14" fmla="*/ 83725 h 84105"/>
                <a:gd name="connsiteX15" fmla="*/ 88392 w 88391"/>
                <a:gd name="connsiteY15" fmla="*/ 84106 h 84105"/>
                <a:gd name="connsiteX16" fmla="*/ 88392 w 88391"/>
                <a:gd name="connsiteY16" fmla="*/ 80105 h 84105"/>
                <a:gd name="connsiteX17" fmla="*/ 80296 w 88391"/>
                <a:gd name="connsiteY17" fmla="*/ 79343 h 84105"/>
                <a:gd name="connsiteX18" fmla="*/ 79153 w 88391"/>
                <a:gd name="connsiteY18" fmla="*/ 78486 h 84105"/>
                <a:gd name="connsiteX19" fmla="*/ 77534 w 88391"/>
                <a:gd name="connsiteY19" fmla="*/ 72580 h 84105"/>
                <a:gd name="connsiteX20" fmla="*/ 71342 w 88391"/>
                <a:gd name="connsiteY20" fmla="*/ 32099 h 84105"/>
                <a:gd name="connsiteX21" fmla="*/ 66865 w 88391"/>
                <a:gd name="connsiteY21" fmla="*/ 0 h 84105"/>
                <a:gd name="connsiteX22" fmla="*/ 55150 w 88391"/>
                <a:gd name="connsiteY22" fmla="*/ 0 h 84105"/>
                <a:gd name="connsiteX23" fmla="*/ 40196 w 88391"/>
                <a:gd name="connsiteY23" fmla="*/ 25527 h 84105"/>
                <a:gd name="connsiteX24" fmla="*/ 15526 w 88391"/>
                <a:gd name="connsiteY24" fmla="*/ 66961 h 84105"/>
                <a:gd name="connsiteX25" fmla="*/ 8477 w 88391"/>
                <a:gd name="connsiteY25" fmla="*/ 78391 h 84105"/>
                <a:gd name="connsiteX26" fmla="*/ 6953 w 88391"/>
                <a:gd name="connsiteY26" fmla="*/ 79248 h 84105"/>
                <a:gd name="connsiteX27" fmla="*/ 0 w 88391"/>
                <a:gd name="connsiteY27" fmla="*/ 80010 h 84105"/>
                <a:gd name="connsiteX28" fmla="*/ 0 w 88391"/>
                <a:gd name="connsiteY28" fmla="*/ 84011 h 84105"/>
                <a:gd name="connsiteX29" fmla="*/ 14954 w 88391"/>
                <a:gd name="connsiteY29" fmla="*/ 83629 h 84105"/>
                <a:gd name="connsiteX30" fmla="*/ 28765 w 88391"/>
                <a:gd name="connsiteY30" fmla="*/ 84011 h 84105"/>
                <a:gd name="connsiteX31" fmla="*/ 58007 w 88391"/>
                <a:gd name="connsiteY31" fmla="*/ 45815 h 84105"/>
                <a:gd name="connsiteX32" fmla="*/ 38290 w 88391"/>
                <a:gd name="connsiteY32" fmla="*/ 45910 h 84105"/>
                <a:gd name="connsiteX33" fmla="*/ 34385 w 88391"/>
                <a:gd name="connsiteY33" fmla="*/ 45815 h 84105"/>
                <a:gd name="connsiteX34" fmla="*/ 53340 w 88391"/>
                <a:gd name="connsiteY34" fmla="*/ 13811 h 84105"/>
                <a:gd name="connsiteX35" fmla="*/ 58007 w 88391"/>
                <a:gd name="connsiteY35" fmla="*/ 45815 h 8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8391" h="84105">
                  <a:moveTo>
                    <a:pt x="28670" y="84106"/>
                  </a:moveTo>
                  <a:lnTo>
                    <a:pt x="29051" y="80105"/>
                  </a:lnTo>
                  <a:cubicBezTo>
                    <a:pt x="25241" y="79915"/>
                    <a:pt x="22955" y="79819"/>
                    <a:pt x="22098" y="79724"/>
                  </a:cubicBezTo>
                  <a:cubicBezTo>
                    <a:pt x="20669" y="79534"/>
                    <a:pt x="19622" y="79248"/>
                    <a:pt x="19050" y="78677"/>
                  </a:cubicBezTo>
                  <a:cubicBezTo>
                    <a:pt x="18669" y="78391"/>
                    <a:pt x="18478" y="77915"/>
                    <a:pt x="18478" y="77343"/>
                  </a:cubicBezTo>
                  <a:cubicBezTo>
                    <a:pt x="18478" y="76581"/>
                    <a:pt x="19050" y="74867"/>
                    <a:pt x="20288" y="72390"/>
                  </a:cubicBezTo>
                  <a:cubicBezTo>
                    <a:pt x="23146" y="66199"/>
                    <a:pt x="26861" y="59246"/>
                    <a:pt x="31433" y="51435"/>
                  </a:cubicBezTo>
                  <a:lnTo>
                    <a:pt x="53626" y="51435"/>
                  </a:lnTo>
                  <a:cubicBezTo>
                    <a:pt x="54674" y="51435"/>
                    <a:pt x="56293" y="51435"/>
                    <a:pt x="58579" y="51435"/>
                  </a:cubicBezTo>
                  <a:cubicBezTo>
                    <a:pt x="60484" y="65532"/>
                    <a:pt x="61436" y="73914"/>
                    <a:pt x="61436" y="76867"/>
                  </a:cubicBezTo>
                  <a:cubicBezTo>
                    <a:pt x="61436" y="77819"/>
                    <a:pt x="61341" y="78486"/>
                    <a:pt x="61055" y="78772"/>
                  </a:cubicBezTo>
                  <a:cubicBezTo>
                    <a:pt x="60770" y="79153"/>
                    <a:pt x="60103" y="79438"/>
                    <a:pt x="59150" y="79629"/>
                  </a:cubicBezTo>
                  <a:cubicBezTo>
                    <a:pt x="57626" y="80010"/>
                    <a:pt x="55054" y="80105"/>
                    <a:pt x="51435" y="80105"/>
                  </a:cubicBezTo>
                  <a:lnTo>
                    <a:pt x="51435" y="84106"/>
                  </a:lnTo>
                  <a:cubicBezTo>
                    <a:pt x="62484" y="83820"/>
                    <a:pt x="68485" y="83725"/>
                    <a:pt x="69437" y="83725"/>
                  </a:cubicBezTo>
                  <a:lnTo>
                    <a:pt x="88392" y="84106"/>
                  </a:lnTo>
                  <a:lnTo>
                    <a:pt x="88392" y="80105"/>
                  </a:lnTo>
                  <a:cubicBezTo>
                    <a:pt x="83725" y="79915"/>
                    <a:pt x="80963" y="79629"/>
                    <a:pt x="80296" y="79343"/>
                  </a:cubicBezTo>
                  <a:cubicBezTo>
                    <a:pt x="79820" y="79153"/>
                    <a:pt x="79439" y="78867"/>
                    <a:pt x="79153" y="78486"/>
                  </a:cubicBezTo>
                  <a:cubicBezTo>
                    <a:pt x="78581" y="77724"/>
                    <a:pt x="78105" y="75819"/>
                    <a:pt x="77534" y="72580"/>
                  </a:cubicBezTo>
                  <a:cubicBezTo>
                    <a:pt x="76200" y="64484"/>
                    <a:pt x="74105" y="51054"/>
                    <a:pt x="71342" y="32099"/>
                  </a:cubicBezTo>
                  <a:cubicBezTo>
                    <a:pt x="69723" y="21146"/>
                    <a:pt x="68199" y="10477"/>
                    <a:pt x="66865" y="0"/>
                  </a:cubicBezTo>
                  <a:lnTo>
                    <a:pt x="55150" y="0"/>
                  </a:lnTo>
                  <a:cubicBezTo>
                    <a:pt x="54388" y="1524"/>
                    <a:pt x="49435" y="10001"/>
                    <a:pt x="40196" y="25527"/>
                  </a:cubicBezTo>
                  <a:lnTo>
                    <a:pt x="15526" y="66961"/>
                  </a:lnTo>
                  <a:cubicBezTo>
                    <a:pt x="11335" y="74009"/>
                    <a:pt x="8954" y="77819"/>
                    <a:pt x="8477" y="78391"/>
                  </a:cubicBezTo>
                  <a:cubicBezTo>
                    <a:pt x="8001" y="78772"/>
                    <a:pt x="7525" y="79057"/>
                    <a:pt x="6953" y="79248"/>
                  </a:cubicBezTo>
                  <a:cubicBezTo>
                    <a:pt x="6572" y="79343"/>
                    <a:pt x="4286" y="79629"/>
                    <a:pt x="0" y="80010"/>
                  </a:cubicBezTo>
                  <a:lnTo>
                    <a:pt x="0" y="84011"/>
                  </a:lnTo>
                  <a:lnTo>
                    <a:pt x="14954" y="83629"/>
                  </a:lnTo>
                  <a:lnTo>
                    <a:pt x="28765" y="84011"/>
                  </a:lnTo>
                  <a:moveTo>
                    <a:pt x="58007" y="45815"/>
                  </a:moveTo>
                  <a:cubicBezTo>
                    <a:pt x="56674" y="45815"/>
                    <a:pt x="50101" y="45910"/>
                    <a:pt x="38290" y="45910"/>
                  </a:cubicBezTo>
                  <a:cubicBezTo>
                    <a:pt x="36862" y="45910"/>
                    <a:pt x="35528" y="45910"/>
                    <a:pt x="34385" y="45815"/>
                  </a:cubicBezTo>
                  <a:lnTo>
                    <a:pt x="53340" y="13811"/>
                  </a:lnTo>
                  <a:lnTo>
                    <a:pt x="58007" y="4581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9" name="Freeform: Shape 828">
              <a:extLst>
                <a:ext uri="{FF2B5EF4-FFF2-40B4-BE49-F238E27FC236}">
                  <a16:creationId xmlns:a16="http://schemas.microsoft.com/office/drawing/2014/main" id="{996CB26A-86F4-4E54-95F2-7CF7A94D5339}"/>
                </a:ext>
              </a:extLst>
            </p:cNvPr>
            <p:cNvSpPr/>
            <p:nvPr/>
          </p:nvSpPr>
          <p:spPr>
            <a:xfrm>
              <a:off x="6496053" y="5636133"/>
              <a:ext cx="85153" cy="84010"/>
            </a:xfrm>
            <a:custGeom>
              <a:avLst/>
              <a:gdLst>
                <a:gd name="connsiteX0" fmla="*/ 0 w 85153"/>
                <a:gd name="connsiteY0" fmla="*/ 84011 h 84010"/>
                <a:gd name="connsiteX1" fmla="*/ 381 w 85153"/>
                <a:gd name="connsiteY1" fmla="*/ 79819 h 84010"/>
                <a:gd name="connsiteX2" fmla="*/ 1429 w 85153"/>
                <a:gd name="connsiteY2" fmla="*/ 79819 h 84010"/>
                <a:gd name="connsiteX3" fmla="*/ 8763 w 85153"/>
                <a:gd name="connsiteY3" fmla="*/ 79248 h 84010"/>
                <a:gd name="connsiteX4" fmla="*/ 10001 w 85153"/>
                <a:gd name="connsiteY4" fmla="*/ 78486 h 84010"/>
                <a:gd name="connsiteX5" fmla="*/ 11430 w 85153"/>
                <a:gd name="connsiteY5" fmla="*/ 75057 h 84010"/>
                <a:gd name="connsiteX6" fmla="*/ 15621 w 85153"/>
                <a:gd name="connsiteY6" fmla="*/ 52292 h 84010"/>
                <a:gd name="connsiteX7" fmla="*/ 19431 w 85153"/>
                <a:gd name="connsiteY7" fmla="*/ 30575 h 84010"/>
                <a:gd name="connsiteX8" fmla="*/ 22955 w 85153"/>
                <a:gd name="connsiteY8" fmla="*/ 7906 h 84010"/>
                <a:gd name="connsiteX9" fmla="*/ 22289 w 85153"/>
                <a:gd name="connsiteY9" fmla="*/ 5905 h 84010"/>
                <a:gd name="connsiteX10" fmla="*/ 20193 w 85153"/>
                <a:gd name="connsiteY10" fmla="*/ 4763 h 84010"/>
                <a:gd name="connsiteX11" fmla="*/ 11811 w 85153"/>
                <a:gd name="connsiteY11" fmla="*/ 4381 h 84010"/>
                <a:gd name="connsiteX12" fmla="*/ 12478 w 85153"/>
                <a:gd name="connsiteY12" fmla="*/ 0 h 84010"/>
                <a:gd name="connsiteX13" fmla="*/ 24765 w 85153"/>
                <a:gd name="connsiteY13" fmla="*/ 571 h 84010"/>
                <a:gd name="connsiteX14" fmla="*/ 32004 w 85153"/>
                <a:gd name="connsiteY14" fmla="*/ 762 h 84010"/>
                <a:gd name="connsiteX15" fmla="*/ 45625 w 85153"/>
                <a:gd name="connsiteY15" fmla="*/ 286 h 84010"/>
                <a:gd name="connsiteX16" fmla="*/ 56483 w 85153"/>
                <a:gd name="connsiteY16" fmla="*/ 190 h 84010"/>
                <a:gd name="connsiteX17" fmla="*/ 69723 w 85153"/>
                <a:gd name="connsiteY17" fmla="*/ 1905 h 84010"/>
                <a:gd name="connsiteX18" fmla="*/ 77248 w 85153"/>
                <a:gd name="connsiteY18" fmla="*/ 7810 h 84010"/>
                <a:gd name="connsiteX19" fmla="*/ 80105 w 85153"/>
                <a:gd name="connsiteY19" fmla="*/ 17526 h 84010"/>
                <a:gd name="connsiteX20" fmla="*/ 74581 w 85153"/>
                <a:gd name="connsiteY20" fmla="*/ 31432 h 84010"/>
                <a:gd name="connsiteX21" fmla="*/ 54959 w 85153"/>
                <a:gd name="connsiteY21" fmla="*/ 40291 h 84010"/>
                <a:gd name="connsiteX22" fmla="*/ 68961 w 85153"/>
                <a:gd name="connsiteY22" fmla="*/ 63817 h 84010"/>
                <a:gd name="connsiteX23" fmla="*/ 77533 w 85153"/>
                <a:gd name="connsiteY23" fmla="*/ 77343 h 84010"/>
                <a:gd name="connsiteX24" fmla="*/ 79915 w 85153"/>
                <a:gd name="connsiteY24" fmla="*/ 79153 h 84010"/>
                <a:gd name="connsiteX25" fmla="*/ 85153 w 85153"/>
                <a:gd name="connsiteY25" fmla="*/ 79724 h 84010"/>
                <a:gd name="connsiteX26" fmla="*/ 84773 w 85153"/>
                <a:gd name="connsiteY26" fmla="*/ 83915 h 84010"/>
                <a:gd name="connsiteX27" fmla="*/ 71818 w 85153"/>
                <a:gd name="connsiteY27" fmla="*/ 83534 h 84010"/>
                <a:gd name="connsiteX28" fmla="*/ 64675 w 85153"/>
                <a:gd name="connsiteY28" fmla="*/ 83820 h 84010"/>
                <a:gd name="connsiteX29" fmla="*/ 62484 w 85153"/>
                <a:gd name="connsiteY29" fmla="*/ 83820 h 84010"/>
                <a:gd name="connsiteX30" fmla="*/ 54769 w 85153"/>
                <a:gd name="connsiteY30" fmla="*/ 69437 h 84010"/>
                <a:gd name="connsiteX31" fmla="*/ 44577 w 85153"/>
                <a:gd name="connsiteY31" fmla="*/ 51816 h 84010"/>
                <a:gd name="connsiteX32" fmla="*/ 42386 w 85153"/>
                <a:gd name="connsiteY32" fmla="*/ 48101 h 84010"/>
                <a:gd name="connsiteX33" fmla="*/ 37243 w 85153"/>
                <a:gd name="connsiteY33" fmla="*/ 40100 h 84010"/>
                <a:gd name="connsiteX34" fmla="*/ 37719 w 85153"/>
                <a:gd name="connsiteY34" fmla="*/ 38195 h 84010"/>
                <a:gd name="connsiteX35" fmla="*/ 41529 w 85153"/>
                <a:gd name="connsiteY35" fmla="*/ 38386 h 84010"/>
                <a:gd name="connsiteX36" fmla="*/ 53245 w 85153"/>
                <a:gd name="connsiteY36" fmla="*/ 36100 h 84010"/>
                <a:gd name="connsiteX37" fmla="*/ 61151 w 85153"/>
                <a:gd name="connsiteY37" fmla="*/ 29146 h 84010"/>
                <a:gd name="connsiteX38" fmla="*/ 63817 w 85153"/>
                <a:gd name="connsiteY38" fmla="*/ 18288 h 84010"/>
                <a:gd name="connsiteX39" fmla="*/ 60293 w 85153"/>
                <a:gd name="connsiteY39" fmla="*/ 8668 h 84010"/>
                <a:gd name="connsiteX40" fmla="*/ 48863 w 85153"/>
                <a:gd name="connsiteY40" fmla="*/ 5429 h 84010"/>
                <a:gd name="connsiteX41" fmla="*/ 39338 w 85153"/>
                <a:gd name="connsiteY41" fmla="*/ 6286 h 84010"/>
                <a:gd name="connsiteX42" fmla="*/ 33242 w 85153"/>
                <a:gd name="connsiteY42" fmla="*/ 39624 h 84010"/>
                <a:gd name="connsiteX43" fmla="*/ 28766 w 85153"/>
                <a:gd name="connsiteY43" fmla="*/ 65722 h 84010"/>
                <a:gd name="connsiteX44" fmla="*/ 27432 w 85153"/>
                <a:gd name="connsiteY44" fmla="*/ 74486 h 84010"/>
                <a:gd name="connsiteX45" fmla="*/ 27432 w 85153"/>
                <a:gd name="connsiteY45" fmla="*/ 76105 h 84010"/>
                <a:gd name="connsiteX46" fmla="*/ 28004 w 85153"/>
                <a:gd name="connsiteY46" fmla="*/ 78200 h 84010"/>
                <a:gd name="connsiteX47" fmla="*/ 30099 w 85153"/>
                <a:gd name="connsiteY47" fmla="*/ 79248 h 84010"/>
                <a:gd name="connsiteX48" fmla="*/ 38671 w 85153"/>
                <a:gd name="connsiteY48" fmla="*/ 79724 h 84010"/>
                <a:gd name="connsiteX49" fmla="*/ 38291 w 85153"/>
                <a:gd name="connsiteY49" fmla="*/ 83915 h 84010"/>
                <a:gd name="connsiteX50" fmla="*/ 17050 w 85153"/>
                <a:gd name="connsiteY50" fmla="*/ 83344 h 84010"/>
                <a:gd name="connsiteX51" fmla="*/ 286 w 85153"/>
                <a:gd name="connsiteY51" fmla="*/ 83915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153" h="84010">
                  <a:moveTo>
                    <a:pt x="0" y="84011"/>
                  </a:moveTo>
                  <a:lnTo>
                    <a:pt x="381" y="79819"/>
                  </a:lnTo>
                  <a:lnTo>
                    <a:pt x="1429" y="79819"/>
                  </a:lnTo>
                  <a:cubicBezTo>
                    <a:pt x="5143" y="79819"/>
                    <a:pt x="7620" y="79629"/>
                    <a:pt x="8763" y="79248"/>
                  </a:cubicBezTo>
                  <a:cubicBezTo>
                    <a:pt x="9239" y="79057"/>
                    <a:pt x="9620" y="78867"/>
                    <a:pt x="10001" y="78486"/>
                  </a:cubicBezTo>
                  <a:cubicBezTo>
                    <a:pt x="10573" y="77819"/>
                    <a:pt x="11049" y="76771"/>
                    <a:pt x="11430" y="75057"/>
                  </a:cubicBezTo>
                  <a:cubicBezTo>
                    <a:pt x="11811" y="73438"/>
                    <a:pt x="13240" y="65818"/>
                    <a:pt x="15621" y="52292"/>
                  </a:cubicBezTo>
                  <a:lnTo>
                    <a:pt x="19431" y="30575"/>
                  </a:lnTo>
                  <a:cubicBezTo>
                    <a:pt x="21717" y="17716"/>
                    <a:pt x="22955" y="10192"/>
                    <a:pt x="22955" y="7906"/>
                  </a:cubicBezTo>
                  <a:cubicBezTo>
                    <a:pt x="22955" y="7048"/>
                    <a:pt x="22765" y="6382"/>
                    <a:pt x="22289" y="5905"/>
                  </a:cubicBezTo>
                  <a:cubicBezTo>
                    <a:pt x="21907" y="5429"/>
                    <a:pt x="21145" y="5048"/>
                    <a:pt x="20193" y="4763"/>
                  </a:cubicBezTo>
                  <a:cubicBezTo>
                    <a:pt x="19241" y="4572"/>
                    <a:pt x="16383" y="4381"/>
                    <a:pt x="11811" y="4381"/>
                  </a:cubicBezTo>
                  <a:lnTo>
                    <a:pt x="12478" y="0"/>
                  </a:lnTo>
                  <a:lnTo>
                    <a:pt x="24765" y="571"/>
                  </a:lnTo>
                  <a:cubicBezTo>
                    <a:pt x="27908" y="667"/>
                    <a:pt x="30290" y="762"/>
                    <a:pt x="32004" y="762"/>
                  </a:cubicBezTo>
                  <a:cubicBezTo>
                    <a:pt x="32956" y="762"/>
                    <a:pt x="37433" y="571"/>
                    <a:pt x="45625" y="286"/>
                  </a:cubicBezTo>
                  <a:cubicBezTo>
                    <a:pt x="49244" y="286"/>
                    <a:pt x="52864" y="190"/>
                    <a:pt x="56483" y="190"/>
                  </a:cubicBezTo>
                  <a:cubicBezTo>
                    <a:pt x="62293" y="190"/>
                    <a:pt x="66675" y="762"/>
                    <a:pt x="69723" y="1905"/>
                  </a:cubicBezTo>
                  <a:cubicBezTo>
                    <a:pt x="72771" y="3048"/>
                    <a:pt x="75343" y="5048"/>
                    <a:pt x="77248" y="7810"/>
                  </a:cubicBezTo>
                  <a:cubicBezTo>
                    <a:pt x="79153" y="10668"/>
                    <a:pt x="80105" y="13811"/>
                    <a:pt x="80105" y="17526"/>
                  </a:cubicBezTo>
                  <a:cubicBezTo>
                    <a:pt x="80105" y="22574"/>
                    <a:pt x="78296" y="27146"/>
                    <a:pt x="74581" y="31432"/>
                  </a:cubicBezTo>
                  <a:cubicBezTo>
                    <a:pt x="70866" y="35719"/>
                    <a:pt x="64294" y="38671"/>
                    <a:pt x="54959" y="40291"/>
                  </a:cubicBezTo>
                  <a:cubicBezTo>
                    <a:pt x="57055" y="43815"/>
                    <a:pt x="61722" y="51625"/>
                    <a:pt x="68961" y="63817"/>
                  </a:cubicBezTo>
                  <a:cubicBezTo>
                    <a:pt x="73533" y="71533"/>
                    <a:pt x="76391" y="76105"/>
                    <a:pt x="77533" y="77343"/>
                  </a:cubicBezTo>
                  <a:cubicBezTo>
                    <a:pt x="78296" y="78200"/>
                    <a:pt x="79057" y="78867"/>
                    <a:pt x="79915" y="79153"/>
                  </a:cubicBezTo>
                  <a:cubicBezTo>
                    <a:pt x="80772" y="79534"/>
                    <a:pt x="82487" y="79724"/>
                    <a:pt x="85153" y="79724"/>
                  </a:cubicBezTo>
                  <a:lnTo>
                    <a:pt x="84773" y="83915"/>
                  </a:lnTo>
                  <a:lnTo>
                    <a:pt x="71818" y="83534"/>
                  </a:lnTo>
                  <a:lnTo>
                    <a:pt x="64675" y="83820"/>
                  </a:lnTo>
                  <a:cubicBezTo>
                    <a:pt x="64675" y="83820"/>
                    <a:pt x="63437" y="83820"/>
                    <a:pt x="62484" y="83820"/>
                  </a:cubicBezTo>
                  <a:lnTo>
                    <a:pt x="54769" y="69437"/>
                  </a:lnTo>
                  <a:cubicBezTo>
                    <a:pt x="50197" y="61341"/>
                    <a:pt x="46768" y="55435"/>
                    <a:pt x="44577" y="51816"/>
                  </a:cubicBezTo>
                  <a:cubicBezTo>
                    <a:pt x="43720" y="50292"/>
                    <a:pt x="42958" y="49054"/>
                    <a:pt x="42386" y="48101"/>
                  </a:cubicBezTo>
                  <a:cubicBezTo>
                    <a:pt x="41434" y="46577"/>
                    <a:pt x="39719" y="43910"/>
                    <a:pt x="37243" y="40100"/>
                  </a:cubicBezTo>
                  <a:lnTo>
                    <a:pt x="37719" y="38195"/>
                  </a:lnTo>
                  <a:cubicBezTo>
                    <a:pt x="39338" y="38386"/>
                    <a:pt x="40577" y="38386"/>
                    <a:pt x="41529" y="38386"/>
                  </a:cubicBezTo>
                  <a:cubicBezTo>
                    <a:pt x="45910" y="38386"/>
                    <a:pt x="49816" y="37624"/>
                    <a:pt x="53245" y="36100"/>
                  </a:cubicBezTo>
                  <a:cubicBezTo>
                    <a:pt x="56674" y="34576"/>
                    <a:pt x="59341" y="32290"/>
                    <a:pt x="61151" y="29146"/>
                  </a:cubicBezTo>
                  <a:cubicBezTo>
                    <a:pt x="62960" y="26003"/>
                    <a:pt x="63817" y="22384"/>
                    <a:pt x="63817" y="18288"/>
                  </a:cubicBezTo>
                  <a:cubicBezTo>
                    <a:pt x="63817" y="14192"/>
                    <a:pt x="62675" y="10858"/>
                    <a:pt x="60293" y="8668"/>
                  </a:cubicBezTo>
                  <a:cubicBezTo>
                    <a:pt x="57912" y="6477"/>
                    <a:pt x="54102" y="5429"/>
                    <a:pt x="48863" y="5429"/>
                  </a:cubicBezTo>
                  <a:cubicBezTo>
                    <a:pt x="44958" y="5429"/>
                    <a:pt x="41815" y="5715"/>
                    <a:pt x="39338" y="6286"/>
                  </a:cubicBezTo>
                  <a:cubicBezTo>
                    <a:pt x="38481" y="10668"/>
                    <a:pt x="36385" y="21812"/>
                    <a:pt x="33242" y="39624"/>
                  </a:cubicBezTo>
                  <a:cubicBezTo>
                    <a:pt x="31623" y="48482"/>
                    <a:pt x="30194" y="57150"/>
                    <a:pt x="28766" y="65722"/>
                  </a:cubicBezTo>
                  <a:cubicBezTo>
                    <a:pt x="27908" y="70961"/>
                    <a:pt x="27432" y="73914"/>
                    <a:pt x="27432" y="74486"/>
                  </a:cubicBezTo>
                  <a:cubicBezTo>
                    <a:pt x="27432" y="75057"/>
                    <a:pt x="27432" y="75628"/>
                    <a:pt x="27432" y="76105"/>
                  </a:cubicBezTo>
                  <a:cubicBezTo>
                    <a:pt x="27432" y="76962"/>
                    <a:pt x="27622" y="77724"/>
                    <a:pt x="28004" y="78200"/>
                  </a:cubicBezTo>
                  <a:cubicBezTo>
                    <a:pt x="28384" y="78676"/>
                    <a:pt x="29051" y="79057"/>
                    <a:pt x="30099" y="79248"/>
                  </a:cubicBezTo>
                  <a:cubicBezTo>
                    <a:pt x="31528" y="79629"/>
                    <a:pt x="34385" y="79724"/>
                    <a:pt x="38671" y="79724"/>
                  </a:cubicBezTo>
                  <a:lnTo>
                    <a:pt x="38291" y="83915"/>
                  </a:lnTo>
                  <a:lnTo>
                    <a:pt x="17050" y="83344"/>
                  </a:lnTo>
                  <a:cubicBezTo>
                    <a:pt x="15049" y="83344"/>
                    <a:pt x="9430" y="83534"/>
                    <a:pt x="286" y="8391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0" name="Freeform: Shape 829">
              <a:extLst>
                <a:ext uri="{FF2B5EF4-FFF2-40B4-BE49-F238E27FC236}">
                  <a16:creationId xmlns:a16="http://schemas.microsoft.com/office/drawing/2014/main" id="{49AD5910-9FCC-431A-8106-EA8C1EDAC952}"/>
                </a:ext>
              </a:extLst>
            </p:cNvPr>
            <p:cNvSpPr/>
            <p:nvPr/>
          </p:nvSpPr>
          <p:spPr>
            <a:xfrm>
              <a:off x="6582921" y="5636037"/>
              <a:ext cx="92868" cy="84200"/>
            </a:xfrm>
            <a:custGeom>
              <a:avLst/>
              <a:gdLst>
                <a:gd name="connsiteX0" fmla="*/ 95 w 92868"/>
                <a:gd name="connsiteY0" fmla="*/ 84106 h 84200"/>
                <a:gd name="connsiteX1" fmla="*/ 667 w 92868"/>
                <a:gd name="connsiteY1" fmla="*/ 79724 h 84200"/>
                <a:gd name="connsiteX2" fmla="*/ 10192 w 92868"/>
                <a:gd name="connsiteY2" fmla="*/ 78867 h 84200"/>
                <a:gd name="connsiteX3" fmla="*/ 11716 w 92868"/>
                <a:gd name="connsiteY3" fmla="*/ 76105 h 84200"/>
                <a:gd name="connsiteX4" fmla="*/ 19526 w 92868"/>
                <a:gd name="connsiteY4" fmla="*/ 34195 h 84200"/>
                <a:gd name="connsiteX5" fmla="*/ 23527 w 92868"/>
                <a:gd name="connsiteY5" fmla="*/ 8001 h 84200"/>
                <a:gd name="connsiteX6" fmla="*/ 22574 w 92868"/>
                <a:gd name="connsiteY6" fmla="*/ 5429 h 84200"/>
                <a:gd name="connsiteX7" fmla="*/ 18859 w 92868"/>
                <a:gd name="connsiteY7" fmla="*/ 4572 h 84200"/>
                <a:gd name="connsiteX8" fmla="*/ 12192 w 92868"/>
                <a:gd name="connsiteY8" fmla="*/ 4381 h 84200"/>
                <a:gd name="connsiteX9" fmla="*/ 12954 w 92868"/>
                <a:gd name="connsiteY9" fmla="*/ 0 h 84200"/>
                <a:gd name="connsiteX10" fmla="*/ 33052 w 92868"/>
                <a:gd name="connsiteY10" fmla="*/ 286 h 84200"/>
                <a:gd name="connsiteX11" fmla="*/ 51435 w 92868"/>
                <a:gd name="connsiteY11" fmla="*/ 0 h 84200"/>
                <a:gd name="connsiteX12" fmla="*/ 50768 w 92868"/>
                <a:gd name="connsiteY12" fmla="*/ 4381 h 84200"/>
                <a:gd name="connsiteX13" fmla="*/ 41434 w 92868"/>
                <a:gd name="connsiteY13" fmla="*/ 5334 h 84200"/>
                <a:gd name="connsiteX14" fmla="*/ 40386 w 92868"/>
                <a:gd name="connsiteY14" fmla="*/ 6572 h 84200"/>
                <a:gd name="connsiteX15" fmla="*/ 37243 w 92868"/>
                <a:gd name="connsiteY15" fmla="*/ 20860 h 84200"/>
                <a:gd name="connsiteX16" fmla="*/ 33242 w 92868"/>
                <a:gd name="connsiteY16" fmla="*/ 42386 h 84200"/>
                <a:gd name="connsiteX17" fmla="*/ 45339 w 92868"/>
                <a:gd name="connsiteY17" fmla="*/ 32575 h 84200"/>
                <a:gd name="connsiteX18" fmla="*/ 58388 w 92868"/>
                <a:gd name="connsiteY18" fmla="*/ 20098 h 84200"/>
                <a:gd name="connsiteX19" fmla="*/ 70771 w 92868"/>
                <a:gd name="connsiteY19" fmla="*/ 7429 h 84200"/>
                <a:gd name="connsiteX20" fmla="*/ 72962 w 92868"/>
                <a:gd name="connsiteY20" fmla="*/ 4381 h 84200"/>
                <a:gd name="connsiteX21" fmla="*/ 73152 w 92868"/>
                <a:gd name="connsiteY21" fmla="*/ 2096 h 84200"/>
                <a:gd name="connsiteX22" fmla="*/ 73152 w 92868"/>
                <a:gd name="connsiteY22" fmla="*/ 0 h 84200"/>
                <a:gd name="connsiteX23" fmla="*/ 77343 w 92868"/>
                <a:gd name="connsiteY23" fmla="*/ 476 h 84200"/>
                <a:gd name="connsiteX24" fmla="*/ 81344 w 92868"/>
                <a:gd name="connsiteY24" fmla="*/ 476 h 84200"/>
                <a:gd name="connsiteX25" fmla="*/ 90488 w 92868"/>
                <a:gd name="connsiteY25" fmla="*/ 190 h 84200"/>
                <a:gd name="connsiteX26" fmla="*/ 92869 w 92868"/>
                <a:gd name="connsiteY26" fmla="*/ 95 h 84200"/>
                <a:gd name="connsiteX27" fmla="*/ 92869 w 92868"/>
                <a:gd name="connsiteY27" fmla="*/ 4477 h 84200"/>
                <a:gd name="connsiteX28" fmla="*/ 86392 w 92868"/>
                <a:gd name="connsiteY28" fmla="*/ 5048 h 84200"/>
                <a:gd name="connsiteX29" fmla="*/ 83058 w 92868"/>
                <a:gd name="connsiteY29" fmla="*/ 6667 h 84200"/>
                <a:gd name="connsiteX30" fmla="*/ 69437 w 92868"/>
                <a:gd name="connsiteY30" fmla="*/ 18002 h 84200"/>
                <a:gd name="connsiteX31" fmla="*/ 48387 w 92868"/>
                <a:gd name="connsiteY31" fmla="*/ 37624 h 84200"/>
                <a:gd name="connsiteX32" fmla="*/ 71914 w 92868"/>
                <a:gd name="connsiteY32" fmla="*/ 70675 h 84200"/>
                <a:gd name="connsiteX33" fmla="*/ 78772 w 92868"/>
                <a:gd name="connsiteY33" fmla="*/ 78962 h 84200"/>
                <a:gd name="connsiteX34" fmla="*/ 85249 w 92868"/>
                <a:gd name="connsiteY34" fmla="*/ 80200 h 84200"/>
                <a:gd name="connsiteX35" fmla="*/ 84868 w 92868"/>
                <a:gd name="connsiteY35" fmla="*/ 84201 h 84200"/>
                <a:gd name="connsiteX36" fmla="*/ 77819 w 92868"/>
                <a:gd name="connsiteY36" fmla="*/ 83915 h 84200"/>
                <a:gd name="connsiteX37" fmla="*/ 69628 w 92868"/>
                <a:gd name="connsiteY37" fmla="*/ 83629 h 84200"/>
                <a:gd name="connsiteX38" fmla="*/ 62389 w 92868"/>
                <a:gd name="connsiteY38" fmla="*/ 84106 h 84200"/>
                <a:gd name="connsiteX39" fmla="*/ 54864 w 92868"/>
                <a:gd name="connsiteY39" fmla="*/ 72580 h 84200"/>
                <a:gd name="connsiteX40" fmla="*/ 43910 w 92868"/>
                <a:gd name="connsiteY40" fmla="*/ 57055 h 84200"/>
                <a:gd name="connsiteX41" fmla="*/ 33242 w 92868"/>
                <a:gd name="connsiteY41" fmla="*/ 43148 h 84200"/>
                <a:gd name="connsiteX42" fmla="*/ 28289 w 92868"/>
                <a:gd name="connsiteY42" fmla="*/ 70771 h 84200"/>
                <a:gd name="connsiteX43" fmla="*/ 27623 w 92868"/>
                <a:gd name="connsiteY43" fmla="*/ 76200 h 84200"/>
                <a:gd name="connsiteX44" fmla="*/ 28099 w 92868"/>
                <a:gd name="connsiteY44" fmla="*/ 78105 h 84200"/>
                <a:gd name="connsiteX45" fmla="*/ 29528 w 92868"/>
                <a:gd name="connsiteY45" fmla="*/ 79153 h 84200"/>
                <a:gd name="connsiteX46" fmla="*/ 32480 w 92868"/>
                <a:gd name="connsiteY46" fmla="*/ 79629 h 84200"/>
                <a:gd name="connsiteX47" fmla="*/ 38576 w 92868"/>
                <a:gd name="connsiteY47" fmla="*/ 79629 h 84200"/>
                <a:gd name="connsiteX48" fmla="*/ 38005 w 92868"/>
                <a:gd name="connsiteY48" fmla="*/ 84106 h 84200"/>
                <a:gd name="connsiteX49" fmla="*/ 17526 w 92868"/>
                <a:gd name="connsiteY49" fmla="*/ 83629 h 84200"/>
                <a:gd name="connsiteX50" fmla="*/ 0 w 92868"/>
                <a:gd name="connsiteY50" fmla="*/ 84106 h 8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2868" h="84200">
                  <a:moveTo>
                    <a:pt x="95" y="84106"/>
                  </a:moveTo>
                  <a:lnTo>
                    <a:pt x="667" y="79724"/>
                  </a:lnTo>
                  <a:cubicBezTo>
                    <a:pt x="6001" y="79819"/>
                    <a:pt x="9144" y="79534"/>
                    <a:pt x="10192" y="78867"/>
                  </a:cubicBezTo>
                  <a:cubicBezTo>
                    <a:pt x="10763" y="78486"/>
                    <a:pt x="11240" y="77533"/>
                    <a:pt x="11716" y="76105"/>
                  </a:cubicBezTo>
                  <a:cubicBezTo>
                    <a:pt x="12573" y="72866"/>
                    <a:pt x="15240" y="58865"/>
                    <a:pt x="19526" y="34195"/>
                  </a:cubicBezTo>
                  <a:cubicBezTo>
                    <a:pt x="22193" y="19050"/>
                    <a:pt x="23527" y="10382"/>
                    <a:pt x="23527" y="8001"/>
                  </a:cubicBezTo>
                  <a:cubicBezTo>
                    <a:pt x="23527" y="6858"/>
                    <a:pt x="23241" y="6001"/>
                    <a:pt x="22574" y="5429"/>
                  </a:cubicBezTo>
                  <a:cubicBezTo>
                    <a:pt x="22003" y="4858"/>
                    <a:pt x="20765" y="4572"/>
                    <a:pt x="18859" y="4572"/>
                  </a:cubicBezTo>
                  <a:cubicBezTo>
                    <a:pt x="14669" y="4477"/>
                    <a:pt x="12382" y="4381"/>
                    <a:pt x="12192" y="4381"/>
                  </a:cubicBezTo>
                  <a:lnTo>
                    <a:pt x="12954" y="0"/>
                  </a:lnTo>
                  <a:cubicBezTo>
                    <a:pt x="25146" y="190"/>
                    <a:pt x="31909" y="286"/>
                    <a:pt x="33052" y="286"/>
                  </a:cubicBezTo>
                  <a:cubicBezTo>
                    <a:pt x="36481" y="286"/>
                    <a:pt x="42577" y="286"/>
                    <a:pt x="51435" y="0"/>
                  </a:cubicBezTo>
                  <a:lnTo>
                    <a:pt x="50768" y="4381"/>
                  </a:lnTo>
                  <a:cubicBezTo>
                    <a:pt x="45530" y="4381"/>
                    <a:pt x="42481" y="4763"/>
                    <a:pt x="41434" y="5334"/>
                  </a:cubicBezTo>
                  <a:cubicBezTo>
                    <a:pt x="40957" y="5525"/>
                    <a:pt x="40672" y="6001"/>
                    <a:pt x="40386" y="6572"/>
                  </a:cubicBezTo>
                  <a:cubicBezTo>
                    <a:pt x="39910" y="7715"/>
                    <a:pt x="38862" y="12382"/>
                    <a:pt x="37243" y="20860"/>
                  </a:cubicBezTo>
                  <a:lnTo>
                    <a:pt x="33242" y="42386"/>
                  </a:lnTo>
                  <a:cubicBezTo>
                    <a:pt x="35909" y="40672"/>
                    <a:pt x="39910" y="37433"/>
                    <a:pt x="45339" y="32575"/>
                  </a:cubicBezTo>
                  <a:cubicBezTo>
                    <a:pt x="47054" y="30956"/>
                    <a:pt x="51435" y="26860"/>
                    <a:pt x="58388" y="20098"/>
                  </a:cubicBezTo>
                  <a:cubicBezTo>
                    <a:pt x="64389" y="14288"/>
                    <a:pt x="68485" y="10096"/>
                    <a:pt x="70771" y="7429"/>
                  </a:cubicBezTo>
                  <a:cubicBezTo>
                    <a:pt x="71914" y="6096"/>
                    <a:pt x="72676" y="5048"/>
                    <a:pt x="72962" y="4381"/>
                  </a:cubicBezTo>
                  <a:cubicBezTo>
                    <a:pt x="73152" y="3905"/>
                    <a:pt x="73152" y="3143"/>
                    <a:pt x="73152" y="2096"/>
                  </a:cubicBezTo>
                  <a:lnTo>
                    <a:pt x="73152" y="0"/>
                  </a:lnTo>
                  <a:cubicBezTo>
                    <a:pt x="75248" y="286"/>
                    <a:pt x="76676" y="476"/>
                    <a:pt x="77343" y="476"/>
                  </a:cubicBezTo>
                  <a:lnTo>
                    <a:pt x="81344" y="476"/>
                  </a:lnTo>
                  <a:cubicBezTo>
                    <a:pt x="83249" y="286"/>
                    <a:pt x="86297" y="190"/>
                    <a:pt x="90488" y="190"/>
                  </a:cubicBezTo>
                  <a:cubicBezTo>
                    <a:pt x="90964" y="190"/>
                    <a:pt x="91726" y="190"/>
                    <a:pt x="92869" y="95"/>
                  </a:cubicBezTo>
                  <a:lnTo>
                    <a:pt x="92869" y="4477"/>
                  </a:lnTo>
                  <a:cubicBezTo>
                    <a:pt x="89535" y="4477"/>
                    <a:pt x="87344" y="4763"/>
                    <a:pt x="86392" y="5048"/>
                  </a:cubicBezTo>
                  <a:cubicBezTo>
                    <a:pt x="85439" y="5334"/>
                    <a:pt x="84296" y="5905"/>
                    <a:pt x="83058" y="6667"/>
                  </a:cubicBezTo>
                  <a:cubicBezTo>
                    <a:pt x="80581" y="8382"/>
                    <a:pt x="76105" y="12192"/>
                    <a:pt x="69437" y="18002"/>
                  </a:cubicBezTo>
                  <a:cubicBezTo>
                    <a:pt x="65723" y="21336"/>
                    <a:pt x="58769" y="27813"/>
                    <a:pt x="48387" y="37624"/>
                  </a:cubicBezTo>
                  <a:lnTo>
                    <a:pt x="71914" y="70675"/>
                  </a:lnTo>
                  <a:cubicBezTo>
                    <a:pt x="75438" y="75533"/>
                    <a:pt x="77724" y="78296"/>
                    <a:pt x="78772" y="78962"/>
                  </a:cubicBezTo>
                  <a:cubicBezTo>
                    <a:pt x="79820" y="79629"/>
                    <a:pt x="82010" y="80105"/>
                    <a:pt x="85249" y="80200"/>
                  </a:cubicBezTo>
                  <a:lnTo>
                    <a:pt x="84868" y="84201"/>
                  </a:lnTo>
                  <a:lnTo>
                    <a:pt x="77819" y="83915"/>
                  </a:lnTo>
                  <a:cubicBezTo>
                    <a:pt x="73628" y="83725"/>
                    <a:pt x="70866" y="83629"/>
                    <a:pt x="69628" y="83629"/>
                  </a:cubicBezTo>
                  <a:cubicBezTo>
                    <a:pt x="67723" y="83629"/>
                    <a:pt x="65342" y="83820"/>
                    <a:pt x="62389" y="84106"/>
                  </a:cubicBezTo>
                  <a:lnTo>
                    <a:pt x="54864" y="72580"/>
                  </a:lnTo>
                  <a:cubicBezTo>
                    <a:pt x="52673" y="69247"/>
                    <a:pt x="48958" y="64103"/>
                    <a:pt x="43910" y="57055"/>
                  </a:cubicBezTo>
                  <a:cubicBezTo>
                    <a:pt x="39910" y="51530"/>
                    <a:pt x="36385" y="46863"/>
                    <a:pt x="33242" y="43148"/>
                  </a:cubicBezTo>
                  <a:cubicBezTo>
                    <a:pt x="31432" y="52388"/>
                    <a:pt x="29813" y="61627"/>
                    <a:pt x="28289" y="70771"/>
                  </a:cubicBezTo>
                  <a:cubicBezTo>
                    <a:pt x="27813" y="73533"/>
                    <a:pt x="27623" y="75343"/>
                    <a:pt x="27623" y="76200"/>
                  </a:cubicBezTo>
                  <a:cubicBezTo>
                    <a:pt x="27623" y="77057"/>
                    <a:pt x="27813" y="77724"/>
                    <a:pt x="28099" y="78105"/>
                  </a:cubicBezTo>
                  <a:cubicBezTo>
                    <a:pt x="28384" y="78581"/>
                    <a:pt x="28861" y="78867"/>
                    <a:pt x="29528" y="79153"/>
                  </a:cubicBezTo>
                  <a:cubicBezTo>
                    <a:pt x="30194" y="79438"/>
                    <a:pt x="31147" y="79534"/>
                    <a:pt x="32480" y="79629"/>
                  </a:cubicBezTo>
                  <a:lnTo>
                    <a:pt x="38576" y="79629"/>
                  </a:lnTo>
                  <a:lnTo>
                    <a:pt x="38005" y="84106"/>
                  </a:lnTo>
                  <a:cubicBezTo>
                    <a:pt x="26289" y="83725"/>
                    <a:pt x="19431" y="83629"/>
                    <a:pt x="17526" y="83629"/>
                  </a:cubicBezTo>
                  <a:cubicBezTo>
                    <a:pt x="13145" y="83629"/>
                    <a:pt x="7239" y="83820"/>
                    <a:pt x="0" y="84106"/>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1" name="Freeform: Shape 830">
              <a:extLst>
                <a:ext uri="{FF2B5EF4-FFF2-40B4-BE49-F238E27FC236}">
                  <a16:creationId xmlns:a16="http://schemas.microsoft.com/office/drawing/2014/main" id="{0345C8CC-7668-4C95-9DD2-4EF7F2ADCCE3}"/>
                </a:ext>
              </a:extLst>
            </p:cNvPr>
            <p:cNvSpPr/>
            <p:nvPr/>
          </p:nvSpPr>
          <p:spPr>
            <a:xfrm>
              <a:off x="6708460" y="5619178"/>
              <a:ext cx="90678" cy="100965"/>
            </a:xfrm>
            <a:custGeom>
              <a:avLst/>
              <a:gdLst>
                <a:gd name="connsiteX0" fmla="*/ 6572 w 90678"/>
                <a:gd name="connsiteY0" fmla="*/ 100965 h 100965"/>
                <a:gd name="connsiteX1" fmla="*/ 7144 w 90678"/>
                <a:gd name="connsiteY1" fmla="*/ 95822 h 100965"/>
                <a:gd name="connsiteX2" fmla="*/ 18383 w 90678"/>
                <a:gd name="connsiteY2" fmla="*/ 95155 h 100965"/>
                <a:gd name="connsiteX3" fmla="*/ 20193 w 90678"/>
                <a:gd name="connsiteY3" fmla="*/ 93917 h 100965"/>
                <a:gd name="connsiteX4" fmla="*/ 22098 w 90678"/>
                <a:gd name="connsiteY4" fmla="*/ 88487 h 100965"/>
                <a:gd name="connsiteX5" fmla="*/ 28956 w 90678"/>
                <a:gd name="connsiteY5" fmla="*/ 51245 h 100965"/>
                <a:gd name="connsiteX6" fmla="*/ 36385 w 90678"/>
                <a:gd name="connsiteY6" fmla="*/ 8192 h 100965"/>
                <a:gd name="connsiteX7" fmla="*/ 32099 w 90678"/>
                <a:gd name="connsiteY7" fmla="*/ 8192 h 100965"/>
                <a:gd name="connsiteX8" fmla="*/ 10954 w 90678"/>
                <a:gd name="connsiteY8" fmla="*/ 10001 h 100965"/>
                <a:gd name="connsiteX9" fmla="*/ 5334 w 90678"/>
                <a:gd name="connsiteY9" fmla="*/ 25813 h 100965"/>
                <a:gd name="connsiteX10" fmla="*/ 0 w 90678"/>
                <a:gd name="connsiteY10" fmla="*/ 25813 h 100965"/>
                <a:gd name="connsiteX11" fmla="*/ 3715 w 90678"/>
                <a:gd name="connsiteY11" fmla="*/ 1238 h 100965"/>
                <a:gd name="connsiteX12" fmla="*/ 4477 w 90678"/>
                <a:gd name="connsiteY12" fmla="*/ 381 h 100965"/>
                <a:gd name="connsiteX13" fmla="*/ 22860 w 90678"/>
                <a:gd name="connsiteY13" fmla="*/ 1143 h 100965"/>
                <a:gd name="connsiteX14" fmla="*/ 41910 w 90678"/>
                <a:gd name="connsiteY14" fmla="*/ 1429 h 100965"/>
                <a:gd name="connsiteX15" fmla="*/ 74581 w 90678"/>
                <a:gd name="connsiteY15" fmla="*/ 953 h 100965"/>
                <a:gd name="connsiteX16" fmla="*/ 89630 w 90678"/>
                <a:gd name="connsiteY16" fmla="*/ 0 h 100965"/>
                <a:gd name="connsiteX17" fmla="*/ 90678 w 90678"/>
                <a:gd name="connsiteY17" fmla="*/ 1238 h 100965"/>
                <a:gd name="connsiteX18" fmla="*/ 87058 w 90678"/>
                <a:gd name="connsiteY18" fmla="*/ 20098 h 100965"/>
                <a:gd name="connsiteX19" fmla="*/ 86297 w 90678"/>
                <a:gd name="connsiteY19" fmla="*/ 25813 h 100965"/>
                <a:gd name="connsiteX20" fmla="*/ 80867 w 90678"/>
                <a:gd name="connsiteY20" fmla="*/ 25813 h 100965"/>
                <a:gd name="connsiteX21" fmla="*/ 81629 w 90678"/>
                <a:gd name="connsiteY21" fmla="*/ 14669 h 100965"/>
                <a:gd name="connsiteX22" fmla="*/ 80963 w 90678"/>
                <a:gd name="connsiteY22" fmla="*/ 10097 h 100965"/>
                <a:gd name="connsiteX23" fmla="*/ 78391 w 90678"/>
                <a:gd name="connsiteY23" fmla="*/ 8763 h 100965"/>
                <a:gd name="connsiteX24" fmla="*/ 63818 w 90678"/>
                <a:gd name="connsiteY24" fmla="*/ 8001 h 100965"/>
                <a:gd name="connsiteX25" fmla="*/ 55817 w 90678"/>
                <a:gd name="connsiteY25" fmla="*/ 8001 h 100965"/>
                <a:gd name="connsiteX26" fmla="*/ 49435 w 90678"/>
                <a:gd name="connsiteY26" fmla="*/ 41243 h 100965"/>
                <a:gd name="connsiteX27" fmla="*/ 43720 w 90678"/>
                <a:gd name="connsiteY27" fmla="*/ 73724 h 100965"/>
                <a:gd name="connsiteX28" fmla="*/ 41529 w 90678"/>
                <a:gd name="connsiteY28" fmla="*/ 88773 h 100965"/>
                <a:gd name="connsiteX29" fmla="*/ 41434 w 90678"/>
                <a:gd name="connsiteY29" fmla="*/ 91535 h 100965"/>
                <a:gd name="connsiteX30" fmla="*/ 42101 w 90678"/>
                <a:gd name="connsiteY30" fmla="*/ 94012 h 100965"/>
                <a:gd name="connsiteX31" fmla="*/ 44482 w 90678"/>
                <a:gd name="connsiteY31" fmla="*/ 95155 h 100965"/>
                <a:gd name="connsiteX32" fmla="*/ 55435 w 90678"/>
                <a:gd name="connsiteY32" fmla="*/ 95631 h 100965"/>
                <a:gd name="connsiteX33" fmla="*/ 54864 w 90678"/>
                <a:gd name="connsiteY33" fmla="*/ 100775 h 100965"/>
                <a:gd name="connsiteX34" fmla="*/ 30004 w 90678"/>
                <a:gd name="connsiteY34" fmla="*/ 100203 h 100965"/>
                <a:gd name="connsiteX35" fmla="*/ 6763 w 90678"/>
                <a:gd name="connsiteY35" fmla="*/ 100775 h 1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0678" h="100965">
                  <a:moveTo>
                    <a:pt x="6572" y="100965"/>
                  </a:moveTo>
                  <a:lnTo>
                    <a:pt x="7144" y="95822"/>
                  </a:lnTo>
                  <a:cubicBezTo>
                    <a:pt x="13240" y="95822"/>
                    <a:pt x="16954" y="95726"/>
                    <a:pt x="18383" y="95155"/>
                  </a:cubicBezTo>
                  <a:cubicBezTo>
                    <a:pt x="19145" y="94869"/>
                    <a:pt x="19717" y="94488"/>
                    <a:pt x="20193" y="93917"/>
                  </a:cubicBezTo>
                  <a:cubicBezTo>
                    <a:pt x="20860" y="93059"/>
                    <a:pt x="21527" y="91250"/>
                    <a:pt x="22098" y="88487"/>
                  </a:cubicBezTo>
                  <a:cubicBezTo>
                    <a:pt x="23717" y="80772"/>
                    <a:pt x="26003" y="68390"/>
                    <a:pt x="28956" y="51245"/>
                  </a:cubicBezTo>
                  <a:cubicBezTo>
                    <a:pt x="32004" y="34100"/>
                    <a:pt x="34480" y="19812"/>
                    <a:pt x="36385" y="8192"/>
                  </a:cubicBezTo>
                  <a:lnTo>
                    <a:pt x="32099" y="8192"/>
                  </a:lnTo>
                  <a:cubicBezTo>
                    <a:pt x="19717" y="8192"/>
                    <a:pt x="12668" y="8763"/>
                    <a:pt x="10954" y="10001"/>
                  </a:cubicBezTo>
                  <a:cubicBezTo>
                    <a:pt x="9144" y="11335"/>
                    <a:pt x="7334" y="16574"/>
                    <a:pt x="5334" y="25813"/>
                  </a:cubicBezTo>
                  <a:lnTo>
                    <a:pt x="0" y="25813"/>
                  </a:lnTo>
                  <a:cubicBezTo>
                    <a:pt x="1238" y="18860"/>
                    <a:pt x="2477" y="10668"/>
                    <a:pt x="3715" y="1238"/>
                  </a:cubicBezTo>
                  <a:lnTo>
                    <a:pt x="4477" y="381"/>
                  </a:lnTo>
                  <a:lnTo>
                    <a:pt x="22860" y="1143"/>
                  </a:lnTo>
                  <a:cubicBezTo>
                    <a:pt x="28384" y="1333"/>
                    <a:pt x="34766" y="1429"/>
                    <a:pt x="41910" y="1429"/>
                  </a:cubicBezTo>
                  <a:cubicBezTo>
                    <a:pt x="51911" y="1429"/>
                    <a:pt x="62770" y="1238"/>
                    <a:pt x="74581" y="953"/>
                  </a:cubicBezTo>
                  <a:cubicBezTo>
                    <a:pt x="80772" y="762"/>
                    <a:pt x="85820" y="476"/>
                    <a:pt x="89630" y="0"/>
                  </a:cubicBezTo>
                  <a:lnTo>
                    <a:pt x="90678" y="1238"/>
                  </a:lnTo>
                  <a:cubicBezTo>
                    <a:pt x="88582" y="11716"/>
                    <a:pt x="87440" y="18002"/>
                    <a:pt x="87058" y="20098"/>
                  </a:cubicBezTo>
                  <a:cubicBezTo>
                    <a:pt x="86678" y="22193"/>
                    <a:pt x="86392" y="24098"/>
                    <a:pt x="86297" y="25813"/>
                  </a:cubicBezTo>
                  <a:lnTo>
                    <a:pt x="80867" y="25813"/>
                  </a:lnTo>
                  <a:cubicBezTo>
                    <a:pt x="81344" y="21717"/>
                    <a:pt x="81629" y="18002"/>
                    <a:pt x="81629" y="14669"/>
                  </a:cubicBezTo>
                  <a:cubicBezTo>
                    <a:pt x="81629" y="12192"/>
                    <a:pt x="81439" y="10668"/>
                    <a:pt x="80963" y="10097"/>
                  </a:cubicBezTo>
                  <a:cubicBezTo>
                    <a:pt x="80486" y="9525"/>
                    <a:pt x="79629" y="9049"/>
                    <a:pt x="78391" y="8763"/>
                  </a:cubicBezTo>
                  <a:cubicBezTo>
                    <a:pt x="76200" y="8287"/>
                    <a:pt x="71342" y="8001"/>
                    <a:pt x="63818" y="8001"/>
                  </a:cubicBezTo>
                  <a:cubicBezTo>
                    <a:pt x="60293" y="8001"/>
                    <a:pt x="57626" y="8001"/>
                    <a:pt x="55817" y="8001"/>
                  </a:cubicBezTo>
                  <a:lnTo>
                    <a:pt x="49435" y="41243"/>
                  </a:lnTo>
                  <a:cubicBezTo>
                    <a:pt x="47530" y="51149"/>
                    <a:pt x="45625" y="61913"/>
                    <a:pt x="43720" y="73724"/>
                  </a:cubicBezTo>
                  <a:cubicBezTo>
                    <a:pt x="42386" y="81534"/>
                    <a:pt x="41720" y="86582"/>
                    <a:pt x="41529" y="88773"/>
                  </a:cubicBezTo>
                  <a:cubicBezTo>
                    <a:pt x="41434" y="89726"/>
                    <a:pt x="41434" y="90678"/>
                    <a:pt x="41434" y="91535"/>
                  </a:cubicBezTo>
                  <a:cubicBezTo>
                    <a:pt x="41434" y="92678"/>
                    <a:pt x="41624" y="93440"/>
                    <a:pt x="42101" y="94012"/>
                  </a:cubicBezTo>
                  <a:cubicBezTo>
                    <a:pt x="42577" y="94488"/>
                    <a:pt x="43339" y="94964"/>
                    <a:pt x="44482" y="95155"/>
                  </a:cubicBezTo>
                  <a:cubicBezTo>
                    <a:pt x="46196" y="95536"/>
                    <a:pt x="49816" y="95631"/>
                    <a:pt x="55435" y="95631"/>
                  </a:cubicBezTo>
                  <a:lnTo>
                    <a:pt x="54864" y="100775"/>
                  </a:lnTo>
                  <a:cubicBezTo>
                    <a:pt x="42386" y="100394"/>
                    <a:pt x="34100" y="100203"/>
                    <a:pt x="30004" y="100203"/>
                  </a:cubicBezTo>
                  <a:cubicBezTo>
                    <a:pt x="24860" y="100203"/>
                    <a:pt x="17145" y="100394"/>
                    <a:pt x="6763" y="10077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2" name="Freeform: Shape 831">
              <a:extLst>
                <a:ext uri="{FF2B5EF4-FFF2-40B4-BE49-F238E27FC236}">
                  <a16:creationId xmlns:a16="http://schemas.microsoft.com/office/drawing/2014/main" id="{7B0CBCE1-A24C-439D-A944-71FB1215B5D4}"/>
                </a:ext>
              </a:extLst>
            </p:cNvPr>
            <p:cNvSpPr/>
            <p:nvPr/>
          </p:nvSpPr>
          <p:spPr>
            <a:xfrm>
              <a:off x="6781422" y="5634609"/>
              <a:ext cx="87915" cy="87629"/>
            </a:xfrm>
            <a:custGeom>
              <a:avLst/>
              <a:gdLst>
                <a:gd name="connsiteX0" fmla="*/ 2286 w 87915"/>
                <a:gd name="connsiteY0" fmla="*/ 67627 h 87629"/>
                <a:gd name="connsiteX1" fmla="*/ 9144 w 87915"/>
                <a:gd name="connsiteY1" fmla="*/ 78296 h 87629"/>
                <a:gd name="connsiteX2" fmla="*/ 20765 w 87915"/>
                <a:gd name="connsiteY2" fmla="*/ 85249 h 87629"/>
                <a:gd name="connsiteX3" fmla="*/ 36290 w 87915"/>
                <a:gd name="connsiteY3" fmla="*/ 87630 h 87629"/>
                <a:gd name="connsiteX4" fmla="*/ 64294 w 87915"/>
                <a:gd name="connsiteY4" fmla="*/ 79629 h 87629"/>
                <a:gd name="connsiteX5" fmla="*/ 82487 w 87915"/>
                <a:gd name="connsiteY5" fmla="*/ 58198 h 87629"/>
                <a:gd name="connsiteX6" fmla="*/ 87916 w 87915"/>
                <a:gd name="connsiteY6" fmla="*/ 34290 h 87629"/>
                <a:gd name="connsiteX7" fmla="*/ 78200 w 87915"/>
                <a:gd name="connsiteY7" fmla="*/ 9239 h 87629"/>
                <a:gd name="connsiteX8" fmla="*/ 50673 w 87915"/>
                <a:gd name="connsiteY8" fmla="*/ 0 h 87629"/>
                <a:gd name="connsiteX9" fmla="*/ 32099 w 87915"/>
                <a:gd name="connsiteY9" fmla="*/ 3048 h 87629"/>
                <a:gd name="connsiteX10" fmla="*/ 18764 w 87915"/>
                <a:gd name="connsiteY10" fmla="*/ 10477 h 87629"/>
                <a:gd name="connsiteX11" fmla="*/ 9716 w 87915"/>
                <a:gd name="connsiteY11" fmla="*/ 20383 h 87629"/>
                <a:gd name="connsiteX12" fmla="*/ 2381 w 87915"/>
                <a:gd name="connsiteY12" fmla="*/ 36576 h 87629"/>
                <a:gd name="connsiteX13" fmla="*/ 0 w 87915"/>
                <a:gd name="connsiteY13" fmla="*/ 53531 h 87629"/>
                <a:gd name="connsiteX14" fmla="*/ 2191 w 87915"/>
                <a:gd name="connsiteY14" fmla="*/ 67627 h 87629"/>
                <a:gd name="connsiteX15" fmla="*/ 18193 w 87915"/>
                <a:gd name="connsiteY15" fmla="*/ 42196 h 87629"/>
                <a:gd name="connsiteX16" fmla="*/ 22670 w 87915"/>
                <a:gd name="connsiteY16" fmla="*/ 25908 h 87629"/>
                <a:gd name="connsiteX17" fmla="*/ 29337 w 87915"/>
                <a:gd name="connsiteY17" fmla="*/ 14097 h 87629"/>
                <a:gd name="connsiteX18" fmla="*/ 37529 w 87915"/>
                <a:gd name="connsiteY18" fmla="*/ 7620 h 87629"/>
                <a:gd name="connsiteX19" fmla="*/ 48673 w 87915"/>
                <a:gd name="connsiteY19" fmla="*/ 5525 h 87629"/>
                <a:gd name="connsiteX20" fmla="*/ 59246 w 87915"/>
                <a:gd name="connsiteY20" fmla="*/ 7620 h 87629"/>
                <a:gd name="connsiteX21" fmla="*/ 66199 w 87915"/>
                <a:gd name="connsiteY21" fmla="*/ 12859 h 87629"/>
                <a:gd name="connsiteX22" fmla="*/ 69723 w 87915"/>
                <a:gd name="connsiteY22" fmla="*/ 20574 h 87629"/>
                <a:gd name="connsiteX23" fmla="*/ 70866 w 87915"/>
                <a:gd name="connsiteY23" fmla="*/ 30766 h 87629"/>
                <a:gd name="connsiteX24" fmla="*/ 68485 w 87915"/>
                <a:gd name="connsiteY24" fmla="*/ 49244 h 87629"/>
                <a:gd name="connsiteX25" fmla="*/ 62675 w 87915"/>
                <a:gd name="connsiteY25" fmla="*/ 66008 h 87629"/>
                <a:gd name="connsiteX26" fmla="*/ 57055 w 87915"/>
                <a:gd name="connsiteY26" fmla="*/ 74771 h 87629"/>
                <a:gd name="connsiteX27" fmla="*/ 49721 w 87915"/>
                <a:gd name="connsiteY27" fmla="*/ 80200 h 87629"/>
                <a:gd name="connsiteX28" fmla="*/ 39338 w 87915"/>
                <a:gd name="connsiteY28" fmla="*/ 82201 h 87629"/>
                <a:gd name="connsiteX29" fmla="*/ 31337 w 87915"/>
                <a:gd name="connsiteY29" fmla="*/ 80963 h 87629"/>
                <a:gd name="connsiteX30" fmla="*/ 24670 w 87915"/>
                <a:gd name="connsiteY30" fmla="*/ 77819 h 87629"/>
                <a:gd name="connsiteX31" fmla="*/ 20288 w 87915"/>
                <a:gd name="connsiteY31" fmla="*/ 73057 h 87629"/>
                <a:gd name="connsiteX32" fmla="*/ 17621 w 87915"/>
                <a:gd name="connsiteY32" fmla="*/ 66199 h 87629"/>
                <a:gd name="connsiteX33" fmla="*/ 16669 w 87915"/>
                <a:gd name="connsiteY33" fmla="*/ 57245 h 87629"/>
                <a:gd name="connsiteX34" fmla="*/ 18098 w 87915"/>
                <a:gd name="connsiteY34" fmla="*/ 4210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915" h="87629">
                  <a:moveTo>
                    <a:pt x="2286" y="67627"/>
                  </a:moveTo>
                  <a:cubicBezTo>
                    <a:pt x="3715" y="71723"/>
                    <a:pt x="6001" y="75248"/>
                    <a:pt x="9144" y="78296"/>
                  </a:cubicBezTo>
                  <a:cubicBezTo>
                    <a:pt x="12287" y="81344"/>
                    <a:pt x="16193" y="83629"/>
                    <a:pt x="20765" y="85249"/>
                  </a:cubicBezTo>
                  <a:cubicBezTo>
                    <a:pt x="25432" y="86868"/>
                    <a:pt x="30575" y="87630"/>
                    <a:pt x="36290" y="87630"/>
                  </a:cubicBezTo>
                  <a:cubicBezTo>
                    <a:pt x="47149" y="87630"/>
                    <a:pt x="56388" y="84963"/>
                    <a:pt x="64294" y="79629"/>
                  </a:cubicBezTo>
                  <a:cubicBezTo>
                    <a:pt x="72200" y="74295"/>
                    <a:pt x="78200" y="67151"/>
                    <a:pt x="82487" y="58198"/>
                  </a:cubicBezTo>
                  <a:cubicBezTo>
                    <a:pt x="86106" y="50578"/>
                    <a:pt x="87916" y="42577"/>
                    <a:pt x="87916" y="34290"/>
                  </a:cubicBezTo>
                  <a:cubicBezTo>
                    <a:pt x="87916" y="23813"/>
                    <a:pt x="84677" y="15431"/>
                    <a:pt x="78200" y="9239"/>
                  </a:cubicBezTo>
                  <a:cubicBezTo>
                    <a:pt x="71723" y="3048"/>
                    <a:pt x="62484" y="0"/>
                    <a:pt x="50673" y="0"/>
                  </a:cubicBezTo>
                  <a:cubicBezTo>
                    <a:pt x="43529" y="0"/>
                    <a:pt x="37433" y="1048"/>
                    <a:pt x="32099" y="3048"/>
                  </a:cubicBezTo>
                  <a:cubicBezTo>
                    <a:pt x="26860" y="5048"/>
                    <a:pt x="22384" y="7525"/>
                    <a:pt x="18764" y="10477"/>
                  </a:cubicBezTo>
                  <a:cubicBezTo>
                    <a:pt x="15145" y="13430"/>
                    <a:pt x="12192" y="16764"/>
                    <a:pt x="9716" y="20383"/>
                  </a:cubicBezTo>
                  <a:cubicBezTo>
                    <a:pt x="6477" y="25241"/>
                    <a:pt x="4001" y="30671"/>
                    <a:pt x="2381" y="36576"/>
                  </a:cubicBezTo>
                  <a:cubicBezTo>
                    <a:pt x="762" y="42481"/>
                    <a:pt x="0" y="48101"/>
                    <a:pt x="0" y="53531"/>
                  </a:cubicBezTo>
                  <a:cubicBezTo>
                    <a:pt x="0" y="58960"/>
                    <a:pt x="762" y="63532"/>
                    <a:pt x="2191" y="67627"/>
                  </a:cubicBezTo>
                  <a:moveTo>
                    <a:pt x="18193" y="42196"/>
                  </a:moveTo>
                  <a:cubicBezTo>
                    <a:pt x="19145" y="36290"/>
                    <a:pt x="20669" y="30861"/>
                    <a:pt x="22670" y="25908"/>
                  </a:cubicBezTo>
                  <a:cubicBezTo>
                    <a:pt x="24670" y="20955"/>
                    <a:pt x="26956" y="17050"/>
                    <a:pt x="29337" y="14097"/>
                  </a:cubicBezTo>
                  <a:cubicBezTo>
                    <a:pt x="31718" y="11240"/>
                    <a:pt x="34480" y="9049"/>
                    <a:pt x="37529" y="7620"/>
                  </a:cubicBezTo>
                  <a:cubicBezTo>
                    <a:pt x="40577" y="6191"/>
                    <a:pt x="44291" y="5525"/>
                    <a:pt x="48673" y="5525"/>
                  </a:cubicBezTo>
                  <a:cubicBezTo>
                    <a:pt x="52673" y="5525"/>
                    <a:pt x="56198" y="6191"/>
                    <a:pt x="59246" y="7620"/>
                  </a:cubicBezTo>
                  <a:cubicBezTo>
                    <a:pt x="62294" y="9049"/>
                    <a:pt x="64579" y="10763"/>
                    <a:pt x="66199" y="12859"/>
                  </a:cubicBezTo>
                  <a:cubicBezTo>
                    <a:pt x="67818" y="14954"/>
                    <a:pt x="68961" y="17526"/>
                    <a:pt x="69723" y="20574"/>
                  </a:cubicBezTo>
                  <a:cubicBezTo>
                    <a:pt x="70485" y="23622"/>
                    <a:pt x="70866" y="27051"/>
                    <a:pt x="70866" y="30766"/>
                  </a:cubicBezTo>
                  <a:cubicBezTo>
                    <a:pt x="70866" y="36671"/>
                    <a:pt x="70104" y="42863"/>
                    <a:pt x="68485" y="49244"/>
                  </a:cubicBezTo>
                  <a:cubicBezTo>
                    <a:pt x="66961" y="55721"/>
                    <a:pt x="64960" y="61246"/>
                    <a:pt x="62675" y="66008"/>
                  </a:cubicBezTo>
                  <a:cubicBezTo>
                    <a:pt x="60960" y="69628"/>
                    <a:pt x="59055" y="72485"/>
                    <a:pt x="57055" y="74771"/>
                  </a:cubicBezTo>
                  <a:cubicBezTo>
                    <a:pt x="55054" y="77057"/>
                    <a:pt x="52578" y="78867"/>
                    <a:pt x="49721" y="80200"/>
                  </a:cubicBezTo>
                  <a:cubicBezTo>
                    <a:pt x="46863" y="81534"/>
                    <a:pt x="43339" y="82201"/>
                    <a:pt x="39338" y="82201"/>
                  </a:cubicBezTo>
                  <a:cubicBezTo>
                    <a:pt x="36671" y="82201"/>
                    <a:pt x="34004" y="81820"/>
                    <a:pt x="31337" y="80963"/>
                  </a:cubicBezTo>
                  <a:cubicBezTo>
                    <a:pt x="28670" y="80200"/>
                    <a:pt x="26479" y="79058"/>
                    <a:pt x="24670" y="77819"/>
                  </a:cubicBezTo>
                  <a:cubicBezTo>
                    <a:pt x="22860" y="76486"/>
                    <a:pt x="21431" y="74962"/>
                    <a:pt x="20288" y="73057"/>
                  </a:cubicBezTo>
                  <a:cubicBezTo>
                    <a:pt x="19145" y="71247"/>
                    <a:pt x="18288" y="68961"/>
                    <a:pt x="17621" y="66199"/>
                  </a:cubicBezTo>
                  <a:cubicBezTo>
                    <a:pt x="16954" y="63437"/>
                    <a:pt x="16669" y="60484"/>
                    <a:pt x="16669" y="57245"/>
                  </a:cubicBezTo>
                  <a:cubicBezTo>
                    <a:pt x="16669" y="53054"/>
                    <a:pt x="17145" y="48006"/>
                    <a:pt x="18098" y="4210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3" name="Freeform: Shape 832">
              <a:extLst>
                <a:ext uri="{FF2B5EF4-FFF2-40B4-BE49-F238E27FC236}">
                  <a16:creationId xmlns:a16="http://schemas.microsoft.com/office/drawing/2014/main" id="{D4AADC89-243B-4594-99DA-D474F304F9AE}"/>
                </a:ext>
              </a:extLst>
            </p:cNvPr>
            <p:cNvSpPr/>
            <p:nvPr/>
          </p:nvSpPr>
          <p:spPr>
            <a:xfrm>
              <a:off x="6906676" y="5619273"/>
              <a:ext cx="82010" cy="101060"/>
            </a:xfrm>
            <a:custGeom>
              <a:avLst/>
              <a:gdLst>
                <a:gd name="connsiteX0" fmla="*/ 95 w 82010"/>
                <a:gd name="connsiteY0" fmla="*/ 100870 h 101060"/>
                <a:gd name="connsiteX1" fmla="*/ 857 w 82010"/>
                <a:gd name="connsiteY1" fmla="*/ 96393 h 101060"/>
                <a:gd name="connsiteX2" fmla="*/ 9430 w 82010"/>
                <a:gd name="connsiteY2" fmla="*/ 94012 h 101060"/>
                <a:gd name="connsiteX3" fmla="*/ 10668 w 82010"/>
                <a:gd name="connsiteY3" fmla="*/ 92488 h 101060"/>
                <a:gd name="connsiteX4" fmla="*/ 14002 w 82010"/>
                <a:gd name="connsiteY4" fmla="*/ 77438 h 101060"/>
                <a:gd name="connsiteX5" fmla="*/ 21431 w 82010"/>
                <a:gd name="connsiteY5" fmla="*/ 34290 h 101060"/>
                <a:gd name="connsiteX6" fmla="*/ 25051 w 82010"/>
                <a:gd name="connsiteY6" fmla="*/ 9144 h 101060"/>
                <a:gd name="connsiteX7" fmla="*/ 24289 w 82010"/>
                <a:gd name="connsiteY7" fmla="*/ 6667 h 101060"/>
                <a:gd name="connsiteX8" fmla="*/ 20860 w 82010"/>
                <a:gd name="connsiteY8" fmla="*/ 5620 h 101060"/>
                <a:gd name="connsiteX9" fmla="*/ 11716 w 82010"/>
                <a:gd name="connsiteY9" fmla="*/ 4953 h 101060"/>
                <a:gd name="connsiteX10" fmla="*/ 12573 w 82010"/>
                <a:gd name="connsiteY10" fmla="*/ 0 h 101060"/>
                <a:gd name="connsiteX11" fmla="*/ 26670 w 82010"/>
                <a:gd name="connsiteY11" fmla="*/ 381 h 101060"/>
                <a:gd name="connsiteX12" fmla="*/ 40291 w 82010"/>
                <a:gd name="connsiteY12" fmla="*/ 762 h 101060"/>
                <a:gd name="connsiteX13" fmla="*/ 48292 w 82010"/>
                <a:gd name="connsiteY13" fmla="*/ 571 h 101060"/>
                <a:gd name="connsiteX14" fmla="*/ 60007 w 82010"/>
                <a:gd name="connsiteY14" fmla="*/ 0 h 101060"/>
                <a:gd name="connsiteX15" fmla="*/ 59246 w 82010"/>
                <a:gd name="connsiteY15" fmla="*/ 5429 h 101060"/>
                <a:gd name="connsiteX16" fmla="*/ 57626 w 82010"/>
                <a:gd name="connsiteY16" fmla="*/ 5429 h 101060"/>
                <a:gd name="connsiteX17" fmla="*/ 47244 w 82010"/>
                <a:gd name="connsiteY17" fmla="*/ 6477 h 101060"/>
                <a:gd name="connsiteX18" fmla="*/ 45815 w 82010"/>
                <a:gd name="connsiteY18" fmla="*/ 7906 h 101060"/>
                <a:gd name="connsiteX19" fmla="*/ 42672 w 82010"/>
                <a:gd name="connsiteY19" fmla="*/ 20479 h 101060"/>
                <a:gd name="connsiteX20" fmla="*/ 37624 w 82010"/>
                <a:gd name="connsiteY20" fmla="*/ 48958 h 101060"/>
                <a:gd name="connsiteX21" fmla="*/ 30385 w 82010"/>
                <a:gd name="connsiteY21" fmla="*/ 92773 h 101060"/>
                <a:gd name="connsiteX22" fmla="*/ 48387 w 82010"/>
                <a:gd name="connsiteY22" fmla="*/ 93536 h 101060"/>
                <a:gd name="connsiteX23" fmla="*/ 67246 w 82010"/>
                <a:gd name="connsiteY23" fmla="*/ 92012 h 101060"/>
                <a:gd name="connsiteX24" fmla="*/ 70961 w 82010"/>
                <a:gd name="connsiteY24" fmla="*/ 90011 h 101060"/>
                <a:gd name="connsiteX25" fmla="*/ 76867 w 82010"/>
                <a:gd name="connsiteY25" fmla="*/ 74486 h 101060"/>
                <a:gd name="connsiteX26" fmla="*/ 82010 w 82010"/>
                <a:gd name="connsiteY26" fmla="*/ 74486 h 101060"/>
                <a:gd name="connsiteX27" fmla="*/ 76867 w 82010"/>
                <a:gd name="connsiteY27" fmla="*/ 100489 h 101060"/>
                <a:gd name="connsiteX28" fmla="*/ 68104 w 82010"/>
                <a:gd name="connsiteY28" fmla="*/ 101060 h 101060"/>
                <a:gd name="connsiteX29" fmla="*/ 50959 w 82010"/>
                <a:gd name="connsiteY29" fmla="*/ 100775 h 101060"/>
                <a:gd name="connsiteX30" fmla="*/ 26479 w 82010"/>
                <a:gd name="connsiteY30" fmla="*/ 100298 h 101060"/>
                <a:gd name="connsiteX31" fmla="*/ 0 w 82010"/>
                <a:gd name="connsiteY31" fmla="*/ 101060 h 10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10" h="101060">
                  <a:moveTo>
                    <a:pt x="95" y="100870"/>
                  </a:moveTo>
                  <a:lnTo>
                    <a:pt x="857" y="96393"/>
                  </a:lnTo>
                  <a:cubicBezTo>
                    <a:pt x="6191" y="95060"/>
                    <a:pt x="9049" y="94298"/>
                    <a:pt x="9430" y="94012"/>
                  </a:cubicBezTo>
                  <a:cubicBezTo>
                    <a:pt x="9906" y="93726"/>
                    <a:pt x="10382" y="93154"/>
                    <a:pt x="10668" y="92488"/>
                  </a:cubicBezTo>
                  <a:cubicBezTo>
                    <a:pt x="11240" y="91250"/>
                    <a:pt x="12382" y="86201"/>
                    <a:pt x="14002" y="77438"/>
                  </a:cubicBezTo>
                  <a:cubicBezTo>
                    <a:pt x="18193" y="53340"/>
                    <a:pt x="20669" y="38957"/>
                    <a:pt x="21431" y="34290"/>
                  </a:cubicBezTo>
                  <a:cubicBezTo>
                    <a:pt x="23813" y="18955"/>
                    <a:pt x="25051" y="10573"/>
                    <a:pt x="25051" y="9144"/>
                  </a:cubicBezTo>
                  <a:cubicBezTo>
                    <a:pt x="25051" y="8001"/>
                    <a:pt x="24765" y="7144"/>
                    <a:pt x="24289" y="6667"/>
                  </a:cubicBezTo>
                  <a:cubicBezTo>
                    <a:pt x="23717" y="6191"/>
                    <a:pt x="22669" y="5810"/>
                    <a:pt x="20860" y="5620"/>
                  </a:cubicBezTo>
                  <a:lnTo>
                    <a:pt x="11716" y="4953"/>
                  </a:lnTo>
                  <a:lnTo>
                    <a:pt x="12573" y="0"/>
                  </a:lnTo>
                  <a:cubicBezTo>
                    <a:pt x="15335" y="0"/>
                    <a:pt x="20002" y="95"/>
                    <a:pt x="26670" y="381"/>
                  </a:cubicBezTo>
                  <a:cubicBezTo>
                    <a:pt x="33338" y="667"/>
                    <a:pt x="37909" y="762"/>
                    <a:pt x="40291" y="762"/>
                  </a:cubicBezTo>
                  <a:cubicBezTo>
                    <a:pt x="42863" y="762"/>
                    <a:pt x="45529" y="762"/>
                    <a:pt x="48292" y="571"/>
                  </a:cubicBezTo>
                  <a:lnTo>
                    <a:pt x="60007" y="0"/>
                  </a:lnTo>
                  <a:lnTo>
                    <a:pt x="59246" y="5429"/>
                  </a:lnTo>
                  <a:lnTo>
                    <a:pt x="57626" y="5429"/>
                  </a:lnTo>
                  <a:cubicBezTo>
                    <a:pt x="52102" y="5429"/>
                    <a:pt x="48673" y="5715"/>
                    <a:pt x="47244" y="6477"/>
                  </a:cubicBezTo>
                  <a:cubicBezTo>
                    <a:pt x="46673" y="6763"/>
                    <a:pt x="46196" y="7239"/>
                    <a:pt x="45815" y="7906"/>
                  </a:cubicBezTo>
                  <a:cubicBezTo>
                    <a:pt x="45053" y="9049"/>
                    <a:pt x="44006" y="13240"/>
                    <a:pt x="42672" y="20479"/>
                  </a:cubicBezTo>
                  <a:cubicBezTo>
                    <a:pt x="40957" y="29813"/>
                    <a:pt x="39243" y="39338"/>
                    <a:pt x="37624" y="48958"/>
                  </a:cubicBezTo>
                  <a:lnTo>
                    <a:pt x="30385" y="92773"/>
                  </a:lnTo>
                  <a:cubicBezTo>
                    <a:pt x="37624" y="93250"/>
                    <a:pt x="43720" y="93536"/>
                    <a:pt x="48387" y="93536"/>
                  </a:cubicBezTo>
                  <a:cubicBezTo>
                    <a:pt x="56483" y="93536"/>
                    <a:pt x="62770" y="93059"/>
                    <a:pt x="67246" y="92012"/>
                  </a:cubicBezTo>
                  <a:cubicBezTo>
                    <a:pt x="69056" y="91535"/>
                    <a:pt x="70199" y="90964"/>
                    <a:pt x="70961" y="90011"/>
                  </a:cubicBezTo>
                  <a:cubicBezTo>
                    <a:pt x="71819" y="88773"/>
                    <a:pt x="73819" y="83629"/>
                    <a:pt x="76867" y="74486"/>
                  </a:cubicBezTo>
                  <a:lnTo>
                    <a:pt x="82010" y="74486"/>
                  </a:lnTo>
                  <a:cubicBezTo>
                    <a:pt x="79343" y="85725"/>
                    <a:pt x="77629" y="94393"/>
                    <a:pt x="76867" y="100489"/>
                  </a:cubicBezTo>
                  <a:cubicBezTo>
                    <a:pt x="74200" y="100870"/>
                    <a:pt x="71247" y="101060"/>
                    <a:pt x="68104" y="101060"/>
                  </a:cubicBezTo>
                  <a:cubicBezTo>
                    <a:pt x="64198" y="101060"/>
                    <a:pt x="58579" y="101060"/>
                    <a:pt x="50959" y="100775"/>
                  </a:cubicBezTo>
                  <a:cubicBezTo>
                    <a:pt x="36671" y="100489"/>
                    <a:pt x="28575" y="100298"/>
                    <a:pt x="26479" y="100298"/>
                  </a:cubicBezTo>
                  <a:cubicBezTo>
                    <a:pt x="15145" y="100298"/>
                    <a:pt x="6286" y="100584"/>
                    <a:pt x="0" y="101060"/>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4" name="Freeform: Shape 833">
              <a:extLst>
                <a:ext uri="{FF2B5EF4-FFF2-40B4-BE49-F238E27FC236}">
                  <a16:creationId xmlns:a16="http://schemas.microsoft.com/office/drawing/2014/main" id="{3C29F560-6893-4626-8A6B-A4A9129956C5}"/>
                </a:ext>
              </a:extLst>
            </p:cNvPr>
            <p:cNvSpPr/>
            <p:nvPr/>
          </p:nvSpPr>
          <p:spPr>
            <a:xfrm>
              <a:off x="6990972" y="5636037"/>
              <a:ext cx="52006" cy="84105"/>
            </a:xfrm>
            <a:custGeom>
              <a:avLst/>
              <a:gdLst>
                <a:gd name="connsiteX0" fmla="*/ 95 w 52006"/>
                <a:gd name="connsiteY0" fmla="*/ 84106 h 84105"/>
                <a:gd name="connsiteX1" fmla="*/ 571 w 52006"/>
                <a:gd name="connsiteY1" fmla="*/ 79915 h 84105"/>
                <a:gd name="connsiteX2" fmla="*/ 9144 w 52006"/>
                <a:gd name="connsiteY2" fmla="*/ 79248 h 84105"/>
                <a:gd name="connsiteX3" fmla="*/ 10192 w 52006"/>
                <a:gd name="connsiteY3" fmla="*/ 78677 h 84105"/>
                <a:gd name="connsiteX4" fmla="*/ 11716 w 52006"/>
                <a:gd name="connsiteY4" fmla="*/ 76105 h 84105"/>
                <a:gd name="connsiteX5" fmla="*/ 14764 w 52006"/>
                <a:gd name="connsiteY5" fmla="*/ 60960 h 84105"/>
                <a:gd name="connsiteX6" fmla="*/ 20383 w 52006"/>
                <a:gd name="connsiteY6" fmla="*/ 29146 h 84105"/>
                <a:gd name="connsiteX7" fmla="*/ 23431 w 52006"/>
                <a:gd name="connsiteY7" fmla="*/ 7715 h 84105"/>
                <a:gd name="connsiteX8" fmla="*/ 22669 w 52006"/>
                <a:gd name="connsiteY8" fmla="*/ 5525 h 84105"/>
                <a:gd name="connsiteX9" fmla="*/ 19621 w 52006"/>
                <a:gd name="connsiteY9" fmla="*/ 4572 h 84105"/>
                <a:gd name="connsiteX10" fmla="*/ 12002 w 52006"/>
                <a:gd name="connsiteY10" fmla="*/ 4191 h 84105"/>
                <a:gd name="connsiteX11" fmla="*/ 12668 w 52006"/>
                <a:gd name="connsiteY11" fmla="*/ 0 h 84105"/>
                <a:gd name="connsiteX12" fmla="*/ 30004 w 52006"/>
                <a:gd name="connsiteY12" fmla="*/ 381 h 84105"/>
                <a:gd name="connsiteX13" fmla="*/ 52006 w 52006"/>
                <a:gd name="connsiteY13" fmla="*/ 0 h 84105"/>
                <a:gd name="connsiteX14" fmla="*/ 51340 w 52006"/>
                <a:gd name="connsiteY14" fmla="*/ 4191 h 84105"/>
                <a:gd name="connsiteX15" fmla="*/ 42958 w 52006"/>
                <a:gd name="connsiteY15" fmla="*/ 4667 h 84105"/>
                <a:gd name="connsiteX16" fmla="*/ 41339 w 52006"/>
                <a:gd name="connsiteY16" fmla="*/ 5620 h 84105"/>
                <a:gd name="connsiteX17" fmla="*/ 40196 w 52006"/>
                <a:gd name="connsiteY17" fmla="*/ 7810 h 84105"/>
                <a:gd name="connsiteX18" fmla="*/ 35909 w 52006"/>
                <a:gd name="connsiteY18" fmla="*/ 29146 h 84105"/>
                <a:gd name="connsiteX19" fmla="*/ 30290 w 52006"/>
                <a:gd name="connsiteY19" fmla="*/ 61341 h 84105"/>
                <a:gd name="connsiteX20" fmla="*/ 28289 w 52006"/>
                <a:gd name="connsiteY20" fmla="*/ 76105 h 84105"/>
                <a:gd name="connsiteX21" fmla="*/ 28956 w 52006"/>
                <a:gd name="connsiteY21" fmla="*/ 78296 h 84105"/>
                <a:gd name="connsiteX22" fmla="*/ 31337 w 52006"/>
                <a:gd name="connsiteY22" fmla="*/ 79534 h 84105"/>
                <a:gd name="connsiteX23" fmla="*/ 40196 w 52006"/>
                <a:gd name="connsiteY23" fmla="*/ 79915 h 84105"/>
                <a:gd name="connsiteX24" fmla="*/ 39624 w 52006"/>
                <a:gd name="connsiteY24" fmla="*/ 84106 h 84105"/>
                <a:gd name="connsiteX25" fmla="*/ 20574 w 52006"/>
                <a:gd name="connsiteY25" fmla="*/ 83629 h 84105"/>
                <a:gd name="connsiteX26" fmla="*/ 0 w 52006"/>
                <a:gd name="connsiteY26" fmla="*/ 84106 h 8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006" h="84105">
                  <a:moveTo>
                    <a:pt x="95" y="84106"/>
                  </a:moveTo>
                  <a:lnTo>
                    <a:pt x="571" y="79915"/>
                  </a:lnTo>
                  <a:cubicBezTo>
                    <a:pt x="4286" y="79915"/>
                    <a:pt x="7144" y="79819"/>
                    <a:pt x="9144" y="79248"/>
                  </a:cubicBezTo>
                  <a:cubicBezTo>
                    <a:pt x="9620" y="79153"/>
                    <a:pt x="9906" y="78962"/>
                    <a:pt x="10192" y="78677"/>
                  </a:cubicBezTo>
                  <a:cubicBezTo>
                    <a:pt x="10763" y="78105"/>
                    <a:pt x="11335" y="77248"/>
                    <a:pt x="11716" y="76105"/>
                  </a:cubicBezTo>
                  <a:cubicBezTo>
                    <a:pt x="12097" y="74962"/>
                    <a:pt x="13144" y="69913"/>
                    <a:pt x="14764" y="60960"/>
                  </a:cubicBezTo>
                  <a:lnTo>
                    <a:pt x="20383" y="29146"/>
                  </a:lnTo>
                  <a:cubicBezTo>
                    <a:pt x="22384" y="17431"/>
                    <a:pt x="23431" y="10192"/>
                    <a:pt x="23431" y="7715"/>
                  </a:cubicBezTo>
                  <a:cubicBezTo>
                    <a:pt x="23431" y="6763"/>
                    <a:pt x="23146" y="6001"/>
                    <a:pt x="22669" y="5525"/>
                  </a:cubicBezTo>
                  <a:cubicBezTo>
                    <a:pt x="22098" y="5048"/>
                    <a:pt x="21146" y="4763"/>
                    <a:pt x="19621" y="4572"/>
                  </a:cubicBezTo>
                  <a:cubicBezTo>
                    <a:pt x="18669" y="4572"/>
                    <a:pt x="16192" y="4381"/>
                    <a:pt x="12002" y="4191"/>
                  </a:cubicBezTo>
                  <a:lnTo>
                    <a:pt x="12668" y="0"/>
                  </a:lnTo>
                  <a:cubicBezTo>
                    <a:pt x="18860" y="286"/>
                    <a:pt x="24670" y="381"/>
                    <a:pt x="30004" y="381"/>
                  </a:cubicBezTo>
                  <a:cubicBezTo>
                    <a:pt x="33623" y="381"/>
                    <a:pt x="40958" y="286"/>
                    <a:pt x="52006" y="0"/>
                  </a:cubicBezTo>
                  <a:lnTo>
                    <a:pt x="51340" y="4191"/>
                  </a:lnTo>
                  <a:cubicBezTo>
                    <a:pt x="46768" y="4191"/>
                    <a:pt x="44006" y="4381"/>
                    <a:pt x="42958" y="4667"/>
                  </a:cubicBezTo>
                  <a:cubicBezTo>
                    <a:pt x="42386" y="4858"/>
                    <a:pt x="41815" y="5239"/>
                    <a:pt x="41339" y="5620"/>
                  </a:cubicBezTo>
                  <a:cubicBezTo>
                    <a:pt x="40862" y="6096"/>
                    <a:pt x="40481" y="6763"/>
                    <a:pt x="40196" y="7810"/>
                  </a:cubicBezTo>
                  <a:cubicBezTo>
                    <a:pt x="39433" y="9906"/>
                    <a:pt x="38005" y="17050"/>
                    <a:pt x="35909" y="29146"/>
                  </a:cubicBezTo>
                  <a:cubicBezTo>
                    <a:pt x="33147" y="44672"/>
                    <a:pt x="31337" y="55435"/>
                    <a:pt x="30290" y="61341"/>
                  </a:cubicBezTo>
                  <a:cubicBezTo>
                    <a:pt x="28956" y="69247"/>
                    <a:pt x="28289" y="74104"/>
                    <a:pt x="28289" y="76105"/>
                  </a:cubicBezTo>
                  <a:cubicBezTo>
                    <a:pt x="28289" y="77057"/>
                    <a:pt x="28480" y="77724"/>
                    <a:pt x="28956" y="78296"/>
                  </a:cubicBezTo>
                  <a:cubicBezTo>
                    <a:pt x="29337" y="78772"/>
                    <a:pt x="30194" y="79248"/>
                    <a:pt x="31337" y="79534"/>
                  </a:cubicBezTo>
                  <a:cubicBezTo>
                    <a:pt x="32480" y="79819"/>
                    <a:pt x="35433" y="79915"/>
                    <a:pt x="40196" y="79915"/>
                  </a:cubicBezTo>
                  <a:lnTo>
                    <a:pt x="39624" y="84106"/>
                  </a:lnTo>
                  <a:cubicBezTo>
                    <a:pt x="29813" y="83820"/>
                    <a:pt x="23527" y="83629"/>
                    <a:pt x="20574" y="83629"/>
                  </a:cubicBezTo>
                  <a:cubicBezTo>
                    <a:pt x="18574" y="83629"/>
                    <a:pt x="11716" y="83820"/>
                    <a:pt x="0" y="84106"/>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5" name="Freeform: Shape 834">
              <a:extLst>
                <a:ext uri="{FF2B5EF4-FFF2-40B4-BE49-F238E27FC236}">
                  <a16:creationId xmlns:a16="http://schemas.microsoft.com/office/drawing/2014/main" id="{FC19EC58-4174-475A-AE10-B4F3EFAF3944}"/>
                </a:ext>
              </a:extLst>
            </p:cNvPr>
            <p:cNvSpPr/>
            <p:nvPr/>
          </p:nvSpPr>
          <p:spPr>
            <a:xfrm>
              <a:off x="7046122" y="5634799"/>
              <a:ext cx="83248" cy="87534"/>
            </a:xfrm>
            <a:custGeom>
              <a:avLst/>
              <a:gdLst>
                <a:gd name="connsiteX0" fmla="*/ 71152 w 83248"/>
                <a:gd name="connsiteY0" fmla="*/ 79343 h 87534"/>
                <a:gd name="connsiteX1" fmla="*/ 70771 w 83248"/>
                <a:gd name="connsiteY1" fmla="*/ 79820 h 87534"/>
                <a:gd name="connsiteX2" fmla="*/ 61055 w 83248"/>
                <a:gd name="connsiteY2" fmla="*/ 82582 h 87534"/>
                <a:gd name="connsiteX3" fmla="*/ 47149 w 83248"/>
                <a:gd name="connsiteY3" fmla="*/ 86487 h 87534"/>
                <a:gd name="connsiteX4" fmla="*/ 35623 w 83248"/>
                <a:gd name="connsiteY4" fmla="*/ 87535 h 87534"/>
                <a:gd name="connsiteX5" fmla="*/ 9144 w 83248"/>
                <a:gd name="connsiteY5" fmla="*/ 78772 h 87534"/>
                <a:gd name="connsiteX6" fmla="*/ 0 w 83248"/>
                <a:gd name="connsiteY6" fmla="*/ 54674 h 87534"/>
                <a:gd name="connsiteX7" fmla="*/ 3715 w 83248"/>
                <a:gd name="connsiteY7" fmla="*/ 35528 h 87534"/>
                <a:gd name="connsiteX8" fmla="*/ 12763 w 83248"/>
                <a:gd name="connsiteY8" fmla="*/ 20479 h 87534"/>
                <a:gd name="connsiteX9" fmla="*/ 24479 w 83248"/>
                <a:gd name="connsiteY9" fmla="*/ 9811 h 87534"/>
                <a:gd name="connsiteX10" fmla="*/ 38290 w 83248"/>
                <a:gd name="connsiteY10" fmla="*/ 2762 h 87534"/>
                <a:gd name="connsiteX11" fmla="*/ 54959 w 83248"/>
                <a:gd name="connsiteY11" fmla="*/ 0 h 87534"/>
                <a:gd name="connsiteX12" fmla="*/ 69056 w 83248"/>
                <a:gd name="connsiteY12" fmla="*/ 1619 h 87534"/>
                <a:gd name="connsiteX13" fmla="*/ 79629 w 83248"/>
                <a:gd name="connsiteY13" fmla="*/ 5525 h 87534"/>
                <a:gd name="connsiteX14" fmla="*/ 80105 w 83248"/>
                <a:gd name="connsiteY14" fmla="*/ 6382 h 87534"/>
                <a:gd name="connsiteX15" fmla="*/ 76581 w 83248"/>
                <a:gd name="connsiteY15" fmla="*/ 19526 h 87534"/>
                <a:gd name="connsiteX16" fmla="*/ 75438 w 83248"/>
                <a:gd name="connsiteY16" fmla="*/ 26099 h 87534"/>
                <a:gd name="connsiteX17" fmla="*/ 71152 w 83248"/>
                <a:gd name="connsiteY17" fmla="*/ 26099 h 87534"/>
                <a:gd name="connsiteX18" fmla="*/ 71723 w 83248"/>
                <a:gd name="connsiteY18" fmla="*/ 14288 h 87534"/>
                <a:gd name="connsiteX19" fmla="*/ 63341 w 83248"/>
                <a:gd name="connsiteY19" fmla="*/ 9525 h 87534"/>
                <a:gd name="connsiteX20" fmla="*/ 50483 w 83248"/>
                <a:gd name="connsiteY20" fmla="*/ 7525 h 87534"/>
                <a:gd name="connsiteX21" fmla="*/ 38195 w 83248"/>
                <a:gd name="connsiteY21" fmla="*/ 9335 h 87534"/>
                <a:gd name="connsiteX22" fmla="*/ 29813 w 83248"/>
                <a:gd name="connsiteY22" fmla="*/ 14383 h 87534"/>
                <a:gd name="connsiteX23" fmla="*/ 23813 w 83248"/>
                <a:gd name="connsiteY23" fmla="*/ 22384 h 87534"/>
                <a:gd name="connsiteX24" fmla="*/ 18764 w 83248"/>
                <a:gd name="connsiteY24" fmla="*/ 35052 h 87534"/>
                <a:gd name="connsiteX25" fmla="*/ 16764 w 83248"/>
                <a:gd name="connsiteY25" fmla="*/ 54007 h 87534"/>
                <a:gd name="connsiteX26" fmla="*/ 23050 w 83248"/>
                <a:gd name="connsiteY26" fmla="*/ 74581 h 87534"/>
                <a:gd name="connsiteX27" fmla="*/ 40291 w 83248"/>
                <a:gd name="connsiteY27" fmla="*/ 81344 h 87534"/>
                <a:gd name="connsiteX28" fmla="*/ 54673 w 83248"/>
                <a:gd name="connsiteY28" fmla="*/ 77915 h 87534"/>
                <a:gd name="connsiteX29" fmla="*/ 56960 w 83248"/>
                <a:gd name="connsiteY29" fmla="*/ 68675 h 87534"/>
                <a:gd name="connsiteX30" fmla="*/ 58388 w 83248"/>
                <a:gd name="connsiteY30" fmla="*/ 61151 h 87534"/>
                <a:gd name="connsiteX31" fmla="*/ 58865 w 83248"/>
                <a:gd name="connsiteY31" fmla="*/ 57341 h 87534"/>
                <a:gd name="connsiteX32" fmla="*/ 58293 w 83248"/>
                <a:gd name="connsiteY32" fmla="*/ 55721 h 87534"/>
                <a:gd name="connsiteX33" fmla="*/ 56483 w 83248"/>
                <a:gd name="connsiteY33" fmla="*/ 54769 h 87534"/>
                <a:gd name="connsiteX34" fmla="*/ 46196 w 83248"/>
                <a:gd name="connsiteY34" fmla="*/ 54293 h 87534"/>
                <a:gd name="connsiteX35" fmla="*/ 46958 w 83248"/>
                <a:gd name="connsiteY35" fmla="*/ 50102 h 87534"/>
                <a:gd name="connsiteX36" fmla="*/ 64198 w 83248"/>
                <a:gd name="connsiteY36" fmla="*/ 50483 h 87534"/>
                <a:gd name="connsiteX37" fmla="*/ 83248 w 83248"/>
                <a:gd name="connsiteY37" fmla="*/ 50102 h 87534"/>
                <a:gd name="connsiteX38" fmla="*/ 82582 w 83248"/>
                <a:gd name="connsiteY38" fmla="*/ 54293 h 87534"/>
                <a:gd name="connsiteX39" fmla="*/ 77248 w 83248"/>
                <a:gd name="connsiteY39" fmla="*/ 54959 h 87534"/>
                <a:gd name="connsiteX40" fmla="*/ 75057 w 83248"/>
                <a:gd name="connsiteY40" fmla="*/ 56674 h 87534"/>
                <a:gd name="connsiteX41" fmla="*/ 73247 w 83248"/>
                <a:gd name="connsiteY41" fmla="*/ 62770 h 87534"/>
                <a:gd name="connsiteX42" fmla="*/ 72200 w 83248"/>
                <a:gd name="connsiteY42" fmla="*/ 67913 h 87534"/>
                <a:gd name="connsiteX43" fmla="*/ 70961 w 83248"/>
                <a:gd name="connsiteY43" fmla="*/ 74009 h 87534"/>
                <a:gd name="connsiteX44" fmla="*/ 70771 w 83248"/>
                <a:gd name="connsiteY44" fmla="*/ 76772 h 87534"/>
                <a:gd name="connsiteX45" fmla="*/ 71152 w 83248"/>
                <a:gd name="connsiteY45" fmla="*/ 79248 h 8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3248" h="87534">
                  <a:moveTo>
                    <a:pt x="71152" y="79343"/>
                  </a:moveTo>
                  <a:lnTo>
                    <a:pt x="70771" y="79820"/>
                  </a:lnTo>
                  <a:cubicBezTo>
                    <a:pt x="68485" y="80296"/>
                    <a:pt x="65342" y="81153"/>
                    <a:pt x="61055" y="82582"/>
                  </a:cubicBezTo>
                  <a:cubicBezTo>
                    <a:pt x="55531" y="84487"/>
                    <a:pt x="50863" y="85725"/>
                    <a:pt x="47149" y="86487"/>
                  </a:cubicBezTo>
                  <a:cubicBezTo>
                    <a:pt x="43434" y="87154"/>
                    <a:pt x="39624" y="87535"/>
                    <a:pt x="35623" y="87535"/>
                  </a:cubicBezTo>
                  <a:cubicBezTo>
                    <a:pt x="24098" y="87535"/>
                    <a:pt x="15240" y="84582"/>
                    <a:pt x="9144" y="78772"/>
                  </a:cubicBezTo>
                  <a:cubicBezTo>
                    <a:pt x="3048" y="72962"/>
                    <a:pt x="0" y="64960"/>
                    <a:pt x="0" y="54674"/>
                  </a:cubicBezTo>
                  <a:cubicBezTo>
                    <a:pt x="0" y="47530"/>
                    <a:pt x="1238" y="41148"/>
                    <a:pt x="3715" y="35528"/>
                  </a:cubicBezTo>
                  <a:cubicBezTo>
                    <a:pt x="6191" y="29813"/>
                    <a:pt x="9239" y="24765"/>
                    <a:pt x="12763" y="20479"/>
                  </a:cubicBezTo>
                  <a:cubicBezTo>
                    <a:pt x="16288" y="16097"/>
                    <a:pt x="20193" y="12573"/>
                    <a:pt x="24479" y="9811"/>
                  </a:cubicBezTo>
                  <a:cubicBezTo>
                    <a:pt x="28765" y="7049"/>
                    <a:pt x="33433" y="4667"/>
                    <a:pt x="38290" y="2762"/>
                  </a:cubicBezTo>
                  <a:cubicBezTo>
                    <a:pt x="43625" y="953"/>
                    <a:pt x="49149" y="0"/>
                    <a:pt x="54959" y="0"/>
                  </a:cubicBezTo>
                  <a:cubicBezTo>
                    <a:pt x="59817" y="0"/>
                    <a:pt x="64484" y="572"/>
                    <a:pt x="69056" y="1619"/>
                  </a:cubicBezTo>
                  <a:cubicBezTo>
                    <a:pt x="73628" y="2667"/>
                    <a:pt x="77152" y="4001"/>
                    <a:pt x="79629" y="5525"/>
                  </a:cubicBezTo>
                  <a:lnTo>
                    <a:pt x="80105" y="6382"/>
                  </a:lnTo>
                  <a:cubicBezTo>
                    <a:pt x="77819" y="14573"/>
                    <a:pt x="76676" y="18955"/>
                    <a:pt x="76581" y="19526"/>
                  </a:cubicBezTo>
                  <a:cubicBezTo>
                    <a:pt x="76200" y="21527"/>
                    <a:pt x="75724" y="23717"/>
                    <a:pt x="75438" y="26099"/>
                  </a:cubicBezTo>
                  <a:lnTo>
                    <a:pt x="71152" y="26099"/>
                  </a:lnTo>
                  <a:cubicBezTo>
                    <a:pt x="71438" y="21812"/>
                    <a:pt x="71628" y="17907"/>
                    <a:pt x="71723" y="14288"/>
                  </a:cubicBezTo>
                  <a:cubicBezTo>
                    <a:pt x="68771" y="12097"/>
                    <a:pt x="66008" y="10478"/>
                    <a:pt x="63341" y="9525"/>
                  </a:cubicBezTo>
                  <a:cubicBezTo>
                    <a:pt x="59531" y="8192"/>
                    <a:pt x="55245" y="7525"/>
                    <a:pt x="50483" y="7525"/>
                  </a:cubicBezTo>
                  <a:cubicBezTo>
                    <a:pt x="45720" y="7525"/>
                    <a:pt x="41529" y="8096"/>
                    <a:pt x="38195" y="9335"/>
                  </a:cubicBezTo>
                  <a:cubicBezTo>
                    <a:pt x="34861" y="10573"/>
                    <a:pt x="32004" y="12287"/>
                    <a:pt x="29813" y="14383"/>
                  </a:cubicBezTo>
                  <a:cubicBezTo>
                    <a:pt x="27623" y="16478"/>
                    <a:pt x="25622" y="19145"/>
                    <a:pt x="23813" y="22384"/>
                  </a:cubicBezTo>
                  <a:cubicBezTo>
                    <a:pt x="22003" y="25622"/>
                    <a:pt x="20383" y="29813"/>
                    <a:pt x="18764" y="35052"/>
                  </a:cubicBezTo>
                  <a:cubicBezTo>
                    <a:pt x="17431" y="41339"/>
                    <a:pt x="16764" y="47720"/>
                    <a:pt x="16764" y="54007"/>
                  </a:cubicBezTo>
                  <a:cubicBezTo>
                    <a:pt x="16764" y="63246"/>
                    <a:pt x="18860" y="70104"/>
                    <a:pt x="23050" y="74581"/>
                  </a:cubicBezTo>
                  <a:cubicBezTo>
                    <a:pt x="27242" y="79058"/>
                    <a:pt x="32956" y="81344"/>
                    <a:pt x="40291" y="81344"/>
                  </a:cubicBezTo>
                  <a:cubicBezTo>
                    <a:pt x="45815" y="81344"/>
                    <a:pt x="50578" y="80201"/>
                    <a:pt x="54673" y="77915"/>
                  </a:cubicBezTo>
                  <a:lnTo>
                    <a:pt x="56960" y="68675"/>
                  </a:lnTo>
                  <a:cubicBezTo>
                    <a:pt x="57340" y="66961"/>
                    <a:pt x="57817" y="64484"/>
                    <a:pt x="58388" y="61151"/>
                  </a:cubicBezTo>
                  <a:cubicBezTo>
                    <a:pt x="58674" y="59246"/>
                    <a:pt x="58865" y="57912"/>
                    <a:pt x="58865" y="57341"/>
                  </a:cubicBezTo>
                  <a:cubicBezTo>
                    <a:pt x="58865" y="56674"/>
                    <a:pt x="58674" y="56102"/>
                    <a:pt x="58293" y="55721"/>
                  </a:cubicBezTo>
                  <a:cubicBezTo>
                    <a:pt x="57912" y="55245"/>
                    <a:pt x="57340" y="54959"/>
                    <a:pt x="56483" y="54769"/>
                  </a:cubicBezTo>
                  <a:cubicBezTo>
                    <a:pt x="55245" y="54578"/>
                    <a:pt x="51721" y="54388"/>
                    <a:pt x="46196" y="54293"/>
                  </a:cubicBezTo>
                  <a:lnTo>
                    <a:pt x="46958" y="50102"/>
                  </a:lnTo>
                  <a:cubicBezTo>
                    <a:pt x="54197" y="50387"/>
                    <a:pt x="59912" y="50483"/>
                    <a:pt x="64198" y="50483"/>
                  </a:cubicBezTo>
                  <a:cubicBezTo>
                    <a:pt x="67342" y="50483"/>
                    <a:pt x="73723" y="50387"/>
                    <a:pt x="83248" y="50102"/>
                  </a:cubicBezTo>
                  <a:lnTo>
                    <a:pt x="82582" y="54293"/>
                  </a:lnTo>
                  <a:cubicBezTo>
                    <a:pt x="80010" y="54293"/>
                    <a:pt x="78200" y="54578"/>
                    <a:pt x="77248" y="54959"/>
                  </a:cubicBezTo>
                  <a:cubicBezTo>
                    <a:pt x="76295" y="55340"/>
                    <a:pt x="75533" y="55912"/>
                    <a:pt x="75057" y="56674"/>
                  </a:cubicBezTo>
                  <a:cubicBezTo>
                    <a:pt x="74581" y="57436"/>
                    <a:pt x="74009" y="59531"/>
                    <a:pt x="73247" y="62770"/>
                  </a:cubicBezTo>
                  <a:lnTo>
                    <a:pt x="72200" y="67913"/>
                  </a:lnTo>
                  <a:cubicBezTo>
                    <a:pt x="71533" y="71057"/>
                    <a:pt x="71152" y="73152"/>
                    <a:pt x="70961" y="74009"/>
                  </a:cubicBezTo>
                  <a:cubicBezTo>
                    <a:pt x="70866" y="74962"/>
                    <a:pt x="70771" y="75819"/>
                    <a:pt x="70771" y="76772"/>
                  </a:cubicBezTo>
                  <a:cubicBezTo>
                    <a:pt x="70771" y="77534"/>
                    <a:pt x="70866" y="78296"/>
                    <a:pt x="71152" y="79248"/>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6" name="Freeform: Shape 835">
              <a:extLst>
                <a:ext uri="{FF2B5EF4-FFF2-40B4-BE49-F238E27FC236}">
                  <a16:creationId xmlns:a16="http://schemas.microsoft.com/office/drawing/2014/main" id="{7949FB42-E4A8-4EC7-A2A7-F494B401B945}"/>
                </a:ext>
              </a:extLst>
            </p:cNvPr>
            <p:cNvSpPr/>
            <p:nvPr/>
          </p:nvSpPr>
          <p:spPr>
            <a:xfrm>
              <a:off x="7128322" y="5635942"/>
              <a:ext cx="103346" cy="84201"/>
            </a:xfrm>
            <a:custGeom>
              <a:avLst/>
              <a:gdLst>
                <a:gd name="connsiteX0" fmla="*/ 86297 w 103346"/>
                <a:gd name="connsiteY0" fmla="*/ 571 h 84201"/>
                <a:gd name="connsiteX1" fmla="*/ 103346 w 103346"/>
                <a:gd name="connsiteY1" fmla="*/ 95 h 84201"/>
                <a:gd name="connsiteX2" fmla="*/ 102679 w 103346"/>
                <a:gd name="connsiteY2" fmla="*/ 4572 h 84201"/>
                <a:gd name="connsiteX3" fmla="*/ 100775 w 103346"/>
                <a:gd name="connsiteY3" fmla="*/ 4572 h 84201"/>
                <a:gd name="connsiteX4" fmla="*/ 93821 w 103346"/>
                <a:gd name="connsiteY4" fmla="*/ 5334 h 84201"/>
                <a:gd name="connsiteX5" fmla="*/ 92774 w 103346"/>
                <a:gd name="connsiteY5" fmla="*/ 6191 h 84201"/>
                <a:gd name="connsiteX6" fmla="*/ 91535 w 103346"/>
                <a:gd name="connsiteY6" fmla="*/ 9239 h 84201"/>
                <a:gd name="connsiteX7" fmla="*/ 86773 w 103346"/>
                <a:gd name="connsiteY7" fmla="*/ 33909 h 84201"/>
                <a:gd name="connsiteX8" fmla="*/ 82296 w 103346"/>
                <a:gd name="connsiteY8" fmla="*/ 58865 h 84201"/>
                <a:gd name="connsiteX9" fmla="*/ 79629 w 103346"/>
                <a:gd name="connsiteY9" fmla="*/ 76581 h 84201"/>
                <a:gd name="connsiteX10" fmla="*/ 81534 w 103346"/>
                <a:gd name="connsiteY10" fmla="*/ 79058 h 84201"/>
                <a:gd name="connsiteX11" fmla="*/ 91059 w 103346"/>
                <a:gd name="connsiteY11" fmla="*/ 80010 h 84201"/>
                <a:gd name="connsiteX12" fmla="*/ 90297 w 103346"/>
                <a:gd name="connsiteY12" fmla="*/ 84201 h 84201"/>
                <a:gd name="connsiteX13" fmla="*/ 70009 w 103346"/>
                <a:gd name="connsiteY13" fmla="*/ 83725 h 84201"/>
                <a:gd name="connsiteX14" fmla="*/ 51530 w 103346"/>
                <a:gd name="connsiteY14" fmla="*/ 84201 h 84201"/>
                <a:gd name="connsiteX15" fmla="*/ 52197 w 103346"/>
                <a:gd name="connsiteY15" fmla="*/ 80010 h 84201"/>
                <a:gd name="connsiteX16" fmla="*/ 60865 w 103346"/>
                <a:gd name="connsiteY16" fmla="*/ 79248 h 84201"/>
                <a:gd name="connsiteX17" fmla="*/ 62008 w 103346"/>
                <a:gd name="connsiteY17" fmla="*/ 78486 h 84201"/>
                <a:gd name="connsiteX18" fmla="*/ 63341 w 103346"/>
                <a:gd name="connsiteY18" fmla="*/ 74867 h 84201"/>
                <a:gd name="connsiteX19" fmla="*/ 66008 w 103346"/>
                <a:gd name="connsiteY19" fmla="*/ 61817 h 84201"/>
                <a:gd name="connsiteX20" fmla="*/ 69628 w 103346"/>
                <a:gd name="connsiteY20" fmla="*/ 42481 h 84201"/>
                <a:gd name="connsiteX21" fmla="*/ 33909 w 103346"/>
                <a:gd name="connsiteY21" fmla="*/ 42481 h 84201"/>
                <a:gd name="connsiteX22" fmla="*/ 32290 w 103346"/>
                <a:gd name="connsiteY22" fmla="*/ 52769 h 84201"/>
                <a:gd name="connsiteX23" fmla="*/ 29813 w 103346"/>
                <a:gd name="connsiteY23" fmla="*/ 68199 h 84201"/>
                <a:gd name="connsiteX24" fmla="*/ 28766 w 103346"/>
                <a:gd name="connsiteY24" fmla="*/ 74390 h 84201"/>
                <a:gd name="connsiteX25" fmla="*/ 28575 w 103346"/>
                <a:gd name="connsiteY25" fmla="*/ 76105 h 84201"/>
                <a:gd name="connsiteX26" fmla="*/ 29337 w 103346"/>
                <a:gd name="connsiteY26" fmla="*/ 78200 h 84201"/>
                <a:gd name="connsiteX27" fmla="*/ 31433 w 103346"/>
                <a:gd name="connsiteY27" fmla="*/ 79439 h 84201"/>
                <a:gd name="connsiteX28" fmla="*/ 39529 w 103346"/>
                <a:gd name="connsiteY28" fmla="*/ 80010 h 84201"/>
                <a:gd name="connsiteX29" fmla="*/ 38767 w 103346"/>
                <a:gd name="connsiteY29" fmla="*/ 84201 h 84201"/>
                <a:gd name="connsiteX30" fmla="*/ 18479 w 103346"/>
                <a:gd name="connsiteY30" fmla="*/ 83725 h 84201"/>
                <a:gd name="connsiteX31" fmla="*/ 0 w 103346"/>
                <a:gd name="connsiteY31" fmla="*/ 84201 h 84201"/>
                <a:gd name="connsiteX32" fmla="*/ 667 w 103346"/>
                <a:gd name="connsiteY32" fmla="*/ 80010 h 84201"/>
                <a:gd name="connsiteX33" fmla="*/ 10382 w 103346"/>
                <a:gd name="connsiteY33" fmla="*/ 78772 h 84201"/>
                <a:gd name="connsiteX34" fmla="*/ 11621 w 103346"/>
                <a:gd name="connsiteY34" fmla="*/ 77343 h 84201"/>
                <a:gd name="connsiteX35" fmla="*/ 14764 w 103346"/>
                <a:gd name="connsiteY35" fmla="*/ 63722 h 84201"/>
                <a:gd name="connsiteX36" fmla="*/ 19907 w 103346"/>
                <a:gd name="connsiteY36" fmla="*/ 34576 h 84201"/>
                <a:gd name="connsiteX37" fmla="*/ 24003 w 103346"/>
                <a:gd name="connsiteY37" fmla="*/ 8001 h 84201"/>
                <a:gd name="connsiteX38" fmla="*/ 23527 w 103346"/>
                <a:gd name="connsiteY38" fmla="*/ 6096 h 84201"/>
                <a:gd name="connsiteX39" fmla="*/ 22003 w 103346"/>
                <a:gd name="connsiteY39" fmla="*/ 5144 h 84201"/>
                <a:gd name="connsiteX40" fmla="*/ 17145 w 103346"/>
                <a:gd name="connsiteY40" fmla="*/ 4667 h 84201"/>
                <a:gd name="connsiteX41" fmla="*/ 12954 w 103346"/>
                <a:gd name="connsiteY41" fmla="*/ 4667 h 84201"/>
                <a:gd name="connsiteX42" fmla="*/ 13716 w 103346"/>
                <a:gd name="connsiteY42" fmla="*/ 191 h 84201"/>
                <a:gd name="connsiteX43" fmla="*/ 14383 w 103346"/>
                <a:gd name="connsiteY43" fmla="*/ 191 h 84201"/>
                <a:gd name="connsiteX44" fmla="*/ 34957 w 103346"/>
                <a:gd name="connsiteY44" fmla="*/ 667 h 84201"/>
                <a:gd name="connsiteX45" fmla="*/ 52006 w 103346"/>
                <a:gd name="connsiteY45" fmla="*/ 191 h 84201"/>
                <a:gd name="connsiteX46" fmla="*/ 51340 w 103346"/>
                <a:gd name="connsiteY46" fmla="*/ 4667 h 84201"/>
                <a:gd name="connsiteX47" fmla="*/ 49625 w 103346"/>
                <a:gd name="connsiteY47" fmla="*/ 4667 h 84201"/>
                <a:gd name="connsiteX48" fmla="*/ 43053 w 103346"/>
                <a:gd name="connsiteY48" fmla="*/ 5048 h 84201"/>
                <a:gd name="connsiteX49" fmla="*/ 41815 w 103346"/>
                <a:gd name="connsiteY49" fmla="*/ 5620 h 84201"/>
                <a:gd name="connsiteX50" fmla="*/ 40862 w 103346"/>
                <a:gd name="connsiteY50" fmla="*/ 7429 h 84201"/>
                <a:gd name="connsiteX51" fmla="*/ 38291 w 103346"/>
                <a:gd name="connsiteY51" fmla="*/ 19050 h 84201"/>
                <a:gd name="connsiteX52" fmla="*/ 34957 w 103346"/>
                <a:gd name="connsiteY52" fmla="*/ 36671 h 84201"/>
                <a:gd name="connsiteX53" fmla="*/ 52959 w 103346"/>
                <a:gd name="connsiteY53" fmla="*/ 37148 h 84201"/>
                <a:gd name="connsiteX54" fmla="*/ 70580 w 103346"/>
                <a:gd name="connsiteY54" fmla="*/ 36671 h 84201"/>
                <a:gd name="connsiteX55" fmla="*/ 72485 w 103346"/>
                <a:gd name="connsiteY55" fmla="*/ 25146 h 84201"/>
                <a:gd name="connsiteX56" fmla="*/ 74009 w 103346"/>
                <a:gd name="connsiteY56" fmla="*/ 14669 h 84201"/>
                <a:gd name="connsiteX57" fmla="*/ 74581 w 103346"/>
                <a:gd name="connsiteY57" fmla="*/ 10382 h 84201"/>
                <a:gd name="connsiteX58" fmla="*/ 74581 w 103346"/>
                <a:gd name="connsiteY58" fmla="*/ 7906 h 84201"/>
                <a:gd name="connsiteX59" fmla="*/ 74104 w 103346"/>
                <a:gd name="connsiteY59" fmla="*/ 6096 h 84201"/>
                <a:gd name="connsiteX60" fmla="*/ 72390 w 103346"/>
                <a:gd name="connsiteY60" fmla="*/ 5239 h 84201"/>
                <a:gd name="connsiteX61" fmla="*/ 63913 w 103346"/>
                <a:gd name="connsiteY61" fmla="*/ 4477 h 84201"/>
                <a:gd name="connsiteX62" fmla="*/ 64675 w 103346"/>
                <a:gd name="connsiteY62" fmla="*/ 0 h 84201"/>
                <a:gd name="connsiteX63" fmla="*/ 65437 w 103346"/>
                <a:gd name="connsiteY63" fmla="*/ 0 h 84201"/>
                <a:gd name="connsiteX64" fmla="*/ 86011 w 103346"/>
                <a:gd name="connsiteY64" fmla="*/ 476 h 8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3346" h="84201">
                  <a:moveTo>
                    <a:pt x="86297" y="571"/>
                  </a:moveTo>
                  <a:lnTo>
                    <a:pt x="103346" y="95"/>
                  </a:lnTo>
                  <a:lnTo>
                    <a:pt x="102679" y="4572"/>
                  </a:lnTo>
                  <a:lnTo>
                    <a:pt x="100775" y="4572"/>
                  </a:lnTo>
                  <a:cubicBezTo>
                    <a:pt x="97536" y="4572"/>
                    <a:pt x="95155" y="4763"/>
                    <a:pt x="93821" y="5334"/>
                  </a:cubicBezTo>
                  <a:cubicBezTo>
                    <a:pt x="93345" y="5525"/>
                    <a:pt x="93059" y="5810"/>
                    <a:pt x="92774" y="6191"/>
                  </a:cubicBezTo>
                  <a:cubicBezTo>
                    <a:pt x="92297" y="6763"/>
                    <a:pt x="91916" y="7810"/>
                    <a:pt x="91535" y="9239"/>
                  </a:cubicBezTo>
                  <a:cubicBezTo>
                    <a:pt x="90773" y="12478"/>
                    <a:pt x="89154" y="20765"/>
                    <a:pt x="86773" y="33909"/>
                  </a:cubicBezTo>
                  <a:cubicBezTo>
                    <a:pt x="84677" y="45434"/>
                    <a:pt x="83153" y="53721"/>
                    <a:pt x="82296" y="58865"/>
                  </a:cubicBezTo>
                  <a:cubicBezTo>
                    <a:pt x="80581" y="69437"/>
                    <a:pt x="79629" y="75343"/>
                    <a:pt x="79629" y="76581"/>
                  </a:cubicBezTo>
                  <a:cubicBezTo>
                    <a:pt x="79629" y="77724"/>
                    <a:pt x="80296" y="78581"/>
                    <a:pt x="81534" y="79058"/>
                  </a:cubicBezTo>
                  <a:cubicBezTo>
                    <a:pt x="82772" y="79534"/>
                    <a:pt x="85916" y="79819"/>
                    <a:pt x="91059" y="80010"/>
                  </a:cubicBezTo>
                  <a:lnTo>
                    <a:pt x="90297" y="84201"/>
                  </a:lnTo>
                  <a:cubicBezTo>
                    <a:pt x="84582" y="83915"/>
                    <a:pt x="77819" y="83725"/>
                    <a:pt x="70009" y="83725"/>
                  </a:cubicBezTo>
                  <a:cubicBezTo>
                    <a:pt x="62770" y="83725"/>
                    <a:pt x="56579" y="83915"/>
                    <a:pt x="51530" y="84201"/>
                  </a:cubicBezTo>
                  <a:lnTo>
                    <a:pt x="52197" y="80010"/>
                  </a:lnTo>
                  <a:cubicBezTo>
                    <a:pt x="56769" y="80010"/>
                    <a:pt x="59627" y="79724"/>
                    <a:pt x="60865" y="79248"/>
                  </a:cubicBezTo>
                  <a:cubicBezTo>
                    <a:pt x="61436" y="79058"/>
                    <a:pt x="61817" y="78772"/>
                    <a:pt x="62008" y="78486"/>
                  </a:cubicBezTo>
                  <a:cubicBezTo>
                    <a:pt x="62389" y="78010"/>
                    <a:pt x="62865" y="76771"/>
                    <a:pt x="63341" y="74867"/>
                  </a:cubicBezTo>
                  <a:cubicBezTo>
                    <a:pt x="63532" y="74295"/>
                    <a:pt x="64389" y="69914"/>
                    <a:pt x="66008" y="61817"/>
                  </a:cubicBezTo>
                  <a:cubicBezTo>
                    <a:pt x="68008" y="51721"/>
                    <a:pt x="69247" y="45244"/>
                    <a:pt x="69628" y="42481"/>
                  </a:cubicBezTo>
                  <a:lnTo>
                    <a:pt x="33909" y="42481"/>
                  </a:lnTo>
                  <a:cubicBezTo>
                    <a:pt x="33528" y="45148"/>
                    <a:pt x="33052" y="48577"/>
                    <a:pt x="32290" y="52769"/>
                  </a:cubicBezTo>
                  <a:cubicBezTo>
                    <a:pt x="31528" y="56960"/>
                    <a:pt x="30766" y="62103"/>
                    <a:pt x="29813" y="68199"/>
                  </a:cubicBezTo>
                  <a:lnTo>
                    <a:pt x="28766" y="74390"/>
                  </a:lnTo>
                  <a:cubicBezTo>
                    <a:pt x="28670" y="75057"/>
                    <a:pt x="28575" y="75629"/>
                    <a:pt x="28575" y="76105"/>
                  </a:cubicBezTo>
                  <a:cubicBezTo>
                    <a:pt x="28575" y="76867"/>
                    <a:pt x="28766" y="77533"/>
                    <a:pt x="29337" y="78200"/>
                  </a:cubicBezTo>
                  <a:cubicBezTo>
                    <a:pt x="29813" y="78772"/>
                    <a:pt x="30575" y="79248"/>
                    <a:pt x="31433" y="79439"/>
                  </a:cubicBezTo>
                  <a:cubicBezTo>
                    <a:pt x="32290" y="79629"/>
                    <a:pt x="35052" y="79819"/>
                    <a:pt x="39529" y="80010"/>
                  </a:cubicBezTo>
                  <a:lnTo>
                    <a:pt x="38767" y="84201"/>
                  </a:lnTo>
                  <a:cubicBezTo>
                    <a:pt x="33052" y="83915"/>
                    <a:pt x="26289" y="83725"/>
                    <a:pt x="18479" y="83725"/>
                  </a:cubicBezTo>
                  <a:cubicBezTo>
                    <a:pt x="11240" y="83725"/>
                    <a:pt x="5048" y="83915"/>
                    <a:pt x="0" y="84201"/>
                  </a:cubicBezTo>
                  <a:lnTo>
                    <a:pt x="667" y="80010"/>
                  </a:lnTo>
                  <a:cubicBezTo>
                    <a:pt x="6382" y="79629"/>
                    <a:pt x="9620" y="79248"/>
                    <a:pt x="10382" y="78772"/>
                  </a:cubicBezTo>
                  <a:cubicBezTo>
                    <a:pt x="10858" y="78486"/>
                    <a:pt x="11335" y="78010"/>
                    <a:pt x="11621" y="77343"/>
                  </a:cubicBezTo>
                  <a:cubicBezTo>
                    <a:pt x="12192" y="76200"/>
                    <a:pt x="13240" y="71628"/>
                    <a:pt x="14764" y="63722"/>
                  </a:cubicBezTo>
                  <a:lnTo>
                    <a:pt x="19907" y="34576"/>
                  </a:lnTo>
                  <a:cubicBezTo>
                    <a:pt x="22670" y="19621"/>
                    <a:pt x="24003" y="10858"/>
                    <a:pt x="24003" y="8001"/>
                  </a:cubicBezTo>
                  <a:cubicBezTo>
                    <a:pt x="24003" y="7239"/>
                    <a:pt x="23813" y="6572"/>
                    <a:pt x="23527" y="6096"/>
                  </a:cubicBezTo>
                  <a:cubicBezTo>
                    <a:pt x="23146" y="5620"/>
                    <a:pt x="22670" y="5334"/>
                    <a:pt x="22003" y="5144"/>
                  </a:cubicBezTo>
                  <a:cubicBezTo>
                    <a:pt x="21050" y="4858"/>
                    <a:pt x="19431" y="4667"/>
                    <a:pt x="17145" y="4667"/>
                  </a:cubicBezTo>
                  <a:cubicBezTo>
                    <a:pt x="14859" y="4667"/>
                    <a:pt x="13621" y="4667"/>
                    <a:pt x="12954" y="4667"/>
                  </a:cubicBezTo>
                  <a:lnTo>
                    <a:pt x="13716" y="191"/>
                  </a:lnTo>
                  <a:lnTo>
                    <a:pt x="14383" y="191"/>
                  </a:lnTo>
                  <a:lnTo>
                    <a:pt x="34957" y="667"/>
                  </a:lnTo>
                  <a:lnTo>
                    <a:pt x="52006" y="191"/>
                  </a:lnTo>
                  <a:lnTo>
                    <a:pt x="51340" y="4667"/>
                  </a:lnTo>
                  <a:lnTo>
                    <a:pt x="49625" y="4667"/>
                  </a:lnTo>
                  <a:cubicBezTo>
                    <a:pt x="46863" y="4667"/>
                    <a:pt x="44672" y="4667"/>
                    <a:pt x="43053" y="5048"/>
                  </a:cubicBezTo>
                  <a:cubicBezTo>
                    <a:pt x="42577" y="5144"/>
                    <a:pt x="42196" y="5334"/>
                    <a:pt x="41815" y="5620"/>
                  </a:cubicBezTo>
                  <a:cubicBezTo>
                    <a:pt x="41434" y="5906"/>
                    <a:pt x="41148" y="6477"/>
                    <a:pt x="40862" y="7429"/>
                  </a:cubicBezTo>
                  <a:cubicBezTo>
                    <a:pt x="40386" y="8668"/>
                    <a:pt x="39529" y="12573"/>
                    <a:pt x="38291" y="19050"/>
                  </a:cubicBezTo>
                  <a:lnTo>
                    <a:pt x="34957" y="36671"/>
                  </a:lnTo>
                  <a:cubicBezTo>
                    <a:pt x="43625" y="36957"/>
                    <a:pt x="49530" y="37148"/>
                    <a:pt x="52959" y="37148"/>
                  </a:cubicBezTo>
                  <a:cubicBezTo>
                    <a:pt x="56769" y="37148"/>
                    <a:pt x="62675" y="36957"/>
                    <a:pt x="70580" y="36671"/>
                  </a:cubicBezTo>
                  <a:cubicBezTo>
                    <a:pt x="70676" y="35814"/>
                    <a:pt x="71342" y="32004"/>
                    <a:pt x="72485" y="25146"/>
                  </a:cubicBezTo>
                  <a:cubicBezTo>
                    <a:pt x="72676" y="24098"/>
                    <a:pt x="73152" y="20574"/>
                    <a:pt x="74009" y="14669"/>
                  </a:cubicBezTo>
                  <a:cubicBezTo>
                    <a:pt x="74295" y="12668"/>
                    <a:pt x="74486" y="11240"/>
                    <a:pt x="74581" y="10382"/>
                  </a:cubicBezTo>
                  <a:cubicBezTo>
                    <a:pt x="74581" y="9525"/>
                    <a:pt x="74581" y="8668"/>
                    <a:pt x="74581" y="7906"/>
                  </a:cubicBezTo>
                  <a:cubicBezTo>
                    <a:pt x="74581" y="7144"/>
                    <a:pt x="74390" y="6572"/>
                    <a:pt x="74104" y="6096"/>
                  </a:cubicBezTo>
                  <a:cubicBezTo>
                    <a:pt x="73724" y="5715"/>
                    <a:pt x="73152" y="5429"/>
                    <a:pt x="72390" y="5239"/>
                  </a:cubicBezTo>
                  <a:cubicBezTo>
                    <a:pt x="70390" y="4858"/>
                    <a:pt x="67532" y="4572"/>
                    <a:pt x="63913" y="4477"/>
                  </a:cubicBezTo>
                  <a:lnTo>
                    <a:pt x="64675" y="0"/>
                  </a:lnTo>
                  <a:lnTo>
                    <a:pt x="65437" y="0"/>
                  </a:lnTo>
                  <a:lnTo>
                    <a:pt x="86011" y="47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7" name="Freeform: Shape 836">
              <a:extLst>
                <a:ext uri="{FF2B5EF4-FFF2-40B4-BE49-F238E27FC236}">
                  <a16:creationId xmlns:a16="http://schemas.microsoft.com/office/drawing/2014/main" id="{6D4EC270-CCEE-4022-84AB-CA107ADAADE9}"/>
                </a:ext>
              </a:extLst>
            </p:cNvPr>
            <p:cNvSpPr/>
            <p:nvPr/>
          </p:nvSpPr>
          <p:spPr>
            <a:xfrm>
              <a:off x="7231859" y="5635847"/>
              <a:ext cx="75723" cy="84296"/>
            </a:xfrm>
            <a:custGeom>
              <a:avLst/>
              <a:gdLst>
                <a:gd name="connsiteX0" fmla="*/ 5715 w 75723"/>
                <a:gd name="connsiteY0" fmla="*/ 84296 h 84296"/>
                <a:gd name="connsiteX1" fmla="*/ 6191 w 75723"/>
                <a:gd name="connsiteY1" fmla="*/ 80010 h 84296"/>
                <a:gd name="connsiteX2" fmla="*/ 15526 w 75723"/>
                <a:gd name="connsiteY2" fmla="*/ 79439 h 84296"/>
                <a:gd name="connsiteX3" fmla="*/ 17050 w 75723"/>
                <a:gd name="connsiteY3" fmla="*/ 78391 h 84296"/>
                <a:gd name="connsiteX4" fmla="*/ 18574 w 75723"/>
                <a:gd name="connsiteY4" fmla="*/ 73819 h 84296"/>
                <a:gd name="connsiteX5" fmla="*/ 24289 w 75723"/>
                <a:gd name="connsiteY5" fmla="*/ 42767 h 84296"/>
                <a:gd name="connsiteX6" fmla="*/ 30480 w 75723"/>
                <a:gd name="connsiteY6" fmla="*/ 6953 h 84296"/>
                <a:gd name="connsiteX7" fmla="*/ 26860 w 75723"/>
                <a:gd name="connsiteY7" fmla="*/ 6953 h 84296"/>
                <a:gd name="connsiteX8" fmla="*/ 9239 w 75723"/>
                <a:gd name="connsiteY8" fmla="*/ 8477 h 84296"/>
                <a:gd name="connsiteX9" fmla="*/ 4477 w 75723"/>
                <a:gd name="connsiteY9" fmla="*/ 21622 h 84296"/>
                <a:gd name="connsiteX10" fmla="*/ 0 w 75723"/>
                <a:gd name="connsiteY10" fmla="*/ 21622 h 84296"/>
                <a:gd name="connsiteX11" fmla="*/ 3048 w 75723"/>
                <a:gd name="connsiteY11" fmla="*/ 1143 h 84296"/>
                <a:gd name="connsiteX12" fmla="*/ 3715 w 75723"/>
                <a:gd name="connsiteY12" fmla="*/ 381 h 84296"/>
                <a:gd name="connsiteX13" fmla="*/ 19050 w 75723"/>
                <a:gd name="connsiteY13" fmla="*/ 953 h 84296"/>
                <a:gd name="connsiteX14" fmla="*/ 34957 w 75723"/>
                <a:gd name="connsiteY14" fmla="*/ 1143 h 84296"/>
                <a:gd name="connsiteX15" fmla="*/ 62294 w 75723"/>
                <a:gd name="connsiteY15" fmla="*/ 762 h 84296"/>
                <a:gd name="connsiteX16" fmla="*/ 74867 w 75723"/>
                <a:gd name="connsiteY16" fmla="*/ 0 h 84296"/>
                <a:gd name="connsiteX17" fmla="*/ 75724 w 75723"/>
                <a:gd name="connsiteY17" fmla="*/ 1048 h 84296"/>
                <a:gd name="connsiteX18" fmla="*/ 72676 w 75723"/>
                <a:gd name="connsiteY18" fmla="*/ 16764 h 84296"/>
                <a:gd name="connsiteX19" fmla="*/ 72009 w 75723"/>
                <a:gd name="connsiteY19" fmla="*/ 21527 h 84296"/>
                <a:gd name="connsiteX20" fmla="*/ 67532 w 75723"/>
                <a:gd name="connsiteY20" fmla="*/ 21527 h 84296"/>
                <a:gd name="connsiteX21" fmla="*/ 68104 w 75723"/>
                <a:gd name="connsiteY21" fmla="*/ 12192 h 84296"/>
                <a:gd name="connsiteX22" fmla="*/ 67532 w 75723"/>
                <a:gd name="connsiteY22" fmla="*/ 8382 h 84296"/>
                <a:gd name="connsiteX23" fmla="*/ 65437 w 75723"/>
                <a:gd name="connsiteY23" fmla="*/ 7334 h 84296"/>
                <a:gd name="connsiteX24" fmla="*/ 53340 w 75723"/>
                <a:gd name="connsiteY24" fmla="*/ 6763 h 84296"/>
                <a:gd name="connsiteX25" fmla="*/ 46673 w 75723"/>
                <a:gd name="connsiteY25" fmla="*/ 6763 h 84296"/>
                <a:gd name="connsiteX26" fmla="*/ 41338 w 75723"/>
                <a:gd name="connsiteY26" fmla="*/ 34481 h 84296"/>
                <a:gd name="connsiteX27" fmla="*/ 36576 w 75723"/>
                <a:gd name="connsiteY27" fmla="*/ 61531 h 84296"/>
                <a:gd name="connsiteX28" fmla="*/ 34671 w 75723"/>
                <a:gd name="connsiteY28" fmla="*/ 74105 h 84296"/>
                <a:gd name="connsiteX29" fmla="*/ 34576 w 75723"/>
                <a:gd name="connsiteY29" fmla="*/ 76391 h 84296"/>
                <a:gd name="connsiteX30" fmla="*/ 35147 w 75723"/>
                <a:gd name="connsiteY30" fmla="*/ 78486 h 84296"/>
                <a:gd name="connsiteX31" fmla="*/ 37148 w 75723"/>
                <a:gd name="connsiteY31" fmla="*/ 79439 h 84296"/>
                <a:gd name="connsiteX32" fmla="*/ 46292 w 75723"/>
                <a:gd name="connsiteY32" fmla="*/ 79915 h 84296"/>
                <a:gd name="connsiteX33" fmla="*/ 45815 w 75723"/>
                <a:gd name="connsiteY33" fmla="*/ 84201 h 84296"/>
                <a:gd name="connsiteX34" fmla="*/ 25146 w 75723"/>
                <a:gd name="connsiteY34" fmla="*/ 83725 h 84296"/>
                <a:gd name="connsiteX35" fmla="*/ 5810 w 75723"/>
                <a:gd name="connsiteY35" fmla="*/ 84201 h 8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3" h="84296">
                  <a:moveTo>
                    <a:pt x="5715" y="84296"/>
                  </a:moveTo>
                  <a:lnTo>
                    <a:pt x="6191" y="80010"/>
                  </a:lnTo>
                  <a:cubicBezTo>
                    <a:pt x="11240" y="80010"/>
                    <a:pt x="14383" y="79915"/>
                    <a:pt x="15526" y="79439"/>
                  </a:cubicBezTo>
                  <a:cubicBezTo>
                    <a:pt x="16097" y="79248"/>
                    <a:pt x="16669" y="78867"/>
                    <a:pt x="17050" y="78391"/>
                  </a:cubicBezTo>
                  <a:cubicBezTo>
                    <a:pt x="17621" y="77724"/>
                    <a:pt x="18098" y="76200"/>
                    <a:pt x="18574" y="73819"/>
                  </a:cubicBezTo>
                  <a:cubicBezTo>
                    <a:pt x="19907" y="67342"/>
                    <a:pt x="21812" y="57055"/>
                    <a:pt x="24289" y="42767"/>
                  </a:cubicBezTo>
                  <a:cubicBezTo>
                    <a:pt x="26765" y="28480"/>
                    <a:pt x="28861" y="16574"/>
                    <a:pt x="30480" y="6953"/>
                  </a:cubicBezTo>
                  <a:lnTo>
                    <a:pt x="26860" y="6953"/>
                  </a:lnTo>
                  <a:cubicBezTo>
                    <a:pt x="16573" y="6953"/>
                    <a:pt x="10668" y="7430"/>
                    <a:pt x="9239" y="8477"/>
                  </a:cubicBezTo>
                  <a:cubicBezTo>
                    <a:pt x="7810" y="9525"/>
                    <a:pt x="6191" y="13906"/>
                    <a:pt x="4477" y="21622"/>
                  </a:cubicBezTo>
                  <a:lnTo>
                    <a:pt x="0" y="21622"/>
                  </a:lnTo>
                  <a:cubicBezTo>
                    <a:pt x="1048" y="15812"/>
                    <a:pt x="2096" y="8954"/>
                    <a:pt x="3048" y="1143"/>
                  </a:cubicBezTo>
                  <a:lnTo>
                    <a:pt x="3715" y="381"/>
                  </a:lnTo>
                  <a:lnTo>
                    <a:pt x="19050" y="953"/>
                  </a:lnTo>
                  <a:cubicBezTo>
                    <a:pt x="23622" y="1143"/>
                    <a:pt x="28956" y="1143"/>
                    <a:pt x="34957" y="1143"/>
                  </a:cubicBezTo>
                  <a:cubicBezTo>
                    <a:pt x="43244" y="1143"/>
                    <a:pt x="52388" y="1048"/>
                    <a:pt x="62294" y="762"/>
                  </a:cubicBezTo>
                  <a:cubicBezTo>
                    <a:pt x="67437" y="572"/>
                    <a:pt x="71628" y="381"/>
                    <a:pt x="74867" y="0"/>
                  </a:cubicBezTo>
                  <a:lnTo>
                    <a:pt x="75724" y="1048"/>
                  </a:lnTo>
                  <a:cubicBezTo>
                    <a:pt x="74009" y="9811"/>
                    <a:pt x="72961" y="15050"/>
                    <a:pt x="72676" y="16764"/>
                  </a:cubicBezTo>
                  <a:cubicBezTo>
                    <a:pt x="72390" y="18479"/>
                    <a:pt x="72200" y="20098"/>
                    <a:pt x="72009" y="21527"/>
                  </a:cubicBezTo>
                  <a:lnTo>
                    <a:pt x="67532" y="21527"/>
                  </a:lnTo>
                  <a:cubicBezTo>
                    <a:pt x="67913" y="18098"/>
                    <a:pt x="68104" y="15050"/>
                    <a:pt x="68104" y="12192"/>
                  </a:cubicBezTo>
                  <a:cubicBezTo>
                    <a:pt x="68104" y="10097"/>
                    <a:pt x="67913" y="8858"/>
                    <a:pt x="67532" y="8382"/>
                  </a:cubicBezTo>
                  <a:cubicBezTo>
                    <a:pt x="67151" y="7906"/>
                    <a:pt x="66485" y="7525"/>
                    <a:pt x="65437" y="7334"/>
                  </a:cubicBezTo>
                  <a:cubicBezTo>
                    <a:pt x="63627" y="6953"/>
                    <a:pt x="59531" y="6763"/>
                    <a:pt x="53340" y="6763"/>
                  </a:cubicBezTo>
                  <a:cubicBezTo>
                    <a:pt x="50387" y="6763"/>
                    <a:pt x="48196" y="6763"/>
                    <a:pt x="46673" y="6763"/>
                  </a:cubicBezTo>
                  <a:lnTo>
                    <a:pt x="41338" y="34481"/>
                  </a:lnTo>
                  <a:cubicBezTo>
                    <a:pt x="39815" y="42767"/>
                    <a:pt x="38195" y="51816"/>
                    <a:pt x="36576" y="61531"/>
                  </a:cubicBezTo>
                  <a:cubicBezTo>
                    <a:pt x="35433" y="68104"/>
                    <a:pt x="34861" y="72295"/>
                    <a:pt x="34671" y="74105"/>
                  </a:cubicBezTo>
                  <a:cubicBezTo>
                    <a:pt x="34671" y="74867"/>
                    <a:pt x="34576" y="75629"/>
                    <a:pt x="34576" y="76391"/>
                  </a:cubicBezTo>
                  <a:cubicBezTo>
                    <a:pt x="34576" y="77343"/>
                    <a:pt x="34766" y="78010"/>
                    <a:pt x="35147" y="78486"/>
                  </a:cubicBezTo>
                  <a:cubicBezTo>
                    <a:pt x="35528" y="78962"/>
                    <a:pt x="36195" y="79248"/>
                    <a:pt x="37148" y="79439"/>
                  </a:cubicBezTo>
                  <a:cubicBezTo>
                    <a:pt x="38576" y="79724"/>
                    <a:pt x="41624" y="79915"/>
                    <a:pt x="46292" y="79915"/>
                  </a:cubicBezTo>
                  <a:lnTo>
                    <a:pt x="45815" y="84201"/>
                  </a:lnTo>
                  <a:cubicBezTo>
                    <a:pt x="35433" y="83915"/>
                    <a:pt x="28480" y="83725"/>
                    <a:pt x="25146" y="83725"/>
                  </a:cubicBezTo>
                  <a:cubicBezTo>
                    <a:pt x="20860" y="83725"/>
                    <a:pt x="14478" y="83915"/>
                    <a:pt x="5810" y="84201"/>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8" name="Freeform: Shape 837">
              <a:extLst>
                <a:ext uri="{FF2B5EF4-FFF2-40B4-BE49-F238E27FC236}">
                  <a16:creationId xmlns:a16="http://schemas.microsoft.com/office/drawing/2014/main" id="{E3B55FE1-2E9D-4B4B-960F-A182A8E4E0B5}"/>
                </a:ext>
              </a:extLst>
            </p:cNvPr>
            <p:cNvSpPr/>
            <p:nvPr/>
          </p:nvSpPr>
          <p:spPr>
            <a:xfrm>
              <a:off x="6769325" y="5245607"/>
              <a:ext cx="308609" cy="344233"/>
            </a:xfrm>
            <a:custGeom>
              <a:avLst/>
              <a:gdLst>
                <a:gd name="connsiteX0" fmla="*/ 10192 w 308609"/>
                <a:gd name="connsiteY0" fmla="*/ 15049 h 344233"/>
                <a:gd name="connsiteX1" fmla="*/ 11716 w 308609"/>
                <a:gd name="connsiteY1" fmla="*/ 3524 h 344233"/>
                <a:gd name="connsiteX2" fmla="*/ 14764 w 308609"/>
                <a:gd name="connsiteY2" fmla="*/ 0 h 344233"/>
                <a:gd name="connsiteX3" fmla="*/ 159925 w 308609"/>
                <a:gd name="connsiteY3" fmla="*/ 2477 h 344233"/>
                <a:gd name="connsiteX4" fmla="*/ 305086 w 308609"/>
                <a:gd name="connsiteY4" fmla="*/ 0 h 344233"/>
                <a:gd name="connsiteX5" fmla="*/ 308610 w 308609"/>
                <a:gd name="connsiteY5" fmla="*/ 3524 h 344233"/>
                <a:gd name="connsiteX6" fmla="*/ 306134 w 308609"/>
                <a:gd name="connsiteY6" fmla="*/ 14478 h 344233"/>
                <a:gd name="connsiteX7" fmla="*/ 300609 w 308609"/>
                <a:gd name="connsiteY7" fmla="*/ 40957 h 344233"/>
                <a:gd name="connsiteX8" fmla="*/ 295085 w 308609"/>
                <a:gd name="connsiteY8" fmla="*/ 75057 h 344233"/>
                <a:gd name="connsiteX9" fmla="*/ 293561 w 308609"/>
                <a:gd name="connsiteY9" fmla="*/ 87535 h 344233"/>
                <a:gd name="connsiteX10" fmla="*/ 274511 w 308609"/>
                <a:gd name="connsiteY10" fmla="*/ 87535 h 344233"/>
                <a:gd name="connsiteX11" fmla="*/ 276511 w 308609"/>
                <a:gd name="connsiteY11" fmla="*/ 62484 h 344233"/>
                <a:gd name="connsiteX12" fmla="*/ 276511 w 308609"/>
                <a:gd name="connsiteY12" fmla="*/ 40005 h 344233"/>
                <a:gd name="connsiteX13" fmla="*/ 270510 w 308609"/>
                <a:gd name="connsiteY13" fmla="*/ 31052 h 344233"/>
                <a:gd name="connsiteX14" fmla="*/ 248031 w 308609"/>
                <a:gd name="connsiteY14" fmla="*/ 28004 h 344233"/>
                <a:gd name="connsiteX15" fmla="*/ 189452 w 308609"/>
                <a:gd name="connsiteY15" fmla="*/ 26003 h 344233"/>
                <a:gd name="connsiteX16" fmla="*/ 184976 w 308609"/>
                <a:gd name="connsiteY16" fmla="*/ 49054 h 344233"/>
                <a:gd name="connsiteX17" fmla="*/ 141922 w 308609"/>
                <a:gd name="connsiteY17" fmla="*/ 293751 h 344233"/>
                <a:gd name="connsiteX18" fmla="*/ 144399 w 308609"/>
                <a:gd name="connsiteY18" fmla="*/ 319754 h 344233"/>
                <a:gd name="connsiteX19" fmla="*/ 163449 w 308609"/>
                <a:gd name="connsiteY19" fmla="*/ 324707 h 344233"/>
                <a:gd name="connsiteX20" fmla="*/ 188024 w 308609"/>
                <a:gd name="connsiteY20" fmla="*/ 326708 h 344233"/>
                <a:gd name="connsiteX21" fmla="*/ 186023 w 308609"/>
                <a:gd name="connsiteY21" fmla="*/ 344234 h 344233"/>
                <a:gd name="connsiteX22" fmla="*/ 104489 w 308609"/>
                <a:gd name="connsiteY22" fmla="*/ 341757 h 344233"/>
                <a:gd name="connsiteX23" fmla="*/ 22955 w 308609"/>
                <a:gd name="connsiteY23" fmla="*/ 344234 h 344233"/>
                <a:gd name="connsiteX24" fmla="*/ 24479 w 308609"/>
                <a:gd name="connsiteY24" fmla="*/ 326708 h 344233"/>
                <a:gd name="connsiteX25" fmla="*/ 62008 w 308609"/>
                <a:gd name="connsiteY25" fmla="*/ 323660 h 344233"/>
                <a:gd name="connsiteX26" fmla="*/ 77057 w 308609"/>
                <a:gd name="connsiteY26" fmla="*/ 292608 h 344233"/>
                <a:gd name="connsiteX27" fmla="*/ 123634 w 308609"/>
                <a:gd name="connsiteY27" fmla="*/ 26384 h 344233"/>
                <a:gd name="connsiteX28" fmla="*/ 89630 w 308609"/>
                <a:gd name="connsiteY28" fmla="*/ 26384 h 344233"/>
                <a:gd name="connsiteX29" fmla="*/ 36576 w 308609"/>
                <a:gd name="connsiteY29" fmla="*/ 35338 h 344233"/>
                <a:gd name="connsiteX30" fmla="*/ 25527 w 308609"/>
                <a:gd name="connsiteY30" fmla="*/ 58388 h 344233"/>
                <a:gd name="connsiteX31" fmla="*/ 18479 w 308609"/>
                <a:gd name="connsiteY31" fmla="*/ 87440 h 344233"/>
                <a:gd name="connsiteX32" fmla="*/ 0 w 308609"/>
                <a:gd name="connsiteY32" fmla="*/ 87440 h 344233"/>
                <a:gd name="connsiteX33" fmla="*/ 2000 w 308609"/>
                <a:gd name="connsiteY33" fmla="*/ 74390 h 344233"/>
                <a:gd name="connsiteX34" fmla="*/ 6001 w 308609"/>
                <a:gd name="connsiteY34" fmla="*/ 49340 h 344233"/>
                <a:gd name="connsiteX35" fmla="*/ 10478 w 308609"/>
                <a:gd name="connsiteY35" fmla="*/ 14764 h 3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8609" h="344233">
                  <a:moveTo>
                    <a:pt x="10192" y="15049"/>
                  </a:moveTo>
                  <a:lnTo>
                    <a:pt x="11716" y="3524"/>
                  </a:lnTo>
                  <a:lnTo>
                    <a:pt x="14764" y="0"/>
                  </a:lnTo>
                  <a:cubicBezTo>
                    <a:pt x="62865" y="1524"/>
                    <a:pt x="110871" y="2477"/>
                    <a:pt x="159925" y="2477"/>
                  </a:cubicBezTo>
                  <a:cubicBezTo>
                    <a:pt x="208978" y="2477"/>
                    <a:pt x="256985" y="1429"/>
                    <a:pt x="305086" y="0"/>
                  </a:cubicBezTo>
                  <a:lnTo>
                    <a:pt x="308610" y="3524"/>
                  </a:lnTo>
                  <a:cubicBezTo>
                    <a:pt x="307086" y="7048"/>
                    <a:pt x="306610" y="11049"/>
                    <a:pt x="306134" y="14478"/>
                  </a:cubicBezTo>
                  <a:lnTo>
                    <a:pt x="300609" y="40957"/>
                  </a:lnTo>
                  <a:lnTo>
                    <a:pt x="295085" y="75057"/>
                  </a:lnTo>
                  <a:lnTo>
                    <a:pt x="293561" y="87535"/>
                  </a:lnTo>
                  <a:lnTo>
                    <a:pt x="274511" y="87535"/>
                  </a:lnTo>
                  <a:cubicBezTo>
                    <a:pt x="275558" y="79057"/>
                    <a:pt x="276035" y="70485"/>
                    <a:pt x="276511" y="62484"/>
                  </a:cubicBezTo>
                  <a:cubicBezTo>
                    <a:pt x="276987" y="54959"/>
                    <a:pt x="277559" y="47434"/>
                    <a:pt x="276511" y="40005"/>
                  </a:cubicBezTo>
                  <a:cubicBezTo>
                    <a:pt x="275558" y="36481"/>
                    <a:pt x="274034" y="32480"/>
                    <a:pt x="270510" y="31052"/>
                  </a:cubicBezTo>
                  <a:cubicBezTo>
                    <a:pt x="263557" y="29051"/>
                    <a:pt x="255556" y="29051"/>
                    <a:pt x="248031" y="28004"/>
                  </a:cubicBezTo>
                  <a:lnTo>
                    <a:pt x="189452" y="26003"/>
                  </a:lnTo>
                  <a:cubicBezTo>
                    <a:pt x="187928" y="33528"/>
                    <a:pt x="186404" y="41529"/>
                    <a:pt x="184976" y="49054"/>
                  </a:cubicBezTo>
                  <a:lnTo>
                    <a:pt x="141922" y="293751"/>
                  </a:lnTo>
                  <a:cubicBezTo>
                    <a:pt x="140399" y="302228"/>
                    <a:pt x="137446" y="312801"/>
                    <a:pt x="144399" y="319754"/>
                  </a:cubicBezTo>
                  <a:cubicBezTo>
                    <a:pt x="149924" y="323279"/>
                    <a:pt x="156877" y="323755"/>
                    <a:pt x="163449" y="324707"/>
                  </a:cubicBezTo>
                  <a:lnTo>
                    <a:pt x="188024" y="326708"/>
                  </a:lnTo>
                  <a:lnTo>
                    <a:pt x="186023" y="344234"/>
                  </a:lnTo>
                  <a:cubicBezTo>
                    <a:pt x="158972" y="342710"/>
                    <a:pt x="132017" y="341757"/>
                    <a:pt x="104489" y="341757"/>
                  </a:cubicBezTo>
                  <a:cubicBezTo>
                    <a:pt x="76962" y="341757"/>
                    <a:pt x="49911" y="342710"/>
                    <a:pt x="22955" y="344234"/>
                  </a:cubicBezTo>
                  <a:lnTo>
                    <a:pt x="24479" y="326708"/>
                  </a:lnTo>
                  <a:cubicBezTo>
                    <a:pt x="36957" y="326231"/>
                    <a:pt x="49530" y="325184"/>
                    <a:pt x="62008" y="323660"/>
                  </a:cubicBezTo>
                  <a:cubicBezTo>
                    <a:pt x="74009" y="318611"/>
                    <a:pt x="75057" y="303086"/>
                    <a:pt x="77057" y="292608"/>
                  </a:cubicBezTo>
                  <a:lnTo>
                    <a:pt x="123634" y="26384"/>
                  </a:lnTo>
                  <a:lnTo>
                    <a:pt x="89630" y="26384"/>
                  </a:lnTo>
                  <a:cubicBezTo>
                    <a:pt x="73628" y="26384"/>
                    <a:pt x="49054" y="25336"/>
                    <a:pt x="36576" y="35338"/>
                  </a:cubicBezTo>
                  <a:cubicBezTo>
                    <a:pt x="29528" y="40862"/>
                    <a:pt x="28099" y="50387"/>
                    <a:pt x="25527" y="58388"/>
                  </a:cubicBezTo>
                  <a:lnTo>
                    <a:pt x="18479" y="87440"/>
                  </a:lnTo>
                  <a:lnTo>
                    <a:pt x="0" y="87440"/>
                  </a:lnTo>
                  <a:cubicBezTo>
                    <a:pt x="476" y="82963"/>
                    <a:pt x="1524" y="78391"/>
                    <a:pt x="2000" y="74390"/>
                  </a:cubicBezTo>
                  <a:lnTo>
                    <a:pt x="6001" y="49340"/>
                  </a:lnTo>
                  <a:lnTo>
                    <a:pt x="10478" y="14764"/>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39" name="Freeform: Shape 838">
              <a:extLst>
                <a:ext uri="{FF2B5EF4-FFF2-40B4-BE49-F238E27FC236}">
                  <a16:creationId xmlns:a16="http://schemas.microsoft.com/office/drawing/2014/main" id="{94DEA184-D26B-4C60-82E9-3FE4F08FB52A}"/>
                </a:ext>
              </a:extLst>
            </p:cNvPr>
            <p:cNvSpPr/>
            <p:nvPr/>
          </p:nvSpPr>
          <p:spPr>
            <a:xfrm>
              <a:off x="7007259" y="5183886"/>
              <a:ext cx="330231" cy="406431"/>
            </a:xfrm>
            <a:custGeom>
              <a:avLst/>
              <a:gdLst>
                <a:gd name="connsiteX0" fmla="*/ 3524 w 330231"/>
                <a:gd name="connsiteY0" fmla="*/ 388239 h 406431"/>
                <a:gd name="connsiteX1" fmla="*/ 49054 w 330231"/>
                <a:gd name="connsiteY1" fmla="*/ 352139 h 406431"/>
                <a:gd name="connsiteX2" fmla="*/ 57912 w 330231"/>
                <a:gd name="connsiteY2" fmla="*/ 309658 h 406431"/>
                <a:gd name="connsiteX3" fmla="*/ 86297 w 330231"/>
                <a:gd name="connsiteY3" fmla="*/ 152495 h 406431"/>
                <a:gd name="connsiteX4" fmla="*/ 98108 w 330231"/>
                <a:gd name="connsiteY4" fmla="*/ 68008 h 406431"/>
                <a:gd name="connsiteX5" fmla="*/ 101060 w 330231"/>
                <a:gd name="connsiteY5" fmla="*/ 37243 h 406431"/>
                <a:gd name="connsiteX6" fmla="*/ 80963 w 330231"/>
                <a:gd name="connsiteY6" fmla="*/ 23622 h 406431"/>
                <a:gd name="connsiteX7" fmla="*/ 47244 w 330231"/>
                <a:gd name="connsiteY7" fmla="*/ 20669 h 406431"/>
                <a:gd name="connsiteX8" fmla="*/ 50768 w 330231"/>
                <a:gd name="connsiteY8" fmla="*/ 0 h 406431"/>
                <a:gd name="connsiteX9" fmla="*/ 146495 w 330231"/>
                <a:gd name="connsiteY9" fmla="*/ 2953 h 406431"/>
                <a:gd name="connsiteX10" fmla="*/ 241649 w 330231"/>
                <a:gd name="connsiteY10" fmla="*/ 0 h 406431"/>
                <a:gd name="connsiteX11" fmla="*/ 238125 w 330231"/>
                <a:gd name="connsiteY11" fmla="*/ 20669 h 406431"/>
                <a:gd name="connsiteX12" fmla="*/ 194405 w 330231"/>
                <a:gd name="connsiteY12" fmla="*/ 24193 h 406431"/>
                <a:gd name="connsiteX13" fmla="*/ 187928 w 330231"/>
                <a:gd name="connsiteY13" fmla="*/ 27146 h 406431"/>
                <a:gd name="connsiteX14" fmla="*/ 176689 w 330231"/>
                <a:gd name="connsiteY14" fmla="*/ 58483 h 406431"/>
                <a:gd name="connsiteX15" fmla="*/ 165449 w 330231"/>
                <a:gd name="connsiteY15" fmla="*/ 124111 h 406431"/>
                <a:gd name="connsiteX16" fmla="*/ 161925 w 330231"/>
                <a:gd name="connsiteY16" fmla="*/ 143542 h 406431"/>
                <a:gd name="connsiteX17" fmla="*/ 135922 w 330231"/>
                <a:gd name="connsiteY17" fmla="*/ 289465 h 406431"/>
                <a:gd name="connsiteX18" fmla="*/ 134112 w 330231"/>
                <a:gd name="connsiteY18" fmla="*/ 302419 h 406431"/>
                <a:gd name="connsiteX19" fmla="*/ 122301 w 330231"/>
                <a:gd name="connsiteY19" fmla="*/ 373285 h 406431"/>
                <a:gd name="connsiteX20" fmla="*/ 202692 w 330231"/>
                <a:gd name="connsiteY20" fmla="*/ 375666 h 406431"/>
                <a:gd name="connsiteX21" fmla="*/ 256413 w 330231"/>
                <a:gd name="connsiteY21" fmla="*/ 372713 h 406431"/>
                <a:gd name="connsiteX22" fmla="*/ 282988 w 330231"/>
                <a:gd name="connsiteY22" fmla="*/ 364426 h 406431"/>
                <a:gd name="connsiteX23" fmla="*/ 292418 w 330231"/>
                <a:gd name="connsiteY23" fmla="*/ 347282 h 406431"/>
                <a:gd name="connsiteX24" fmla="*/ 297752 w 330231"/>
                <a:gd name="connsiteY24" fmla="*/ 331946 h 406431"/>
                <a:gd name="connsiteX25" fmla="*/ 308991 w 330231"/>
                <a:gd name="connsiteY25" fmla="*/ 299466 h 406431"/>
                <a:gd name="connsiteX26" fmla="*/ 330232 w 330231"/>
                <a:gd name="connsiteY26" fmla="*/ 300704 h 406431"/>
                <a:gd name="connsiteX27" fmla="*/ 308991 w 330231"/>
                <a:gd name="connsiteY27" fmla="*/ 403479 h 406431"/>
                <a:gd name="connsiteX28" fmla="*/ 296609 w 330231"/>
                <a:gd name="connsiteY28" fmla="*/ 406432 h 406431"/>
                <a:gd name="connsiteX29" fmla="*/ 109919 w 330231"/>
                <a:gd name="connsiteY29" fmla="*/ 403479 h 406431"/>
                <a:gd name="connsiteX30" fmla="*/ 0 w 330231"/>
                <a:gd name="connsiteY30" fmla="*/ 406432 h 406431"/>
                <a:gd name="connsiteX31" fmla="*/ 3524 w 330231"/>
                <a:gd name="connsiteY31" fmla="*/ 388144 h 40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231" h="406431">
                  <a:moveTo>
                    <a:pt x="3524" y="388239"/>
                  </a:moveTo>
                  <a:cubicBezTo>
                    <a:pt x="38386" y="379381"/>
                    <a:pt x="41339" y="387668"/>
                    <a:pt x="49054" y="352139"/>
                  </a:cubicBezTo>
                  <a:lnTo>
                    <a:pt x="57912" y="309658"/>
                  </a:lnTo>
                  <a:lnTo>
                    <a:pt x="86297" y="152495"/>
                  </a:lnTo>
                  <a:lnTo>
                    <a:pt x="98108" y="68008"/>
                  </a:lnTo>
                  <a:cubicBezTo>
                    <a:pt x="99250" y="57341"/>
                    <a:pt x="101060" y="47911"/>
                    <a:pt x="101060" y="37243"/>
                  </a:cubicBezTo>
                  <a:cubicBezTo>
                    <a:pt x="101060" y="24860"/>
                    <a:pt x="89821" y="24860"/>
                    <a:pt x="80963" y="23622"/>
                  </a:cubicBezTo>
                  <a:lnTo>
                    <a:pt x="47244" y="20669"/>
                  </a:lnTo>
                  <a:lnTo>
                    <a:pt x="50768" y="0"/>
                  </a:lnTo>
                  <a:cubicBezTo>
                    <a:pt x="82106" y="1715"/>
                    <a:pt x="114014" y="2953"/>
                    <a:pt x="146495" y="2953"/>
                  </a:cubicBezTo>
                  <a:cubicBezTo>
                    <a:pt x="178975" y="2953"/>
                    <a:pt x="210312" y="1715"/>
                    <a:pt x="241649" y="0"/>
                  </a:cubicBezTo>
                  <a:lnTo>
                    <a:pt x="238125" y="20669"/>
                  </a:lnTo>
                  <a:cubicBezTo>
                    <a:pt x="223361" y="21907"/>
                    <a:pt x="208598" y="20669"/>
                    <a:pt x="194405" y="24193"/>
                  </a:cubicBezTo>
                  <a:cubicBezTo>
                    <a:pt x="192024" y="25336"/>
                    <a:pt x="190310" y="26003"/>
                    <a:pt x="187928" y="27146"/>
                  </a:cubicBezTo>
                  <a:cubicBezTo>
                    <a:pt x="180213" y="34862"/>
                    <a:pt x="179070" y="47816"/>
                    <a:pt x="176689" y="58483"/>
                  </a:cubicBezTo>
                  <a:lnTo>
                    <a:pt x="165449" y="124111"/>
                  </a:lnTo>
                  <a:lnTo>
                    <a:pt x="161925" y="143542"/>
                  </a:lnTo>
                  <a:lnTo>
                    <a:pt x="135922" y="289465"/>
                  </a:lnTo>
                  <a:lnTo>
                    <a:pt x="134112" y="302419"/>
                  </a:lnTo>
                  <a:lnTo>
                    <a:pt x="122301" y="373285"/>
                  </a:lnTo>
                  <a:cubicBezTo>
                    <a:pt x="148876" y="374428"/>
                    <a:pt x="175450" y="375666"/>
                    <a:pt x="202692" y="375666"/>
                  </a:cubicBezTo>
                  <a:cubicBezTo>
                    <a:pt x="220980" y="375666"/>
                    <a:pt x="238125" y="374523"/>
                    <a:pt x="256413" y="372713"/>
                  </a:cubicBezTo>
                  <a:cubicBezTo>
                    <a:pt x="265843" y="371570"/>
                    <a:pt x="275368" y="369761"/>
                    <a:pt x="282988" y="364426"/>
                  </a:cubicBezTo>
                  <a:cubicBezTo>
                    <a:pt x="288322" y="360331"/>
                    <a:pt x="290132" y="353187"/>
                    <a:pt x="292418" y="347282"/>
                  </a:cubicBezTo>
                  <a:lnTo>
                    <a:pt x="297752" y="331946"/>
                  </a:lnTo>
                  <a:lnTo>
                    <a:pt x="308991" y="299466"/>
                  </a:lnTo>
                  <a:lnTo>
                    <a:pt x="330232" y="300704"/>
                  </a:lnTo>
                  <a:cubicBezTo>
                    <a:pt x="321945" y="334994"/>
                    <a:pt x="314897" y="369189"/>
                    <a:pt x="308991" y="403479"/>
                  </a:cubicBezTo>
                  <a:cubicBezTo>
                    <a:pt x="306610" y="405194"/>
                    <a:pt x="304895" y="406432"/>
                    <a:pt x="296609" y="406432"/>
                  </a:cubicBezTo>
                  <a:cubicBezTo>
                    <a:pt x="205073" y="406432"/>
                    <a:pt x="157829" y="403479"/>
                    <a:pt x="109919" y="403479"/>
                  </a:cubicBezTo>
                  <a:cubicBezTo>
                    <a:pt x="73343" y="403479"/>
                    <a:pt x="36671" y="406432"/>
                    <a:pt x="0" y="406432"/>
                  </a:cubicBezTo>
                  <a:lnTo>
                    <a:pt x="3524" y="388144"/>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40" name="Freeform: Shape 839">
              <a:extLst>
                <a:ext uri="{FF2B5EF4-FFF2-40B4-BE49-F238E27FC236}">
                  <a16:creationId xmlns:a16="http://schemas.microsoft.com/office/drawing/2014/main" id="{62BCD17E-7604-4E48-913E-1BA65AB09FFD}"/>
                </a:ext>
              </a:extLst>
            </p:cNvPr>
            <p:cNvSpPr/>
            <p:nvPr/>
          </p:nvSpPr>
          <p:spPr>
            <a:xfrm>
              <a:off x="6316506" y="5184266"/>
              <a:ext cx="441388" cy="406595"/>
            </a:xfrm>
            <a:custGeom>
              <a:avLst/>
              <a:gdLst>
                <a:gd name="connsiteX0" fmla="*/ 130493 w 441388"/>
                <a:gd name="connsiteY0" fmla="*/ 302228 h 406595"/>
                <a:gd name="connsiteX1" fmla="*/ 121063 w 441388"/>
                <a:gd name="connsiteY1" fmla="*/ 357188 h 406595"/>
                <a:gd name="connsiteX2" fmla="*/ 118682 w 441388"/>
                <a:gd name="connsiteY2" fmla="*/ 368999 h 406595"/>
                <a:gd name="connsiteX3" fmla="*/ 125158 w 441388"/>
                <a:gd name="connsiteY3" fmla="*/ 370142 h 406595"/>
                <a:gd name="connsiteX4" fmla="*/ 158210 w 441388"/>
                <a:gd name="connsiteY4" fmla="*/ 374237 h 406595"/>
                <a:gd name="connsiteX5" fmla="*/ 203740 w 441388"/>
                <a:gd name="connsiteY5" fmla="*/ 378428 h 406595"/>
                <a:gd name="connsiteX6" fmla="*/ 334899 w 441388"/>
                <a:gd name="connsiteY6" fmla="*/ 280988 h 406595"/>
                <a:gd name="connsiteX7" fmla="*/ 359759 w 441388"/>
                <a:gd name="connsiteY7" fmla="*/ 150400 h 406595"/>
                <a:gd name="connsiteX8" fmla="*/ 291846 w 441388"/>
                <a:gd name="connsiteY8" fmla="*/ 34004 h 406595"/>
                <a:gd name="connsiteX9" fmla="*/ 218027 w 441388"/>
                <a:gd name="connsiteY9" fmla="*/ 29337 h 406595"/>
                <a:gd name="connsiteX10" fmla="*/ 179070 w 441388"/>
                <a:gd name="connsiteY10" fmla="*/ 30480 h 406595"/>
                <a:gd name="connsiteX11" fmla="*/ 176689 w 441388"/>
                <a:gd name="connsiteY11" fmla="*/ 44101 h 406595"/>
                <a:gd name="connsiteX12" fmla="*/ 136493 w 441388"/>
                <a:gd name="connsiteY12" fmla="*/ 264509 h 406595"/>
                <a:gd name="connsiteX13" fmla="*/ 130588 w 441388"/>
                <a:gd name="connsiteY13" fmla="*/ 302324 h 406595"/>
                <a:gd name="connsiteX14" fmla="*/ 0 w 441388"/>
                <a:gd name="connsiteY14" fmla="*/ 406337 h 406595"/>
                <a:gd name="connsiteX15" fmla="*/ 1810 w 441388"/>
                <a:gd name="connsiteY15" fmla="*/ 385667 h 406595"/>
                <a:gd name="connsiteX16" fmla="*/ 43148 w 441388"/>
                <a:gd name="connsiteY16" fmla="*/ 364427 h 406595"/>
                <a:gd name="connsiteX17" fmla="*/ 48482 w 441388"/>
                <a:gd name="connsiteY17" fmla="*/ 344329 h 406595"/>
                <a:gd name="connsiteX18" fmla="*/ 54388 w 441388"/>
                <a:gd name="connsiteY18" fmla="*/ 314230 h 406595"/>
                <a:gd name="connsiteX19" fmla="*/ 56197 w 441388"/>
                <a:gd name="connsiteY19" fmla="*/ 305372 h 406595"/>
                <a:gd name="connsiteX20" fmla="*/ 88678 w 441388"/>
                <a:gd name="connsiteY20" fmla="*/ 120491 h 406595"/>
                <a:gd name="connsiteX21" fmla="*/ 96965 w 441388"/>
                <a:gd name="connsiteY21" fmla="*/ 65532 h 406595"/>
                <a:gd name="connsiteX22" fmla="*/ 96965 w 441388"/>
                <a:gd name="connsiteY22" fmla="*/ 29528 h 406595"/>
                <a:gd name="connsiteX23" fmla="*/ 87535 w 441388"/>
                <a:gd name="connsiteY23" fmla="*/ 23051 h 406595"/>
                <a:gd name="connsiteX24" fmla="*/ 54483 w 441388"/>
                <a:gd name="connsiteY24" fmla="*/ 21241 h 406595"/>
                <a:gd name="connsiteX25" fmla="*/ 42672 w 441388"/>
                <a:gd name="connsiteY25" fmla="*/ 20669 h 406595"/>
                <a:gd name="connsiteX26" fmla="*/ 47339 w 441388"/>
                <a:gd name="connsiteY26" fmla="*/ 0 h 406595"/>
                <a:gd name="connsiteX27" fmla="*/ 132398 w 441388"/>
                <a:gd name="connsiteY27" fmla="*/ 2953 h 406595"/>
                <a:gd name="connsiteX28" fmla="*/ 254127 w 441388"/>
                <a:gd name="connsiteY28" fmla="*/ 0 h 406595"/>
                <a:gd name="connsiteX29" fmla="*/ 327374 w 441388"/>
                <a:gd name="connsiteY29" fmla="*/ 5906 h 406595"/>
                <a:gd name="connsiteX30" fmla="*/ 389954 w 441388"/>
                <a:gd name="connsiteY30" fmla="*/ 34290 h 406595"/>
                <a:gd name="connsiteX31" fmla="*/ 441388 w 441388"/>
                <a:gd name="connsiteY31" fmla="*/ 159544 h 406595"/>
                <a:gd name="connsiteX32" fmla="*/ 394716 w 441388"/>
                <a:gd name="connsiteY32" fmla="*/ 304324 h 406595"/>
                <a:gd name="connsiteX33" fmla="*/ 190881 w 441388"/>
                <a:gd name="connsiteY33" fmla="*/ 406527 h 406595"/>
                <a:gd name="connsiteX34" fmla="*/ 153638 w 441388"/>
                <a:gd name="connsiteY34" fmla="*/ 405289 h 406595"/>
                <a:gd name="connsiteX35" fmla="*/ 93917 w 441388"/>
                <a:gd name="connsiteY35" fmla="*/ 403574 h 406595"/>
                <a:gd name="connsiteX36" fmla="*/ 37814 w 441388"/>
                <a:gd name="connsiteY36" fmla="*/ 405289 h 406595"/>
                <a:gd name="connsiteX37" fmla="*/ 12383 w 441388"/>
                <a:gd name="connsiteY37" fmla="*/ 405289 h 406595"/>
                <a:gd name="connsiteX38" fmla="*/ 0 w 441388"/>
                <a:gd name="connsiteY38" fmla="*/ 406527 h 4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1388" h="406595">
                  <a:moveTo>
                    <a:pt x="130493" y="302228"/>
                  </a:moveTo>
                  <a:lnTo>
                    <a:pt x="121063" y="357188"/>
                  </a:lnTo>
                  <a:lnTo>
                    <a:pt x="118682" y="368999"/>
                  </a:lnTo>
                  <a:cubicBezTo>
                    <a:pt x="121063" y="368999"/>
                    <a:pt x="123444" y="368999"/>
                    <a:pt x="125158" y="370142"/>
                  </a:cubicBezTo>
                  <a:lnTo>
                    <a:pt x="158210" y="374237"/>
                  </a:lnTo>
                  <a:cubicBezTo>
                    <a:pt x="173546" y="376619"/>
                    <a:pt x="188309" y="378428"/>
                    <a:pt x="203740" y="378428"/>
                  </a:cubicBezTo>
                  <a:cubicBezTo>
                    <a:pt x="275844" y="378428"/>
                    <a:pt x="308896" y="345948"/>
                    <a:pt x="334899" y="280988"/>
                  </a:cubicBezTo>
                  <a:cubicBezTo>
                    <a:pt x="349663" y="243745"/>
                    <a:pt x="359759" y="190595"/>
                    <a:pt x="359759" y="150400"/>
                  </a:cubicBezTo>
                  <a:cubicBezTo>
                    <a:pt x="359759" y="105537"/>
                    <a:pt x="342614" y="44101"/>
                    <a:pt x="291846" y="34004"/>
                  </a:cubicBezTo>
                  <a:cubicBezTo>
                    <a:pt x="272987" y="29909"/>
                    <a:pt x="237458" y="29337"/>
                    <a:pt x="218027" y="29337"/>
                  </a:cubicBezTo>
                  <a:cubicBezTo>
                    <a:pt x="205073" y="29337"/>
                    <a:pt x="192024" y="29909"/>
                    <a:pt x="179070" y="30480"/>
                  </a:cubicBezTo>
                  <a:cubicBezTo>
                    <a:pt x="177927" y="34576"/>
                    <a:pt x="177260" y="39338"/>
                    <a:pt x="176689" y="44101"/>
                  </a:cubicBezTo>
                  <a:lnTo>
                    <a:pt x="136493" y="264509"/>
                  </a:lnTo>
                  <a:lnTo>
                    <a:pt x="130588" y="302324"/>
                  </a:lnTo>
                  <a:moveTo>
                    <a:pt x="0" y="406337"/>
                  </a:moveTo>
                  <a:lnTo>
                    <a:pt x="1810" y="385667"/>
                  </a:lnTo>
                  <a:cubicBezTo>
                    <a:pt x="18955" y="383858"/>
                    <a:pt x="37814" y="383858"/>
                    <a:pt x="43148" y="364427"/>
                  </a:cubicBezTo>
                  <a:cubicBezTo>
                    <a:pt x="45529" y="357950"/>
                    <a:pt x="46672" y="350806"/>
                    <a:pt x="48482" y="344329"/>
                  </a:cubicBezTo>
                  <a:lnTo>
                    <a:pt x="54388" y="314230"/>
                  </a:lnTo>
                  <a:lnTo>
                    <a:pt x="56197" y="305372"/>
                  </a:lnTo>
                  <a:lnTo>
                    <a:pt x="88678" y="120491"/>
                  </a:lnTo>
                  <a:lnTo>
                    <a:pt x="96965" y="65532"/>
                  </a:lnTo>
                  <a:cubicBezTo>
                    <a:pt x="98108" y="54293"/>
                    <a:pt x="101727" y="40672"/>
                    <a:pt x="96965" y="29528"/>
                  </a:cubicBezTo>
                  <a:cubicBezTo>
                    <a:pt x="95155" y="26003"/>
                    <a:pt x="91059" y="24194"/>
                    <a:pt x="87535" y="23051"/>
                  </a:cubicBezTo>
                  <a:cubicBezTo>
                    <a:pt x="76295" y="21908"/>
                    <a:pt x="65056" y="21908"/>
                    <a:pt x="54483" y="21241"/>
                  </a:cubicBezTo>
                  <a:lnTo>
                    <a:pt x="42672" y="20669"/>
                  </a:lnTo>
                  <a:lnTo>
                    <a:pt x="47339" y="0"/>
                  </a:lnTo>
                  <a:cubicBezTo>
                    <a:pt x="75724" y="572"/>
                    <a:pt x="104108" y="1715"/>
                    <a:pt x="132398" y="2953"/>
                  </a:cubicBezTo>
                  <a:cubicBezTo>
                    <a:pt x="172593" y="1715"/>
                    <a:pt x="213932" y="572"/>
                    <a:pt x="254127" y="0"/>
                  </a:cubicBezTo>
                  <a:cubicBezTo>
                    <a:pt x="278321" y="0"/>
                    <a:pt x="303181" y="0"/>
                    <a:pt x="327374" y="5906"/>
                  </a:cubicBezTo>
                  <a:cubicBezTo>
                    <a:pt x="348044" y="11240"/>
                    <a:pt x="372904" y="20098"/>
                    <a:pt x="389954" y="34290"/>
                  </a:cubicBezTo>
                  <a:cubicBezTo>
                    <a:pt x="428911" y="67342"/>
                    <a:pt x="441388" y="109919"/>
                    <a:pt x="441388" y="159544"/>
                  </a:cubicBezTo>
                  <a:cubicBezTo>
                    <a:pt x="441388" y="209169"/>
                    <a:pt x="422529" y="265271"/>
                    <a:pt x="394716" y="304324"/>
                  </a:cubicBezTo>
                  <a:cubicBezTo>
                    <a:pt x="346901" y="374047"/>
                    <a:pt x="274796" y="408337"/>
                    <a:pt x="190881" y="406527"/>
                  </a:cubicBezTo>
                  <a:lnTo>
                    <a:pt x="153638" y="405289"/>
                  </a:lnTo>
                  <a:cubicBezTo>
                    <a:pt x="133541" y="405289"/>
                    <a:pt x="113443" y="403574"/>
                    <a:pt x="93917" y="403574"/>
                  </a:cubicBezTo>
                  <a:cubicBezTo>
                    <a:pt x="74390" y="403574"/>
                    <a:pt x="56674" y="404146"/>
                    <a:pt x="37814" y="405289"/>
                  </a:cubicBezTo>
                  <a:lnTo>
                    <a:pt x="12383" y="405289"/>
                  </a:lnTo>
                  <a:lnTo>
                    <a:pt x="0" y="4065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41" name="Freeform: Shape 840">
              <a:extLst>
                <a:ext uri="{FF2B5EF4-FFF2-40B4-BE49-F238E27FC236}">
                  <a16:creationId xmlns:a16="http://schemas.microsoft.com/office/drawing/2014/main" id="{7FC90D7F-7587-4D9D-B53A-C7F3FA6EBB4E}"/>
                </a:ext>
              </a:extLst>
            </p:cNvPr>
            <p:cNvSpPr/>
            <p:nvPr/>
          </p:nvSpPr>
          <p:spPr>
            <a:xfrm>
              <a:off x="7459316" y="5184171"/>
              <a:ext cx="31337" cy="30575"/>
            </a:xfrm>
            <a:custGeom>
              <a:avLst/>
              <a:gdLst>
                <a:gd name="connsiteX0" fmla="*/ 15812 w 31337"/>
                <a:gd name="connsiteY0" fmla="*/ 0 h 30575"/>
                <a:gd name="connsiteX1" fmla="*/ 31337 w 31337"/>
                <a:gd name="connsiteY1" fmla="*/ 15240 h 30575"/>
                <a:gd name="connsiteX2" fmla="*/ 15716 w 31337"/>
                <a:gd name="connsiteY2" fmla="*/ 30575 h 30575"/>
                <a:gd name="connsiteX3" fmla="*/ 0 w 31337"/>
                <a:gd name="connsiteY3" fmla="*/ 15240 h 30575"/>
                <a:gd name="connsiteX4" fmla="*/ 15716 w 31337"/>
                <a:gd name="connsiteY4" fmla="*/ 0 h 30575"/>
                <a:gd name="connsiteX5" fmla="*/ 15812 w 31337"/>
                <a:gd name="connsiteY5" fmla="*/ 0 h 30575"/>
                <a:gd name="connsiteX6" fmla="*/ 15621 w 31337"/>
                <a:gd name="connsiteY6" fmla="*/ 3048 h 30575"/>
                <a:gd name="connsiteX7" fmla="*/ 3905 w 31337"/>
                <a:gd name="connsiteY7" fmla="*/ 15240 h 30575"/>
                <a:gd name="connsiteX8" fmla="*/ 15812 w 31337"/>
                <a:gd name="connsiteY8" fmla="*/ 27432 h 30575"/>
                <a:gd name="connsiteX9" fmla="*/ 27432 w 31337"/>
                <a:gd name="connsiteY9" fmla="*/ 15240 h 30575"/>
                <a:gd name="connsiteX10" fmla="*/ 15716 w 31337"/>
                <a:gd name="connsiteY10" fmla="*/ 3048 h 30575"/>
                <a:gd name="connsiteX11" fmla="*/ 15716 w 31337"/>
                <a:gd name="connsiteY11" fmla="*/ 3048 h 30575"/>
                <a:gd name="connsiteX12" fmla="*/ 13240 w 31337"/>
                <a:gd name="connsiteY12" fmla="*/ 23146 h 30575"/>
                <a:gd name="connsiteX13" fmla="*/ 9716 w 31337"/>
                <a:gd name="connsiteY13" fmla="*/ 23146 h 30575"/>
                <a:gd name="connsiteX14" fmla="*/ 9716 w 31337"/>
                <a:gd name="connsiteY14" fmla="*/ 8001 h 30575"/>
                <a:gd name="connsiteX15" fmla="*/ 15621 w 31337"/>
                <a:gd name="connsiteY15" fmla="*/ 7430 h 30575"/>
                <a:gd name="connsiteX16" fmla="*/ 20955 w 31337"/>
                <a:gd name="connsiteY16" fmla="*/ 8668 h 30575"/>
                <a:gd name="connsiteX17" fmla="*/ 22479 w 31337"/>
                <a:gd name="connsiteY17" fmla="*/ 11906 h 30575"/>
                <a:gd name="connsiteX18" fmla="*/ 19336 w 31337"/>
                <a:gd name="connsiteY18" fmla="*/ 15526 h 30575"/>
                <a:gd name="connsiteX19" fmla="*/ 19336 w 31337"/>
                <a:gd name="connsiteY19" fmla="*/ 15716 h 30575"/>
                <a:gd name="connsiteX20" fmla="*/ 22098 w 31337"/>
                <a:gd name="connsiteY20" fmla="*/ 19431 h 30575"/>
                <a:gd name="connsiteX21" fmla="*/ 23241 w 31337"/>
                <a:gd name="connsiteY21" fmla="*/ 23146 h 30575"/>
                <a:gd name="connsiteX22" fmla="*/ 19431 w 31337"/>
                <a:gd name="connsiteY22" fmla="*/ 23146 h 30575"/>
                <a:gd name="connsiteX23" fmla="*/ 18193 w 31337"/>
                <a:gd name="connsiteY23" fmla="*/ 19526 h 30575"/>
                <a:gd name="connsiteX24" fmla="*/ 15050 w 31337"/>
                <a:gd name="connsiteY24" fmla="*/ 17145 h 30575"/>
                <a:gd name="connsiteX25" fmla="*/ 13335 w 31337"/>
                <a:gd name="connsiteY25" fmla="*/ 17145 h 30575"/>
                <a:gd name="connsiteX26" fmla="*/ 13335 w 31337"/>
                <a:gd name="connsiteY26" fmla="*/ 23241 h 30575"/>
                <a:gd name="connsiteX27" fmla="*/ 13240 w 31337"/>
                <a:gd name="connsiteY27" fmla="*/ 14573 h 30575"/>
                <a:gd name="connsiteX28" fmla="*/ 14954 w 31337"/>
                <a:gd name="connsiteY28" fmla="*/ 14573 h 30575"/>
                <a:gd name="connsiteX29" fmla="*/ 18479 w 31337"/>
                <a:gd name="connsiteY29" fmla="*/ 12383 h 30575"/>
                <a:gd name="connsiteX30" fmla="*/ 15240 w 31337"/>
                <a:gd name="connsiteY30" fmla="*/ 10097 h 30575"/>
                <a:gd name="connsiteX31" fmla="*/ 13240 w 31337"/>
                <a:gd name="connsiteY31" fmla="*/ 10287 h 30575"/>
                <a:gd name="connsiteX32" fmla="*/ 13240 w 31337"/>
                <a:gd name="connsiteY32" fmla="*/ 14669 h 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337" h="30575">
                  <a:moveTo>
                    <a:pt x="15812" y="0"/>
                  </a:moveTo>
                  <a:cubicBezTo>
                    <a:pt x="24575" y="0"/>
                    <a:pt x="31337" y="6763"/>
                    <a:pt x="31337" y="15240"/>
                  </a:cubicBezTo>
                  <a:cubicBezTo>
                    <a:pt x="31337" y="23717"/>
                    <a:pt x="24575" y="30575"/>
                    <a:pt x="15716" y="30575"/>
                  </a:cubicBezTo>
                  <a:cubicBezTo>
                    <a:pt x="6858" y="30575"/>
                    <a:pt x="0" y="23908"/>
                    <a:pt x="0" y="15240"/>
                  </a:cubicBezTo>
                  <a:cubicBezTo>
                    <a:pt x="0" y="6572"/>
                    <a:pt x="6953" y="0"/>
                    <a:pt x="15716" y="0"/>
                  </a:cubicBezTo>
                  <a:lnTo>
                    <a:pt x="15812" y="0"/>
                  </a:lnTo>
                  <a:close/>
                  <a:moveTo>
                    <a:pt x="15621" y="3048"/>
                  </a:moveTo>
                  <a:cubicBezTo>
                    <a:pt x="8954" y="3048"/>
                    <a:pt x="3905" y="8573"/>
                    <a:pt x="3905" y="15240"/>
                  </a:cubicBezTo>
                  <a:cubicBezTo>
                    <a:pt x="3905" y="21908"/>
                    <a:pt x="8954" y="27432"/>
                    <a:pt x="15812" y="27432"/>
                  </a:cubicBezTo>
                  <a:cubicBezTo>
                    <a:pt x="22479" y="27432"/>
                    <a:pt x="27432" y="22003"/>
                    <a:pt x="27432" y="15240"/>
                  </a:cubicBezTo>
                  <a:cubicBezTo>
                    <a:pt x="27432" y="8477"/>
                    <a:pt x="22479" y="3048"/>
                    <a:pt x="15716" y="3048"/>
                  </a:cubicBezTo>
                  <a:lnTo>
                    <a:pt x="15716" y="3048"/>
                  </a:lnTo>
                  <a:close/>
                  <a:moveTo>
                    <a:pt x="13240" y="23146"/>
                  </a:moveTo>
                  <a:lnTo>
                    <a:pt x="9716" y="23146"/>
                  </a:lnTo>
                  <a:lnTo>
                    <a:pt x="9716" y="8001"/>
                  </a:lnTo>
                  <a:cubicBezTo>
                    <a:pt x="11144" y="7715"/>
                    <a:pt x="13049" y="7430"/>
                    <a:pt x="15621" y="7430"/>
                  </a:cubicBezTo>
                  <a:cubicBezTo>
                    <a:pt x="18479" y="7430"/>
                    <a:pt x="19812" y="7906"/>
                    <a:pt x="20955" y="8668"/>
                  </a:cubicBezTo>
                  <a:cubicBezTo>
                    <a:pt x="21812" y="9335"/>
                    <a:pt x="22479" y="10573"/>
                    <a:pt x="22479" y="11906"/>
                  </a:cubicBezTo>
                  <a:cubicBezTo>
                    <a:pt x="22479" y="13716"/>
                    <a:pt x="21146" y="14954"/>
                    <a:pt x="19336" y="15526"/>
                  </a:cubicBezTo>
                  <a:lnTo>
                    <a:pt x="19336" y="15716"/>
                  </a:lnTo>
                  <a:cubicBezTo>
                    <a:pt x="20860" y="16193"/>
                    <a:pt x="21622" y="17431"/>
                    <a:pt x="22098" y="19431"/>
                  </a:cubicBezTo>
                  <a:cubicBezTo>
                    <a:pt x="22574" y="21717"/>
                    <a:pt x="22860" y="22670"/>
                    <a:pt x="23241" y="23146"/>
                  </a:cubicBezTo>
                  <a:lnTo>
                    <a:pt x="19431" y="23146"/>
                  </a:lnTo>
                  <a:cubicBezTo>
                    <a:pt x="18955" y="22574"/>
                    <a:pt x="18669" y="21241"/>
                    <a:pt x="18193" y="19526"/>
                  </a:cubicBezTo>
                  <a:cubicBezTo>
                    <a:pt x="17907" y="17812"/>
                    <a:pt x="16954" y="17145"/>
                    <a:pt x="15050" y="17145"/>
                  </a:cubicBezTo>
                  <a:lnTo>
                    <a:pt x="13335" y="17145"/>
                  </a:lnTo>
                  <a:lnTo>
                    <a:pt x="13335" y="23241"/>
                  </a:lnTo>
                  <a:close/>
                  <a:moveTo>
                    <a:pt x="13240" y="14573"/>
                  </a:moveTo>
                  <a:lnTo>
                    <a:pt x="14954" y="14573"/>
                  </a:lnTo>
                  <a:cubicBezTo>
                    <a:pt x="16859" y="14573"/>
                    <a:pt x="18479" y="13907"/>
                    <a:pt x="18479" y="12383"/>
                  </a:cubicBezTo>
                  <a:cubicBezTo>
                    <a:pt x="18479" y="10954"/>
                    <a:pt x="17431" y="10097"/>
                    <a:pt x="15240" y="10097"/>
                  </a:cubicBezTo>
                  <a:cubicBezTo>
                    <a:pt x="14288" y="10097"/>
                    <a:pt x="13716" y="10192"/>
                    <a:pt x="13240" y="10287"/>
                  </a:cubicBezTo>
                  <a:lnTo>
                    <a:pt x="13240" y="1466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03" name="Group 902">
            <a:extLst>
              <a:ext uri="{FF2B5EF4-FFF2-40B4-BE49-F238E27FC236}">
                <a16:creationId xmlns:a16="http://schemas.microsoft.com/office/drawing/2014/main" id="{DA8B4732-C0DC-442B-85BD-A1C769CBC983}"/>
              </a:ext>
            </a:extLst>
          </p:cNvPr>
          <p:cNvGrpSpPr/>
          <p:nvPr userDrawn="1"/>
        </p:nvGrpSpPr>
        <p:grpSpPr>
          <a:xfrm>
            <a:off x="7895882" y="3596128"/>
            <a:ext cx="1326038" cy="202394"/>
            <a:chOff x="8420386" y="5121329"/>
            <a:chExt cx="2725509" cy="415997"/>
          </a:xfrm>
        </p:grpSpPr>
        <p:sp>
          <p:nvSpPr>
            <p:cNvPr id="904" name="Freeform: Shape 903">
              <a:extLst>
                <a:ext uri="{FF2B5EF4-FFF2-40B4-BE49-F238E27FC236}">
                  <a16:creationId xmlns:a16="http://schemas.microsoft.com/office/drawing/2014/main" id="{F43C22A3-B8A8-483A-82BE-668C4EE1F614}"/>
                </a:ext>
              </a:extLst>
            </p:cNvPr>
            <p:cNvSpPr/>
            <p:nvPr/>
          </p:nvSpPr>
          <p:spPr>
            <a:xfrm>
              <a:off x="9083870" y="5121329"/>
              <a:ext cx="1956662" cy="322807"/>
            </a:xfrm>
            <a:custGeom>
              <a:avLst/>
              <a:gdLst>
                <a:gd name="connsiteX0" fmla="*/ 1800907 w 1956662"/>
                <a:gd name="connsiteY0" fmla="*/ 65292 h 322807"/>
                <a:gd name="connsiteX1" fmla="*/ 1800907 w 1956662"/>
                <a:gd name="connsiteY1" fmla="*/ 187014 h 322807"/>
                <a:gd name="connsiteX2" fmla="*/ 1805776 w 1956662"/>
                <a:gd name="connsiteY2" fmla="*/ 210190 h 322807"/>
                <a:gd name="connsiteX3" fmla="*/ 1825495 w 1956662"/>
                <a:gd name="connsiteY3" fmla="*/ 215887 h 322807"/>
                <a:gd name="connsiteX4" fmla="*/ 1849060 w 1956662"/>
                <a:gd name="connsiteY4" fmla="*/ 215887 h 322807"/>
                <a:gd name="connsiteX5" fmla="*/ 1862498 w 1956662"/>
                <a:gd name="connsiteY5" fmla="*/ 211310 h 322807"/>
                <a:gd name="connsiteX6" fmla="*/ 1865614 w 1956662"/>
                <a:gd name="connsiteY6" fmla="*/ 188329 h 322807"/>
                <a:gd name="connsiteX7" fmla="*/ 1865614 w 1956662"/>
                <a:gd name="connsiteY7" fmla="*/ 111985 h 322807"/>
                <a:gd name="connsiteX8" fmla="*/ 1864203 w 1956662"/>
                <a:gd name="connsiteY8" fmla="*/ 82284 h 322807"/>
                <a:gd name="connsiteX9" fmla="*/ 1858068 w 1956662"/>
                <a:gd name="connsiteY9" fmla="*/ 65292 h 322807"/>
                <a:gd name="connsiteX10" fmla="*/ 1956468 w 1956662"/>
                <a:gd name="connsiteY10" fmla="*/ 65292 h 322807"/>
                <a:gd name="connsiteX11" fmla="*/ 1956468 w 1956662"/>
                <a:gd name="connsiteY11" fmla="*/ 251089 h 322807"/>
                <a:gd name="connsiteX12" fmla="*/ 1956663 w 1956662"/>
                <a:gd name="connsiteY12" fmla="*/ 263553 h 322807"/>
                <a:gd name="connsiteX13" fmla="*/ 1931296 w 1956662"/>
                <a:gd name="connsiteY13" fmla="*/ 316722 h 322807"/>
                <a:gd name="connsiteX14" fmla="*/ 1915131 w 1956662"/>
                <a:gd name="connsiteY14" fmla="*/ 321493 h 322807"/>
                <a:gd name="connsiteX15" fmla="*/ 1873551 w 1956662"/>
                <a:gd name="connsiteY15" fmla="*/ 322808 h 322807"/>
                <a:gd name="connsiteX16" fmla="*/ 1722566 w 1956662"/>
                <a:gd name="connsiteY16" fmla="*/ 322808 h 322807"/>
                <a:gd name="connsiteX17" fmla="*/ 1715458 w 1956662"/>
                <a:gd name="connsiteY17" fmla="*/ 279182 h 322807"/>
                <a:gd name="connsiteX18" fmla="*/ 1733375 w 1956662"/>
                <a:gd name="connsiteY18" fmla="*/ 286048 h 322807"/>
                <a:gd name="connsiteX19" fmla="*/ 1763611 w 1956662"/>
                <a:gd name="connsiteY19" fmla="*/ 287654 h 322807"/>
                <a:gd name="connsiteX20" fmla="*/ 1845116 w 1956662"/>
                <a:gd name="connsiteY20" fmla="*/ 287654 h 322807"/>
                <a:gd name="connsiteX21" fmla="*/ 1861817 w 1956662"/>
                <a:gd name="connsiteY21" fmla="*/ 282883 h 322807"/>
                <a:gd name="connsiteX22" fmla="*/ 1865712 w 1956662"/>
                <a:gd name="connsiteY22" fmla="*/ 262482 h 322807"/>
                <a:gd name="connsiteX23" fmla="*/ 1865712 w 1956662"/>
                <a:gd name="connsiteY23" fmla="*/ 238868 h 322807"/>
                <a:gd name="connsiteX24" fmla="*/ 1853783 w 1956662"/>
                <a:gd name="connsiteY24" fmla="*/ 248460 h 322807"/>
                <a:gd name="connsiteX25" fmla="*/ 1830948 w 1956662"/>
                <a:gd name="connsiteY25" fmla="*/ 251040 h 322807"/>
                <a:gd name="connsiteX26" fmla="*/ 1778023 w 1956662"/>
                <a:gd name="connsiteY26" fmla="*/ 251040 h 322807"/>
                <a:gd name="connsiteX27" fmla="*/ 1745255 w 1956662"/>
                <a:gd name="connsiteY27" fmla="*/ 247340 h 322807"/>
                <a:gd name="connsiteX28" fmla="*/ 1725244 w 1956662"/>
                <a:gd name="connsiteY28" fmla="*/ 233220 h 322807"/>
                <a:gd name="connsiteX29" fmla="*/ 1712975 w 1956662"/>
                <a:gd name="connsiteY29" fmla="*/ 211700 h 322807"/>
                <a:gd name="connsiteX30" fmla="*/ 1710151 w 1956662"/>
                <a:gd name="connsiteY30" fmla="*/ 176351 h 322807"/>
                <a:gd name="connsiteX31" fmla="*/ 1710151 w 1956662"/>
                <a:gd name="connsiteY31" fmla="*/ 111985 h 322807"/>
                <a:gd name="connsiteX32" fmla="*/ 1708739 w 1956662"/>
                <a:gd name="connsiteY32" fmla="*/ 82284 h 322807"/>
                <a:gd name="connsiteX33" fmla="*/ 1702604 w 1956662"/>
                <a:gd name="connsiteY33" fmla="*/ 65292 h 322807"/>
                <a:gd name="connsiteX34" fmla="*/ 1801004 w 1956662"/>
                <a:gd name="connsiteY34" fmla="*/ 65292 h 322807"/>
                <a:gd name="connsiteX35" fmla="*/ 1585848 w 1956662"/>
                <a:gd name="connsiteY35" fmla="*/ 160966 h 322807"/>
                <a:gd name="connsiteX36" fmla="*/ 1542076 w 1956662"/>
                <a:gd name="connsiteY36" fmla="*/ 160966 h 322807"/>
                <a:gd name="connsiteX37" fmla="*/ 1525279 w 1956662"/>
                <a:gd name="connsiteY37" fmla="*/ 166029 h 322807"/>
                <a:gd name="connsiteX38" fmla="*/ 1520702 w 1956662"/>
                <a:gd name="connsiteY38" fmla="*/ 184531 h 322807"/>
                <a:gd name="connsiteX39" fmla="*/ 1520702 w 1956662"/>
                <a:gd name="connsiteY39" fmla="*/ 192565 h 322807"/>
                <a:gd name="connsiteX40" fmla="*/ 1525279 w 1956662"/>
                <a:gd name="connsiteY40" fmla="*/ 210920 h 322807"/>
                <a:gd name="connsiteX41" fmla="*/ 1542076 w 1956662"/>
                <a:gd name="connsiteY41" fmla="*/ 215935 h 322807"/>
                <a:gd name="connsiteX42" fmla="*/ 1564278 w 1956662"/>
                <a:gd name="connsiteY42" fmla="*/ 215935 h 322807"/>
                <a:gd name="connsiteX43" fmla="*/ 1581222 w 1956662"/>
                <a:gd name="connsiteY43" fmla="*/ 210920 h 322807"/>
                <a:gd name="connsiteX44" fmla="*/ 1585799 w 1956662"/>
                <a:gd name="connsiteY44" fmla="*/ 192565 h 322807"/>
                <a:gd name="connsiteX45" fmla="*/ 1585799 w 1956662"/>
                <a:gd name="connsiteY45" fmla="*/ 160966 h 322807"/>
                <a:gd name="connsiteX46" fmla="*/ 1444601 w 1956662"/>
                <a:gd name="connsiteY46" fmla="*/ 65292 h 322807"/>
                <a:gd name="connsiteX47" fmla="*/ 1613795 w 1956662"/>
                <a:gd name="connsiteY47" fmla="*/ 65292 h 322807"/>
                <a:gd name="connsiteX48" fmla="*/ 1642035 w 1956662"/>
                <a:gd name="connsiteY48" fmla="*/ 67921 h 322807"/>
                <a:gd name="connsiteX49" fmla="*/ 1659952 w 1956662"/>
                <a:gd name="connsiteY49" fmla="*/ 78730 h 322807"/>
                <a:gd name="connsiteX50" fmla="*/ 1676701 w 1956662"/>
                <a:gd name="connsiteY50" fmla="*/ 118460 h 322807"/>
                <a:gd name="connsiteX51" fmla="*/ 1676701 w 1956662"/>
                <a:gd name="connsiteY51" fmla="*/ 204542 h 322807"/>
                <a:gd name="connsiteX52" fmla="*/ 1678065 w 1956662"/>
                <a:gd name="connsiteY52" fmla="*/ 234048 h 322807"/>
                <a:gd name="connsiteX53" fmla="*/ 1684199 w 1956662"/>
                <a:gd name="connsiteY53" fmla="*/ 251089 h 322807"/>
                <a:gd name="connsiteX54" fmla="*/ 1593930 w 1956662"/>
                <a:gd name="connsiteY54" fmla="*/ 251089 h 322807"/>
                <a:gd name="connsiteX55" fmla="*/ 1588380 w 1956662"/>
                <a:gd name="connsiteY55" fmla="*/ 231370 h 322807"/>
                <a:gd name="connsiteX56" fmla="*/ 1577327 w 1956662"/>
                <a:gd name="connsiteY56" fmla="*/ 246317 h 322807"/>
                <a:gd name="connsiteX57" fmla="*/ 1554930 w 1956662"/>
                <a:gd name="connsiteY57" fmla="*/ 251089 h 322807"/>
                <a:gd name="connsiteX58" fmla="*/ 1487058 w 1956662"/>
                <a:gd name="connsiteY58" fmla="*/ 251089 h 322807"/>
                <a:gd name="connsiteX59" fmla="*/ 1460961 w 1956662"/>
                <a:gd name="connsiteY59" fmla="*/ 248898 h 322807"/>
                <a:gd name="connsiteX60" fmla="*/ 1444552 w 1956662"/>
                <a:gd name="connsiteY60" fmla="*/ 240816 h 322807"/>
                <a:gd name="connsiteX61" fmla="*/ 1433451 w 1956662"/>
                <a:gd name="connsiteY61" fmla="*/ 224748 h 322807"/>
                <a:gd name="connsiteX62" fmla="*/ 1429897 w 1956662"/>
                <a:gd name="connsiteY62" fmla="*/ 200160 h 322807"/>
                <a:gd name="connsiteX63" fmla="*/ 1429897 w 1956662"/>
                <a:gd name="connsiteY63" fmla="*/ 168756 h 322807"/>
                <a:gd name="connsiteX64" fmla="*/ 1442021 w 1956662"/>
                <a:gd name="connsiteY64" fmla="*/ 136913 h 322807"/>
                <a:gd name="connsiteX65" fmla="*/ 1477174 w 1956662"/>
                <a:gd name="connsiteY65" fmla="*/ 125861 h 322807"/>
                <a:gd name="connsiteX66" fmla="*/ 1563646 w 1956662"/>
                <a:gd name="connsiteY66" fmla="*/ 125861 h 322807"/>
                <a:gd name="connsiteX67" fmla="*/ 1578934 w 1956662"/>
                <a:gd name="connsiteY67" fmla="*/ 124546 h 322807"/>
                <a:gd name="connsiteX68" fmla="*/ 1585507 w 1956662"/>
                <a:gd name="connsiteY68" fmla="*/ 112423 h 322807"/>
                <a:gd name="connsiteX69" fmla="*/ 1581368 w 1956662"/>
                <a:gd name="connsiteY69" fmla="*/ 103026 h 322807"/>
                <a:gd name="connsiteX70" fmla="*/ 1565690 w 1956662"/>
                <a:gd name="connsiteY70" fmla="*/ 100494 h 322807"/>
                <a:gd name="connsiteX71" fmla="*/ 1477417 w 1956662"/>
                <a:gd name="connsiteY71" fmla="*/ 100494 h 322807"/>
                <a:gd name="connsiteX72" fmla="*/ 1438466 w 1956662"/>
                <a:gd name="connsiteY72" fmla="*/ 109355 h 322807"/>
                <a:gd name="connsiteX73" fmla="*/ 1444698 w 1956662"/>
                <a:gd name="connsiteY73" fmla="*/ 65341 h 322807"/>
                <a:gd name="connsiteX74" fmla="*/ 1207875 w 1956662"/>
                <a:gd name="connsiteY74" fmla="*/ 65292 h 322807"/>
                <a:gd name="connsiteX75" fmla="*/ 1317133 w 1956662"/>
                <a:gd name="connsiteY75" fmla="*/ 65292 h 322807"/>
                <a:gd name="connsiteX76" fmla="*/ 1346980 w 1956662"/>
                <a:gd name="connsiteY76" fmla="*/ 179467 h 322807"/>
                <a:gd name="connsiteX77" fmla="*/ 1363485 w 1956662"/>
                <a:gd name="connsiteY77" fmla="*/ 112131 h 322807"/>
                <a:gd name="connsiteX78" fmla="*/ 1366991 w 1956662"/>
                <a:gd name="connsiteY78" fmla="*/ 85644 h 322807"/>
                <a:gd name="connsiteX79" fmla="*/ 1363534 w 1956662"/>
                <a:gd name="connsiteY79" fmla="*/ 65243 h 322807"/>
                <a:gd name="connsiteX80" fmla="*/ 1420354 w 1956662"/>
                <a:gd name="connsiteY80" fmla="*/ 65243 h 322807"/>
                <a:gd name="connsiteX81" fmla="*/ 1409058 w 1956662"/>
                <a:gd name="connsiteY81" fmla="*/ 79850 h 322807"/>
                <a:gd name="connsiteX82" fmla="*/ 1401414 w 1956662"/>
                <a:gd name="connsiteY82" fmla="*/ 103172 h 322807"/>
                <a:gd name="connsiteX83" fmla="*/ 1363534 w 1956662"/>
                <a:gd name="connsiteY83" fmla="*/ 251040 h 322807"/>
                <a:gd name="connsiteX84" fmla="*/ 1270441 w 1956662"/>
                <a:gd name="connsiteY84" fmla="*/ 251040 h 322807"/>
                <a:gd name="connsiteX85" fmla="*/ 1233096 w 1956662"/>
                <a:gd name="connsiteY85" fmla="*/ 108333 h 322807"/>
                <a:gd name="connsiteX86" fmla="*/ 1196677 w 1956662"/>
                <a:gd name="connsiteY86" fmla="*/ 251040 h 322807"/>
                <a:gd name="connsiteX87" fmla="*/ 1103048 w 1956662"/>
                <a:gd name="connsiteY87" fmla="*/ 251040 h 322807"/>
                <a:gd name="connsiteX88" fmla="*/ 1063853 w 1956662"/>
                <a:gd name="connsiteY88" fmla="*/ 96696 h 322807"/>
                <a:gd name="connsiteX89" fmla="*/ 1058303 w 1956662"/>
                <a:gd name="connsiteY89" fmla="*/ 80239 h 322807"/>
                <a:gd name="connsiteX90" fmla="*/ 1049831 w 1956662"/>
                <a:gd name="connsiteY90" fmla="*/ 65243 h 322807"/>
                <a:gd name="connsiteX91" fmla="*/ 1161329 w 1956662"/>
                <a:gd name="connsiteY91" fmla="*/ 65243 h 322807"/>
                <a:gd name="connsiteX92" fmla="*/ 1157628 w 1956662"/>
                <a:gd name="connsiteY92" fmla="*/ 84183 h 322807"/>
                <a:gd name="connsiteX93" fmla="*/ 1161329 w 1956662"/>
                <a:gd name="connsiteY93" fmla="*/ 108333 h 322807"/>
                <a:gd name="connsiteX94" fmla="*/ 1178954 w 1956662"/>
                <a:gd name="connsiteY94" fmla="*/ 179467 h 322807"/>
                <a:gd name="connsiteX95" fmla="*/ 1207827 w 1956662"/>
                <a:gd name="connsiteY95" fmla="*/ 65292 h 322807"/>
                <a:gd name="connsiteX96" fmla="*/ 878835 w 1956662"/>
                <a:gd name="connsiteY96" fmla="*/ 0 h 322807"/>
                <a:gd name="connsiteX97" fmla="*/ 878835 w 1956662"/>
                <a:gd name="connsiteY97" fmla="*/ 76539 h 322807"/>
                <a:gd name="connsiteX98" fmla="*/ 901525 w 1956662"/>
                <a:gd name="connsiteY98" fmla="*/ 65341 h 322807"/>
                <a:gd name="connsiteX99" fmla="*/ 973243 w 1956662"/>
                <a:gd name="connsiteY99" fmla="*/ 65341 h 322807"/>
                <a:gd name="connsiteX100" fmla="*/ 1001240 w 1956662"/>
                <a:gd name="connsiteY100" fmla="*/ 68651 h 322807"/>
                <a:gd name="connsiteX101" fmla="*/ 1019644 w 1956662"/>
                <a:gd name="connsiteY101" fmla="*/ 80191 h 322807"/>
                <a:gd name="connsiteX102" fmla="*/ 1033959 w 1956662"/>
                <a:gd name="connsiteY102" fmla="*/ 121430 h 322807"/>
                <a:gd name="connsiteX103" fmla="*/ 1033959 w 1956662"/>
                <a:gd name="connsiteY103" fmla="*/ 204396 h 322807"/>
                <a:gd name="connsiteX104" fmla="*/ 1035371 w 1956662"/>
                <a:gd name="connsiteY104" fmla="*/ 234096 h 322807"/>
                <a:gd name="connsiteX105" fmla="*/ 1041505 w 1956662"/>
                <a:gd name="connsiteY105" fmla="*/ 251138 h 322807"/>
                <a:gd name="connsiteX106" fmla="*/ 935607 w 1956662"/>
                <a:gd name="connsiteY106" fmla="*/ 251138 h 322807"/>
                <a:gd name="connsiteX107" fmla="*/ 941742 w 1956662"/>
                <a:gd name="connsiteY107" fmla="*/ 234096 h 322807"/>
                <a:gd name="connsiteX108" fmla="*/ 943105 w 1956662"/>
                <a:gd name="connsiteY108" fmla="*/ 204396 h 322807"/>
                <a:gd name="connsiteX109" fmla="*/ 943105 w 1956662"/>
                <a:gd name="connsiteY109" fmla="*/ 122501 h 322807"/>
                <a:gd name="connsiteX110" fmla="*/ 922363 w 1956662"/>
                <a:gd name="connsiteY110" fmla="*/ 100445 h 322807"/>
                <a:gd name="connsiteX111" fmla="*/ 897483 w 1956662"/>
                <a:gd name="connsiteY111" fmla="*/ 100445 h 322807"/>
                <a:gd name="connsiteX112" fmla="*/ 883218 w 1956662"/>
                <a:gd name="connsiteY112" fmla="*/ 105217 h 322807"/>
                <a:gd name="connsiteX113" fmla="*/ 878884 w 1956662"/>
                <a:gd name="connsiteY113" fmla="*/ 120846 h 322807"/>
                <a:gd name="connsiteX114" fmla="*/ 878884 w 1956662"/>
                <a:gd name="connsiteY114" fmla="*/ 204347 h 322807"/>
                <a:gd name="connsiteX115" fmla="*/ 880247 w 1956662"/>
                <a:gd name="connsiteY115" fmla="*/ 234048 h 322807"/>
                <a:gd name="connsiteX116" fmla="*/ 886431 w 1956662"/>
                <a:gd name="connsiteY116" fmla="*/ 251089 h 322807"/>
                <a:gd name="connsiteX117" fmla="*/ 780532 w 1956662"/>
                <a:gd name="connsiteY117" fmla="*/ 251089 h 322807"/>
                <a:gd name="connsiteX118" fmla="*/ 786667 w 1956662"/>
                <a:gd name="connsiteY118" fmla="*/ 234048 h 322807"/>
                <a:gd name="connsiteX119" fmla="*/ 788079 w 1956662"/>
                <a:gd name="connsiteY119" fmla="*/ 204347 h 322807"/>
                <a:gd name="connsiteX120" fmla="*/ 788079 w 1956662"/>
                <a:gd name="connsiteY120" fmla="*/ 46693 h 322807"/>
                <a:gd name="connsiteX121" fmla="*/ 786667 w 1956662"/>
                <a:gd name="connsiteY121" fmla="*/ 16992 h 322807"/>
                <a:gd name="connsiteX122" fmla="*/ 780532 w 1956662"/>
                <a:gd name="connsiteY122" fmla="*/ 0 h 322807"/>
                <a:gd name="connsiteX123" fmla="*/ 878884 w 1956662"/>
                <a:gd name="connsiteY123" fmla="*/ 0 h 322807"/>
                <a:gd name="connsiteX124" fmla="*/ 755214 w 1956662"/>
                <a:gd name="connsiteY124" fmla="*/ 65292 h 322807"/>
                <a:gd name="connsiteX125" fmla="*/ 755214 w 1956662"/>
                <a:gd name="connsiteY125" fmla="*/ 100445 h 322807"/>
                <a:gd name="connsiteX126" fmla="*/ 678334 w 1956662"/>
                <a:gd name="connsiteY126" fmla="*/ 100445 h 322807"/>
                <a:gd name="connsiteX127" fmla="*/ 678334 w 1956662"/>
                <a:gd name="connsiteY127" fmla="*/ 186722 h 322807"/>
                <a:gd name="connsiteX128" fmla="*/ 679259 w 1956662"/>
                <a:gd name="connsiteY128" fmla="*/ 203374 h 322807"/>
                <a:gd name="connsiteX129" fmla="*/ 683106 w 1956662"/>
                <a:gd name="connsiteY129" fmla="*/ 210969 h 322807"/>
                <a:gd name="connsiteX130" fmla="*/ 705211 w 1956662"/>
                <a:gd name="connsiteY130" fmla="*/ 215935 h 322807"/>
                <a:gd name="connsiteX131" fmla="*/ 729799 w 1956662"/>
                <a:gd name="connsiteY131" fmla="*/ 215935 h 322807"/>
                <a:gd name="connsiteX132" fmla="*/ 766413 w 1956662"/>
                <a:gd name="connsiteY132" fmla="*/ 206003 h 322807"/>
                <a:gd name="connsiteX133" fmla="*/ 759450 w 1956662"/>
                <a:gd name="connsiteY133" fmla="*/ 251089 h 322807"/>
                <a:gd name="connsiteX134" fmla="*/ 663241 w 1956662"/>
                <a:gd name="connsiteY134" fmla="*/ 251089 h 322807"/>
                <a:gd name="connsiteX135" fmla="*/ 623316 w 1956662"/>
                <a:gd name="connsiteY135" fmla="*/ 248119 h 322807"/>
                <a:gd name="connsiteX136" fmla="*/ 601990 w 1956662"/>
                <a:gd name="connsiteY136" fmla="*/ 236190 h 322807"/>
                <a:gd name="connsiteX137" fmla="*/ 590159 w 1956662"/>
                <a:gd name="connsiteY137" fmla="*/ 216228 h 322807"/>
                <a:gd name="connsiteX138" fmla="*/ 587530 w 1956662"/>
                <a:gd name="connsiteY138" fmla="*/ 176790 h 322807"/>
                <a:gd name="connsiteX139" fmla="*/ 587530 w 1956662"/>
                <a:gd name="connsiteY139" fmla="*/ 100445 h 322807"/>
                <a:gd name="connsiteX140" fmla="*/ 559436 w 1956662"/>
                <a:gd name="connsiteY140" fmla="*/ 100445 h 322807"/>
                <a:gd name="connsiteX141" fmla="*/ 559436 w 1956662"/>
                <a:gd name="connsiteY141" fmla="*/ 65292 h 322807"/>
                <a:gd name="connsiteX142" fmla="*/ 587530 w 1956662"/>
                <a:gd name="connsiteY142" fmla="*/ 65292 h 322807"/>
                <a:gd name="connsiteX143" fmla="*/ 587530 w 1956662"/>
                <a:gd name="connsiteY143" fmla="*/ 27071 h 322807"/>
                <a:gd name="connsiteX144" fmla="*/ 678383 w 1956662"/>
                <a:gd name="connsiteY144" fmla="*/ 23176 h 322807"/>
                <a:gd name="connsiteX145" fmla="*/ 678383 w 1956662"/>
                <a:gd name="connsiteY145" fmla="*/ 65292 h 322807"/>
                <a:gd name="connsiteX146" fmla="*/ 755263 w 1956662"/>
                <a:gd name="connsiteY146" fmla="*/ 65292 h 322807"/>
                <a:gd name="connsiteX147" fmla="*/ 448961 w 1956662"/>
                <a:gd name="connsiteY147" fmla="*/ 160966 h 322807"/>
                <a:gd name="connsiteX148" fmla="*/ 405189 w 1956662"/>
                <a:gd name="connsiteY148" fmla="*/ 160966 h 322807"/>
                <a:gd name="connsiteX149" fmla="*/ 388440 w 1956662"/>
                <a:gd name="connsiteY149" fmla="*/ 166029 h 322807"/>
                <a:gd name="connsiteX150" fmla="*/ 383864 w 1956662"/>
                <a:gd name="connsiteY150" fmla="*/ 184531 h 322807"/>
                <a:gd name="connsiteX151" fmla="*/ 383864 w 1956662"/>
                <a:gd name="connsiteY151" fmla="*/ 192565 h 322807"/>
                <a:gd name="connsiteX152" fmla="*/ 388440 w 1956662"/>
                <a:gd name="connsiteY152" fmla="*/ 210920 h 322807"/>
                <a:gd name="connsiteX153" fmla="*/ 405189 w 1956662"/>
                <a:gd name="connsiteY153" fmla="*/ 215935 h 322807"/>
                <a:gd name="connsiteX154" fmla="*/ 427440 w 1956662"/>
                <a:gd name="connsiteY154" fmla="*/ 215935 h 322807"/>
                <a:gd name="connsiteX155" fmla="*/ 444384 w 1956662"/>
                <a:gd name="connsiteY155" fmla="*/ 210920 h 322807"/>
                <a:gd name="connsiteX156" fmla="*/ 448961 w 1956662"/>
                <a:gd name="connsiteY156" fmla="*/ 192565 h 322807"/>
                <a:gd name="connsiteX157" fmla="*/ 448961 w 1956662"/>
                <a:gd name="connsiteY157" fmla="*/ 160966 h 322807"/>
                <a:gd name="connsiteX158" fmla="*/ 307714 w 1956662"/>
                <a:gd name="connsiteY158" fmla="*/ 65292 h 322807"/>
                <a:gd name="connsiteX159" fmla="*/ 476908 w 1956662"/>
                <a:gd name="connsiteY159" fmla="*/ 65292 h 322807"/>
                <a:gd name="connsiteX160" fmla="*/ 505148 w 1956662"/>
                <a:gd name="connsiteY160" fmla="*/ 67921 h 322807"/>
                <a:gd name="connsiteX161" fmla="*/ 523017 w 1956662"/>
                <a:gd name="connsiteY161" fmla="*/ 78730 h 322807"/>
                <a:gd name="connsiteX162" fmla="*/ 539766 w 1956662"/>
                <a:gd name="connsiteY162" fmla="*/ 118460 h 322807"/>
                <a:gd name="connsiteX163" fmla="*/ 539766 w 1956662"/>
                <a:gd name="connsiteY163" fmla="*/ 204542 h 322807"/>
                <a:gd name="connsiteX164" fmla="*/ 541178 w 1956662"/>
                <a:gd name="connsiteY164" fmla="*/ 234048 h 322807"/>
                <a:gd name="connsiteX165" fmla="*/ 547361 w 1956662"/>
                <a:gd name="connsiteY165" fmla="*/ 251089 h 322807"/>
                <a:gd name="connsiteX166" fmla="*/ 457092 w 1956662"/>
                <a:gd name="connsiteY166" fmla="*/ 251089 h 322807"/>
                <a:gd name="connsiteX167" fmla="*/ 451541 w 1956662"/>
                <a:gd name="connsiteY167" fmla="*/ 231370 h 322807"/>
                <a:gd name="connsiteX168" fmla="*/ 440489 w 1956662"/>
                <a:gd name="connsiteY168" fmla="*/ 246317 h 322807"/>
                <a:gd name="connsiteX169" fmla="*/ 418092 w 1956662"/>
                <a:gd name="connsiteY169" fmla="*/ 251089 h 322807"/>
                <a:gd name="connsiteX170" fmla="*/ 350220 w 1956662"/>
                <a:gd name="connsiteY170" fmla="*/ 251089 h 322807"/>
                <a:gd name="connsiteX171" fmla="*/ 324122 w 1956662"/>
                <a:gd name="connsiteY171" fmla="*/ 248898 h 322807"/>
                <a:gd name="connsiteX172" fmla="*/ 307714 w 1956662"/>
                <a:gd name="connsiteY172" fmla="*/ 240816 h 322807"/>
                <a:gd name="connsiteX173" fmla="*/ 296613 w 1956662"/>
                <a:gd name="connsiteY173" fmla="*/ 224748 h 322807"/>
                <a:gd name="connsiteX174" fmla="*/ 293010 w 1956662"/>
                <a:gd name="connsiteY174" fmla="*/ 200160 h 322807"/>
                <a:gd name="connsiteX175" fmla="*/ 293010 w 1956662"/>
                <a:gd name="connsiteY175" fmla="*/ 168756 h 322807"/>
                <a:gd name="connsiteX176" fmla="*/ 305134 w 1956662"/>
                <a:gd name="connsiteY176" fmla="*/ 136913 h 322807"/>
                <a:gd name="connsiteX177" fmla="*/ 340287 w 1956662"/>
                <a:gd name="connsiteY177" fmla="*/ 125861 h 322807"/>
                <a:gd name="connsiteX178" fmla="*/ 426759 w 1956662"/>
                <a:gd name="connsiteY178" fmla="*/ 125861 h 322807"/>
                <a:gd name="connsiteX179" fmla="*/ 441998 w 1956662"/>
                <a:gd name="connsiteY179" fmla="*/ 124546 h 322807"/>
                <a:gd name="connsiteX180" fmla="*/ 448620 w 1956662"/>
                <a:gd name="connsiteY180" fmla="*/ 112423 h 322807"/>
                <a:gd name="connsiteX181" fmla="*/ 444481 w 1956662"/>
                <a:gd name="connsiteY181" fmla="*/ 103026 h 322807"/>
                <a:gd name="connsiteX182" fmla="*/ 428755 w 1956662"/>
                <a:gd name="connsiteY182" fmla="*/ 100494 h 322807"/>
                <a:gd name="connsiteX183" fmla="*/ 340482 w 1956662"/>
                <a:gd name="connsiteY183" fmla="*/ 100494 h 322807"/>
                <a:gd name="connsiteX184" fmla="*/ 301482 w 1956662"/>
                <a:gd name="connsiteY184" fmla="*/ 109355 h 322807"/>
                <a:gd name="connsiteX185" fmla="*/ 307714 w 1956662"/>
                <a:gd name="connsiteY185" fmla="*/ 65341 h 322807"/>
                <a:gd name="connsiteX186" fmla="*/ 104876 w 1956662"/>
                <a:gd name="connsiteY186" fmla="*/ 119531 h 322807"/>
                <a:gd name="connsiteX187" fmla="*/ 153078 w 1956662"/>
                <a:gd name="connsiteY187" fmla="*/ 119531 h 322807"/>
                <a:gd name="connsiteX188" fmla="*/ 173576 w 1956662"/>
                <a:gd name="connsiteY188" fmla="*/ 114419 h 322807"/>
                <a:gd name="connsiteX189" fmla="*/ 177909 w 1956662"/>
                <a:gd name="connsiteY189" fmla="*/ 90269 h 322807"/>
                <a:gd name="connsiteX190" fmla="*/ 177909 w 1956662"/>
                <a:gd name="connsiteY190" fmla="*/ 70648 h 322807"/>
                <a:gd name="connsiteX191" fmla="*/ 174160 w 1956662"/>
                <a:gd name="connsiteY191" fmla="*/ 46790 h 322807"/>
                <a:gd name="connsiteX192" fmla="*/ 158044 w 1956662"/>
                <a:gd name="connsiteY192" fmla="*/ 41386 h 322807"/>
                <a:gd name="connsiteX193" fmla="*/ 104876 w 1956662"/>
                <a:gd name="connsiteY193" fmla="*/ 41386 h 322807"/>
                <a:gd name="connsiteX194" fmla="*/ 104876 w 1956662"/>
                <a:gd name="connsiteY194" fmla="*/ 119531 h 322807"/>
                <a:gd name="connsiteX195" fmla="*/ 104876 w 1956662"/>
                <a:gd name="connsiteY195" fmla="*/ 160917 h 322807"/>
                <a:gd name="connsiteX196" fmla="*/ 104876 w 1956662"/>
                <a:gd name="connsiteY196" fmla="*/ 213696 h 322807"/>
                <a:gd name="connsiteX197" fmla="*/ 115539 w 1956662"/>
                <a:gd name="connsiteY197" fmla="*/ 251040 h 322807"/>
                <a:gd name="connsiteX198" fmla="*/ 0 w 1956662"/>
                <a:gd name="connsiteY198" fmla="*/ 251040 h 322807"/>
                <a:gd name="connsiteX199" fmla="*/ 10468 w 1956662"/>
                <a:gd name="connsiteY199" fmla="*/ 213696 h 322807"/>
                <a:gd name="connsiteX200" fmla="*/ 10468 w 1956662"/>
                <a:gd name="connsiteY200" fmla="*/ 37198 h 322807"/>
                <a:gd name="connsiteX201" fmla="*/ 0 w 1956662"/>
                <a:gd name="connsiteY201" fmla="*/ 0 h 322807"/>
                <a:gd name="connsiteX202" fmla="*/ 205419 w 1956662"/>
                <a:gd name="connsiteY202" fmla="*/ 0 h 322807"/>
                <a:gd name="connsiteX203" fmla="*/ 237553 w 1956662"/>
                <a:gd name="connsiteY203" fmla="*/ 2581 h 322807"/>
                <a:gd name="connsiteX204" fmla="*/ 256201 w 1956662"/>
                <a:gd name="connsiteY204" fmla="*/ 12318 h 322807"/>
                <a:gd name="connsiteX205" fmla="*/ 272025 w 1956662"/>
                <a:gd name="connsiteY205" fmla="*/ 52048 h 322807"/>
                <a:gd name="connsiteX206" fmla="*/ 272025 w 1956662"/>
                <a:gd name="connsiteY206" fmla="*/ 109063 h 322807"/>
                <a:gd name="connsiteX207" fmla="*/ 256201 w 1956662"/>
                <a:gd name="connsiteY207" fmla="*/ 148599 h 322807"/>
                <a:gd name="connsiteX208" fmla="*/ 237553 w 1956662"/>
                <a:gd name="connsiteY208" fmla="*/ 158336 h 322807"/>
                <a:gd name="connsiteX209" fmla="*/ 205419 w 1956662"/>
                <a:gd name="connsiteY209" fmla="*/ 160917 h 322807"/>
                <a:gd name="connsiteX210" fmla="*/ 104827 w 1956662"/>
                <a:gd name="connsiteY210" fmla="*/ 160917 h 3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956662" h="322807">
                  <a:moveTo>
                    <a:pt x="1800907" y="65292"/>
                  </a:moveTo>
                  <a:lnTo>
                    <a:pt x="1800907" y="187014"/>
                  </a:lnTo>
                  <a:cubicBezTo>
                    <a:pt x="1800907" y="198700"/>
                    <a:pt x="1802562" y="206392"/>
                    <a:pt x="1805776" y="210190"/>
                  </a:cubicBezTo>
                  <a:cubicBezTo>
                    <a:pt x="1808989" y="214037"/>
                    <a:pt x="1815562" y="215887"/>
                    <a:pt x="1825495" y="215887"/>
                  </a:cubicBezTo>
                  <a:lnTo>
                    <a:pt x="1849060" y="215887"/>
                  </a:lnTo>
                  <a:cubicBezTo>
                    <a:pt x="1856217" y="215887"/>
                    <a:pt x="1860648" y="214377"/>
                    <a:pt x="1862498" y="211310"/>
                  </a:cubicBezTo>
                  <a:cubicBezTo>
                    <a:pt x="1864300" y="208243"/>
                    <a:pt x="1865371" y="200550"/>
                    <a:pt x="1865614" y="188329"/>
                  </a:cubicBezTo>
                  <a:lnTo>
                    <a:pt x="1865614" y="111985"/>
                  </a:lnTo>
                  <a:cubicBezTo>
                    <a:pt x="1865614" y="97865"/>
                    <a:pt x="1865176" y="88030"/>
                    <a:pt x="1864203" y="82284"/>
                  </a:cubicBezTo>
                  <a:cubicBezTo>
                    <a:pt x="1863277" y="76588"/>
                    <a:pt x="1861281" y="70940"/>
                    <a:pt x="1858068" y="65292"/>
                  </a:cubicBezTo>
                  <a:lnTo>
                    <a:pt x="1956468" y="65292"/>
                  </a:lnTo>
                  <a:lnTo>
                    <a:pt x="1956468" y="251089"/>
                  </a:lnTo>
                  <a:cubicBezTo>
                    <a:pt x="1956565" y="259463"/>
                    <a:pt x="1956663" y="263553"/>
                    <a:pt x="1956663" y="263553"/>
                  </a:cubicBezTo>
                  <a:cubicBezTo>
                    <a:pt x="1956663" y="289894"/>
                    <a:pt x="1948142" y="307665"/>
                    <a:pt x="1931296" y="316722"/>
                  </a:cubicBezTo>
                  <a:cubicBezTo>
                    <a:pt x="1926524" y="319302"/>
                    <a:pt x="1921120" y="320958"/>
                    <a:pt x="1915131" y="321493"/>
                  </a:cubicBezTo>
                  <a:cubicBezTo>
                    <a:pt x="1909094" y="322126"/>
                    <a:pt x="1895315" y="322564"/>
                    <a:pt x="1873551" y="322808"/>
                  </a:cubicBezTo>
                  <a:lnTo>
                    <a:pt x="1722566" y="322808"/>
                  </a:lnTo>
                  <a:lnTo>
                    <a:pt x="1715458" y="279182"/>
                  </a:lnTo>
                  <a:cubicBezTo>
                    <a:pt x="1721203" y="282639"/>
                    <a:pt x="1727192" y="284879"/>
                    <a:pt x="1733375" y="286048"/>
                  </a:cubicBezTo>
                  <a:cubicBezTo>
                    <a:pt x="1739559" y="287119"/>
                    <a:pt x="1749637" y="287654"/>
                    <a:pt x="1763611" y="287654"/>
                  </a:cubicBezTo>
                  <a:lnTo>
                    <a:pt x="1845116" y="287654"/>
                  </a:lnTo>
                  <a:cubicBezTo>
                    <a:pt x="1853734" y="287654"/>
                    <a:pt x="1859236" y="286096"/>
                    <a:pt x="1861817" y="282883"/>
                  </a:cubicBezTo>
                  <a:cubicBezTo>
                    <a:pt x="1864397" y="279669"/>
                    <a:pt x="1865712" y="272902"/>
                    <a:pt x="1865712" y="262482"/>
                  </a:cubicBezTo>
                  <a:lnTo>
                    <a:pt x="1865712" y="238868"/>
                  </a:lnTo>
                  <a:cubicBezTo>
                    <a:pt x="1862742" y="243591"/>
                    <a:pt x="1858798" y="246756"/>
                    <a:pt x="1853783" y="248460"/>
                  </a:cubicBezTo>
                  <a:cubicBezTo>
                    <a:pt x="1848768" y="250164"/>
                    <a:pt x="1841075" y="251040"/>
                    <a:pt x="1830948" y="251040"/>
                  </a:cubicBezTo>
                  <a:lnTo>
                    <a:pt x="1778023" y="251040"/>
                  </a:lnTo>
                  <a:cubicBezTo>
                    <a:pt x="1763514" y="251040"/>
                    <a:pt x="1752705" y="249774"/>
                    <a:pt x="1745255" y="247340"/>
                  </a:cubicBezTo>
                  <a:cubicBezTo>
                    <a:pt x="1737903" y="244905"/>
                    <a:pt x="1731233" y="240183"/>
                    <a:pt x="1725244" y="233220"/>
                  </a:cubicBezTo>
                  <a:cubicBezTo>
                    <a:pt x="1719012" y="226063"/>
                    <a:pt x="1714922" y="218905"/>
                    <a:pt x="1712975" y="211700"/>
                  </a:cubicBezTo>
                  <a:cubicBezTo>
                    <a:pt x="1711076" y="204494"/>
                    <a:pt x="1710151" y="192662"/>
                    <a:pt x="1710151" y="176351"/>
                  </a:cubicBezTo>
                  <a:lnTo>
                    <a:pt x="1710151" y="111985"/>
                  </a:lnTo>
                  <a:cubicBezTo>
                    <a:pt x="1710151" y="97719"/>
                    <a:pt x="1709712" y="87884"/>
                    <a:pt x="1708739" y="82284"/>
                  </a:cubicBezTo>
                  <a:cubicBezTo>
                    <a:pt x="1707814" y="76685"/>
                    <a:pt x="1705769" y="71037"/>
                    <a:pt x="1702604" y="65292"/>
                  </a:cubicBezTo>
                  <a:lnTo>
                    <a:pt x="1801004" y="65292"/>
                  </a:lnTo>
                  <a:close/>
                  <a:moveTo>
                    <a:pt x="1585848" y="160966"/>
                  </a:moveTo>
                  <a:lnTo>
                    <a:pt x="1542076" y="160966"/>
                  </a:lnTo>
                  <a:cubicBezTo>
                    <a:pt x="1533994" y="160966"/>
                    <a:pt x="1528395" y="162670"/>
                    <a:pt x="1525279" y="166029"/>
                  </a:cubicBezTo>
                  <a:cubicBezTo>
                    <a:pt x="1522211" y="169389"/>
                    <a:pt x="1520702" y="175572"/>
                    <a:pt x="1520702" y="184531"/>
                  </a:cubicBezTo>
                  <a:lnTo>
                    <a:pt x="1520702" y="192565"/>
                  </a:lnTo>
                  <a:cubicBezTo>
                    <a:pt x="1520702" y="201426"/>
                    <a:pt x="1522211" y="207512"/>
                    <a:pt x="1525279" y="210920"/>
                  </a:cubicBezTo>
                  <a:cubicBezTo>
                    <a:pt x="1528346" y="214231"/>
                    <a:pt x="1533945" y="215935"/>
                    <a:pt x="1542076" y="215935"/>
                  </a:cubicBezTo>
                  <a:lnTo>
                    <a:pt x="1564278" y="215935"/>
                  </a:lnTo>
                  <a:cubicBezTo>
                    <a:pt x="1572507" y="215935"/>
                    <a:pt x="1578155" y="214231"/>
                    <a:pt x="1581222" y="210920"/>
                  </a:cubicBezTo>
                  <a:cubicBezTo>
                    <a:pt x="1584290" y="207512"/>
                    <a:pt x="1585799" y="201426"/>
                    <a:pt x="1585799" y="192565"/>
                  </a:cubicBezTo>
                  <a:lnTo>
                    <a:pt x="1585799" y="160966"/>
                  </a:lnTo>
                  <a:close/>
                  <a:moveTo>
                    <a:pt x="1444601" y="65292"/>
                  </a:moveTo>
                  <a:lnTo>
                    <a:pt x="1613795" y="65292"/>
                  </a:lnTo>
                  <a:cubicBezTo>
                    <a:pt x="1626552" y="65292"/>
                    <a:pt x="1635949" y="66168"/>
                    <a:pt x="1642035" y="67921"/>
                  </a:cubicBezTo>
                  <a:cubicBezTo>
                    <a:pt x="1648121" y="69723"/>
                    <a:pt x="1654110" y="73326"/>
                    <a:pt x="1659952" y="78730"/>
                  </a:cubicBezTo>
                  <a:cubicBezTo>
                    <a:pt x="1671394" y="89393"/>
                    <a:pt x="1676945" y="102636"/>
                    <a:pt x="1676701" y="118460"/>
                  </a:cubicBezTo>
                  <a:lnTo>
                    <a:pt x="1676701" y="204542"/>
                  </a:lnTo>
                  <a:cubicBezTo>
                    <a:pt x="1676701" y="218565"/>
                    <a:pt x="1677140" y="228449"/>
                    <a:pt x="1678065" y="234048"/>
                  </a:cubicBezTo>
                  <a:cubicBezTo>
                    <a:pt x="1678990" y="239647"/>
                    <a:pt x="1681035" y="245295"/>
                    <a:pt x="1684199" y="251089"/>
                  </a:cubicBezTo>
                  <a:lnTo>
                    <a:pt x="1593930" y="251089"/>
                  </a:lnTo>
                  <a:cubicBezTo>
                    <a:pt x="1591252" y="246074"/>
                    <a:pt x="1589402" y="239452"/>
                    <a:pt x="1588380" y="231370"/>
                  </a:cubicBezTo>
                  <a:cubicBezTo>
                    <a:pt x="1586432" y="238138"/>
                    <a:pt x="1582732" y="243104"/>
                    <a:pt x="1577327" y="246317"/>
                  </a:cubicBezTo>
                  <a:cubicBezTo>
                    <a:pt x="1571923" y="249531"/>
                    <a:pt x="1564473" y="251089"/>
                    <a:pt x="1554930" y="251089"/>
                  </a:cubicBezTo>
                  <a:lnTo>
                    <a:pt x="1487058" y="251089"/>
                  </a:lnTo>
                  <a:cubicBezTo>
                    <a:pt x="1475616" y="251089"/>
                    <a:pt x="1466949" y="250310"/>
                    <a:pt x="1460961" y="248898"/>
                  </a:cubicBezTo>
                  <a:cubicBezTo>
                    <a:pt x="1454923" y="247389"/>
                    <a:pt x="1449470" y="244711"/>
                    <a:pt x="1444552" y="240816"/>
                  </a:cubicBezTo>
                  <a:cubicBezTo>
                    <a:pt x="1439537" y="236628"/>
                    <a:pt x="1435837" y="231272"/>
                    <a:pt x="1433451" y="224748"/>
                  </a:cubicBezTo>
                  <a:cubicBezTo>
                    <a:pt x="1431066" y="218126"/>
                    <a:pt x="1429897" y="209995"/>
                    <a:pt x="1429897" y="200160"/>
                  </a:cubicBezTo>
                  <a:lnTo>
                    <a:pt x="1429897" y="168756"/>
                  </a:lnTo>
                  <a:cubicBezTo>
                    <a:pt x="1429897" y="154880"/>
                    <a:pt x="1433889" y="144265"/>
                    <a:pt x="1442021" y="136913"/>
                  </a:cubicBezTo>
                  <a:cubicBezTo>
                    <a:pt x="1450103" y="129561"/>
                    <a:pt x="1461837" y="125861"/>
                    <a:pt x="1477174" y="125861"/>
                  </a:cubicBezTo>
                  <a:lnTo>
                    <a:pt x="1563646" y="125861"/>
                  </a:lnTo>
                  <a:cubicBezTo>
                    <a:pt x="1571436" y="125715"/>
                    <a:pt x="1576499" y="125277"/>
                    <a:pt x="1578934" y="124546"/>
                  </a:cubicBezTo>
                  <a:cubicBezTo>
                    <a:pt x="1583316" y="122988"/>
                    <a:pt x="1585507" y="118947"/>
                    <a:pt x="1585507" y="112423"/>
                  </a:cubicBezTo>
                  <a:cubicBezTo>
                    <a:pt x="1585507" y="107797"/>
                    <a:pt x="1584144" y="104633"/>
                    <a:pt x="1581368" y="103026"/>
                  </a:cubicBezTo>
                  <a:cubicBezTo>
                    <a:pt x="1578593" y="101322"/>
                    <a:pt x="1573383" y="100494"/>
                    <a:pt x="1565690" y="100494"/>
                  </a:cubicBezTo>
                  <a:lnTo>
                    <a:pt x="1477417" y="100494"/>
                  </a:lnTo>
                  <a:cubicBezTo>
                    <a:pt x="1462226" y="100251"/>
                    <a:pt x="1449227" y="103221"/>
                    <a:pt x="1438466" y="109355"/>
                  </a:cubicBezTo>
                  <a:lnTo>
                    <a:pt x="1444698" y="65341"/>
                  </a:lnTo>
                  <a:close/>
                  <a:moveTo>
                    <a:pt x="1207875" y="65292"/>
                  </a:moveTo>
                  <a:lnTo>
                    <a:pt x="1317133" y="65292"/>
                  </a:lnTo>
                  <a:lnTo>
                    <a:pt x="1346980" y="179467"/>
                  </a:lnTo>
                  <a:lnTo>
                    <a:pt x="1363485" y="112131"/>
                  </a:lnTo>
                  <a:cubicBezTo>
                    <a:pt x="1365822" y="102490"/>
                    <a:pt x="1366991" y="93629"/>
                    <a:pt x="1366991" y="85644"/>
                  </a:cubicBezTo>
                  <a:cubicBezTo>
                    <a:pt x="1366991" y="77659"/>
                    <a:pt x="1365871" y="71135"/>
                    <a:pt x="1363534" y="65243"/>
                  </a:cubicBezTo>
                  <a:lnTo>
                    <a:pt x="1420354" y="65243"/>
                  </a:lnTo>
                  <a:cubicBezTo>
                    <a:pt x="1414950" y="70648"/>
                    <a:pt x="1411200" y="75517"/>
                    <a:pt x="1409058" y="79850"/>
                  </a:cubicBezTo>
                  <a:cubicBezTo>
                    <a:pt x="1406867" y="84183"/>
                    <a:pt x="1404384" y="91973"/>
                    <a:pt x="1401414" y="103172"/>
                  </a:cubicBezTo>
                  <a:lnTo>
                    <a:pt x="1363534" y="251040"/>
                  </a:lnTo>
                  <a:lnTo>
                    <a:pt x="1270441" y="251040"/>
                  </a:lnTo>
                  <a:lnTo>
                    <a:pt x="1233096" y="108333"/>
                  </a:lnTo>
                  <a:lnTo>
                    <a:pt x="1196677" y="251040"/>
                  </a:lnTo>
                  <a:lnTo>
                    <a:pt x="1103048" y="251040"/>
                  </a:lnTo>
                  <a:lnTo>
                    <a:pt x="1063853" y="96696"/>
                  </a:lnTo>
                  <a:cubicBezTo>
                    <a:pt x="1062149" y="90172"/>
                    <a:pt x="1060251" y="84719"/>
                    <a:pt x="1058303" y="80239"/>
                  </a:cubicBezTo>
                  <a:cubicBezTo>
                    <a:pt x="1056355" y="75711"/>
                    <a:pt x="1053531" y="70745"/>
                    <a:pt x="1049831" y="65243"/>
                  </a:cubicBezTo>
                  <a:lnTo>
                    <a:pt x="1161329" y="65243"/>
                  </a:lnTo>
                  <a:cubicBezTo>
                    <a:pt x="1158846" y="72449"/>
                    <a:pt x="1157628" y="78779"/>
                    <a:pt x="1157628" y="84183"/>
                  </a:cubicBezTo>
                  <a:cubicBezTo>
                    <a:pt x="1157628" y="90415"/>
                    <a:pt x="1158894" y="98449"/>
                    <a:pt x="1161329" y="108333"/>
                  </a:cubicBezTo>
                  <a:lnTo>
                    <a:pt x="1178954" y="179467"/>
                  </a:lnTo>
                  <a:lnTo>
                    <a:pt x="1207827" y="65292"/>
                  </a:lnTo>
                  <a:close/>
                  <a:moveTo>
                    <a:pt x="878835" y="0"/>
                  </a:moveTo>
                  <a:lnTo>
                    <a:pt x="878835" y="76539"/>
                  </a:lnTo>
                  <a:cubicBezTo>
                    <a:pt x="883218" y="68944"/>
                    <a:pt x="890813" y="65194"/>
                    <a:pt x="901525" y="65341"/>
                  </a:cubicBezTo>
                  <a:lnTo>
                    <a:pt x="973243" y="65341"/>
                  </a:lnTo>
                  <a:cubicBezTo>
                    <a:pt x="985172" y="65341"/>
                    <a:pt x="994472" y="66460"/>
                    <a:pt x="1001240" y="68651"/>
                  </a:cubicBezTo>
                  <a:cubicBezTo>
                    <a:pt x="1007959" y="70842"/>
                    <a:pt x="1014093" y="74738"/>
                    <a:pt x="1019644" y="80191"/>
                  </a:cubicBezTo>
                  <a:cubicBezTo>
                    <a:pt x="1029041" y="90172"/>
                    <a:pt x="1033812" y="103951"/>
                    <a:pt x="1033959" y="121430"/>
                  </a:cubicBezTo>
                  <a:lnTo>
                    <a:pt x="1033959" y="204396"/>
                  </a:lnTo>
                  <a:cubicBezTo>
                    <a:pt x="1033959" y="218613"/>
                    <a:pt x="1034397" y="228497"/>
                    <a:pt x="1035371" y="234096"/>
                  </a:cubicBezTo>
                  <a:cubicBezTo>
                    <a:pt x="1036295" y="239696"/>
                    <a:pt x="1038340" y="245344"/>
                    <a:pt x="1041505" y="251138"/>
                  </a:cubicBezTo>
                  <a:lnTo>
                    <a:pt x="935607" y="251138"/>
                  </a:lnTo>
                  <a:cubicBezTo>
                    <a:pt x="938772" y="245344"/>
                    <a:pt x="940817" y="239744"/>
                    <a:pt x="941742" y="234096"/>
                  </a:cubicBezTo>
                  <a:cubicBezTo>
                    <a:pt x="942715" y="228497"/>
                    <a:pt x="943105" y="218662"/>
                    <a:pt x="943105" y="204396"/>
                  </a:cubicBezTo>
                  <a:lnTo>
                    <a:pt x="943105" y="122501"/>
                  </a:lnTo>
                  <a:cubicBezTo>
                    <a:pt x="944127" y="108187"/>
                    <a:pt x="937165" y="100835"/>
                    <a:pt x="922363" y="100445"/>
                  </a:cubicBezTo>
                  <a:lnTo>
                    <a:pt x="897483" y="100445"/>
                  </a:lnTo>
                  <a:cubicBezTo>
                    <a:pt x="890862" y="100445"/>
                    <a:pt x="886090" y="102003"/>
                    <a:pt x="883218" y="105217"/>
                  </a:cubicBezTo>
                  <a:cubicBezTo>
                    <a:pt x="880345" y="108430"/>
                    <a:pt x="878884" y="113640"/>
                    <a:pt x="878884" y="120846"/>
                  </a:cubicBezTo>
                  <a:lnTo>
                    <a:pt x="878884" y="204347"/>
                  </a:lnTo>
                  <a:cubicBezTo>
                    <a:pt x="878884" y="218565"/>
                    <a:pt x="879322" y="228449"/>
                    <a:pt x="880247" y="234048"/>
                  </a:cubicBezTo>
                  <a:cubicBezTo>
                    <a:pt x="881221" y="239647"/>
                    <a:pt x="883218" y="245295"/>
                    <a:pt x="886431" y="251089"/>
                  </a:cubicBezTo>
                  <a:lnTo>
                    <a:pt x="780532" y="251089"/>
                  </a:lnTo>
                  <a:cubicBezTo>
                    <a:pt x="783746" y="245295"/>
                    <a:pt x="785742" y="239696"/>
                    <a:pt x="786667" y="234048"/>
                  </a:cubicBezTo>
                  <a:cubicBezTo>
                    <a:pt x="787592" y="228449"/>
                    <a:pt x="788079" y="218613"/>
                    <a:pt x="788079" y="204347"/>
                  </a:cubicBezTo>
                  <a:lnTo>
                    <a:pt x="788079" y="46693"/>
                  </a:lnTo>
                  <a:cubicBezTo>
                    <a:pt x="788079" y="32524"/>
                    <a:pt x="787641" y="22592"/>
                    <a:pt x="786667" y="16992"/>
                  </a:cubicBezTo>
                  <a:cubicBezTo>
                    <a:pt x="785742" y="11393"/>
                    <a:pt x="783697" y="5745"/>
                    <a:pt x="780532" y="0"/>
                  </a:cubicBezTo>
                  <a:lnTo>
                    <a:pt x="878884" y="0"/>
                  </a:lnTo>
                  <a:close/>
                  <a:moveTo>
                    <a:pt x="755214" y="65292"/>
                  </a:moveTo>
                  <a:lnTo>
                    <a:pt x="755214" y="100445"/>
                  </a:lnTo>
                  <a:lnTo>
                    <a:pt x="678334" y="100445"/>
                  </a:lnTo>
                  <a:lnTo>
                    <a:pt x="678334" y="186722"/>
                  </a:lnTo>
                  <a:cubicBezTo>
                    <a:pt x="678334" y="194707"/>
                    <a:pt x="678627" y="200209"/>
                    <a:pt x="679259" y="203374"/>
                  </a:cubicBezTo>
                  <a:cubicBezTo>
                    <a:pt x="679844" y="206490"/>
                    <a:pt x="681158" y="209022"/>
                    <a:pt x="683106" y="210969"/>
                  </a:cubicBezTo>
                  <a:cubicBezTo>
                    <a:pt x="686660" y="214426"/>
                    <a:pt x="694012" y="216033"/>
                    <a:pt x="705211" y="215935"/>
                  </a:cubicBezTo>
                  <a:lnTo>
                    <a:pt x="729799" y="215935"/>
                  </a:lnTo>
                  <a:cubicBezTo>
                    <a:pt x="745915" y="215789"/>
                    <a:pt x="758136" y="212527"/>
                    <a:pt x="766413" y="206003"/>
                  </a:cubicBezTo>
                  <a:lnTo>
                    <a:pt x="759450" y="251089"/>
                  </a:lnTo>
                  <a:lnTo>
                    <a:pt x="663241" y="251089"/>
                  </a:lnTo>
                  <a:cubicBezTo>
                    <a:pt x="644593" y="251089"/>
                    <a:pt x="631301" y="250066"/>
                    <a:pt x="623316" y="248119"/>
                  </a:cubicBezTo>
                  <a:cubicBezTo>
                    <a:pt x="615331" y="246171"/>
                    <a:pt x="608271" y="242179"/>
                    <a:pt x="601990" y="236190"/>
                  </a:cubicBezTo>
                  <a:cubicBezTo>
                    <a:pt x="595904" y="230153"/>
                    <a:pt x="591912" y="223531"/>
                    <a:pt x="590159" y="216228"/>
                  </a:cubicBezTo>
                  <a:cubicBezTo>
                    <a:pt x="588406" y="208924"/>
                    <a:pt x="587530" y="195730"/>
                    <a:pt x="587530" y="176790"/>
                  </a:cubicBezTo>
                  <a:lnTo>
                    <a:pt x="587530" y="100445"/>
                  </a:lnTo>
                  <a:lnTo>
                    <a:pt x="559436" y="100445"/>
                  </a:lnTo>
                  <a:lnTo>
                    <a:pt x="559436" y="65292"/>
                  </a:lnTo>
                  <a:lnTo>
                    <a:pt x="587530" y="65292"/>
                  </a:lnTo>
                  <a:lnTo>
                    <a:pt x="587530" y="27071"/>
                  </a:lnTo>
                  <a:lnTo>
                    <a:pt x="678383" y="23176"/>
                  </a:lnTo>
                  <a:lnTo>
                    <a:pt x="678383" y="65292"/>
                  </a:lnTo>
                  <a:lnTo>
                    <a:pt x="755263" y="65292"/>
                  </a:lnTo>
                  <a:close/>
                  <a:moveTo>
                    <a:pt x="448961" y="160966"/>
                  </a:moveTo>
                  <a:lnTo>
                    <a:pt x="405189" y="160966"/>
                  </a:lnTo>
                  <a:cubicBezTo>
                    <a:pt x="397107" y="160966"/>
                    <a:pt x="391508" y="162670"/>
                    <a:pt x="388440" y="166029"/>
                  </a:cubicBezTo>
                  <a:cubicBezTo>
                    <a:pt x="385373" y="169389"/>
                    <a:pt x="383864" y="175572"/>
                    <a:pt x="383864" y="184531"/>
                  </a:cubicBezTo>
                  <a:lnTo>
                    <a:pt x="383864" y="192565"/>
                  </a:lnTo>
                  <a:cubicBezTo>
                    <a:pt x="383864" y="201426"/>
                    <a:pt x="385373" y="207512"/>
                    <a:pt x="388440" y="210920"/>
                  </a:cubicBezTo>
                  <a:cubicBezTo>
                    <a:pt x="391508" y="214231"/>
                    <a:pt x="397107" y="215935"/>
                    <a:pt x="405189" y="215935"/>
                  </a:cubicBezTo>
                  <a:lnTo>
                    <a:pt x="427440" y="215935"/>
                  </a:lnTo>
                  <a:cubicBezTo>
                    <a:pt x="435669" y="215935"/>
                    <a:pt x="441317" y="214231"/>
                    <a:pt x="444384" y="210920"/>
                  </a:cubicBezTo>
                  <a:cubicBezTo>
                    <a:pt x="447451" y="207512"/>
                    <a:pt x="448961" y="201426"/>
                    <a:pt x="448961" y="192565"/>
                  </a:cubicBezTo>
                  <a:lnTo>
                    <a:pt x="448961" y="160966"/>
                  </a:lnTo>
                  <a:close/>
                  <a:moveTo>
                    <a:pt x="307714" y="65292"/>
                  </a:moveTo>
                  <a:lnTo>
                    <a:pt x="476908" y="65292"/>
                  </a:lnTo>
                  <a:cubicBezTo>
                    <a:pt x="489616" y="65292"/>
                    <a:pt x="499062" y="66168"/>
                    <a:pt x="505148" y="67921"/>
                  </a:cubicBezTo>
                  <a:cubicBezTo>
                    <a:pt x="511234" y="69723"/>
                    <a:pt x="517223" y="73326"/>
                    <a:pt x="523017" y="78730"/>
                  </a:cubicBezTo>
                  <a:cubicBezTo>
                    <a:pt x="534459" y="89393"/>
                    <a:pt x="540009" y="102636"/>
                    <a:pt x="539766" y="118460"/>
                  </a:cubicBezTo>
                  <a:lnTo>
                    <a:pt x="539766" y="204542"/>
                  </a:lnTo>
                  <a:cubicBezTo>
                    <a:pt x="539766" y="218565"/>
                    <a:pt x="540204" y="228449"/>
                    <a:pt x="541178" y="234048"/>
                  </a:cubicBezTo>
                  <a:cubicBezTo>
                    <a:pt x="542103" y="239647"/>
                    <a:pt x="544148" y="245295"/>
                    <a:pt x="547361" y="251089"/>
                  </a:cubicBezTo>
                  <a:lnTo>
                    <a:pt x="457092" y="251089"/>
                  </a:lnTo>
                  <a:cubicBezTo>
                    <a:pt x="454365" y="246074"/>
                    <a:pt x="452564" y="239452"/>
                    <a:pt x="451541" y="231370"/>
                  </a:cubicBezTo>
                  <a:cubicBezTo>
                    <a:pt x="449594" y="238138"/>
                    <a:pt x="445893" y="243104"/>
                    <a:pt x="440489" y="246317"/>
                  </a:cubicBezTo>
                  <a:cubicBezTo>
                    <a:pt x="435084" y="249531"/>
                    <a:pt x="427635" y="251089"/>
                    <a:pt x="418092" y="251089"/>
                  </a:cubicBezTo>
                  <a:lnTo>
                    <a:pt x="350220" y="251089"/>
                  </a:lnTo>
                  <a:cubicBezTo>
                    <a:pt x="338778" y="251089"/>
                    <a:pt x="330160" y="250310"/>
                    <a:pt x="324122" y="248898"/>
                  </a:cubicBezTo>
                  <a:cubicBezTo>
                    <a:pt x="318085" y="247389"/>
                    <a:pt x="312632" y="244711"/>
                    <a:pt x="307714" y="240816"/>
                  </a:cubicBezTo>
                  <a:cubicBezTo>
                    <a:pt x="302699" y="236628"/>
                    <a:pt x="298999" y="231272"/>
                    <a:pt x="296613" y="224748"/>
                  </a:cubicBezTo>
                  <a:cubicBezTo>
                    <a:pt x="294227" y="218126"/>
                    <a:pt x="293010" y="209995"/>
                    <a:pt x="293010" y="200160"/>
                  </a:cubicBezTo>
                  <a:lnTo>
                    <a:pt x="293010" y="168756"/>
                  </a:lnTo>
                  <a:cubicBezTo>
                    <a:pt x="293010" y="154880"/>
                    <a:pt x="297051" y="144265"/>
                    <a:pt x="305134" y="136913"/>
                  </a:cubicBezTo>
                  <a:cubicBezTo>
                    <a:pt x="313216" y="129561"/>
                    <a:pt x="324950" y="125861"/>
                    <a:pt x="340287" y="125861"/>
                  </a:cubicBezTo>
                  <a:lnTo>
                    <a:pt x="426759" y="125861"/>
                  </a:lnTo>
                  <a:cubicBezTo>
                    <a:pt x="434549" y="125715"/>
                    <a:pt x="439661" y="125277"/>
                    <a:pt x="441998" y="124546"/>
                  </a:cubicBezTo>
                  <a:cubicBezTo>
                    <a:pt x="446429" y="122988"/>
                    <a:pt x="448620" y="118947"/>
                    <a:pt x="448620" y="112423"/>
                  </a:cubicBezTo>
                  <a:cubicBezTo>
                    <a:pt x="448620" y="107797"/>
                    <a:pt x="447257" y="104633"/>
                    <a:pt x="444481" y="103026"/>
                  </a:cubicBezTo>
                  <a:cubicBezTo>
                    <a:pt x="441706" y="101322"/>
                    <a:pt x="436496" y="100494"/>
                    <a:pt x="428755" y="100494"/>
                  </a:cubicBezTo>
                  <a:lnTo>
                    <a:pt x="340482" y="100494"/>
                  </a:lnTo>
                  <a:cubicBezTo>
                    <a:pt x="325291" y="100251"/>
                    <a:pt x="312291" y="103221"/>
                    <a:pt x="301482" y="109355"/>
                  </a:cubicBezTo>
                  <a:lnTo>
                    <a:pt x="307714" y="65341"/>
                  </a:lnTo>
                  <a:close/>
                  <a:moveTo>
                    <a:pt x="104876" y="119531"/>
                  </a:moveTo>
                  <a:lnTo>
                    <a:pt x="153078" y="119531"/>
                  </a:lnTo>
                  <a:cubicBezTo>
                    <a:pt x="163838" y="119531"/>
                    <a:pt x="170655" y="117827"/>
                    <a:pt x="173576" y="114419"/>
                  </a:cubicBezTo>
                  <a:cubicBezTo>
                    <a:pt x="176449" y="110962"/>
                    <a:pt x="177909" y="102928"/>
                    <a:pt x="177909" y="90269"/>
                  </a:cubicBezTo>
                  <a:lnTo>
                    <a:pt x="177909" y="70648"/>
                  </a:lnTo>
                  <a:cubicBezTo>
                    <a:pt x="177909" y="58329"/>
                    <a:pt x="176643" y="50442"/>
                    <a:pt x="174160" y="46790"/>
                  </a:cubicBezTo>
                  <a:cubicBezTo>
                    <a:pt x="171726" y="43187"/>
                    <a:pt x="166321" y="41386"/>
                    <a:pt x="158044" y="41386"/>
                  </a:cubicBezTo>
                  <a:lnTo>
                    <a:pt x="104876" y="41386"/>
                  </a:lnTo>
                  <a:lnTo>
                    <a:pt x="104876" y="119531"/>
                  </a:lnTo>
                  <a:close/>
                  <a:moveTo>
                    <a:pt x="104876" y="160917"/>
                  </a:moveTo>
                  <a:lnTo>
                    <a:pt x="104876" y="213696"/>
                  </a:lnTo>
                  <a:cubicBezTo>
                    <a:pt x="105363" y="230153"/>
                    <a:pt x="108868" y="242568"/>
                    <a:pt x="115539" y="251040"/>
                  </a:cubicBezTo>
                  <a:lnTo>
                    <a:pt x="0" y="251040"/>
                  </a:lnTo>
                  <a:cubicBezTo>
                    <a:pt x="6524" y="242325"/>
                    <a:pt x="9981" y="229860"/>
                    <a:pt x="10468" y="213696"/>
                  </a:cubicBezTo>
                  <a:lnTo>
                    <a:pt x="10468" y="37198"/>
                  </a:lnTo>
                  <a:cubicBezTo>
                    <a:pt x="9981" y="21131"/>
                    <a:pt x="6524" y="8764"/>
                    <a:pt x="0" y="0"/>
                  </a:cubicBezTo>
                  <a:lnTo>
                    <a:pt x="205419" y="0"/>
                  </a:lnTo>
                  <a:cubicBezTo>
                    <a:pt x="219685" y="0"/>
                    <a:pt x="230347" y="876"/>
                    <a:pt x="237553" y="2581"/>
                  </a:cubicBezTo>
                  <a:cubicBezTo>
                    <a:pt x="244711" y="4285"/>
                    <a:pt x="250943" y="7547"/>
                    <a:pt x="256201" y="12318"/>
                  </a:cubicBezTo>
                  <a:cubicBezTo>
                    <a:pt x="266377" y="21180"/>
                    <a:pt x="271636" y="34423"/>
                    <a:pt x="272025" y="52048"/>
                  </a:cubicBezTo>
                  <a:lnTo>
                    <a:pt x="272025" y="109063"/>
                  </a:lnTo>
                  <a:cubicBezTo>
                    <a:pt x="271636" y="126591"/>
                    <a:pt x="266377" y="139737"/>
                    <a:pt x="256201" y="148599"/>
                  </a:cubicBezTo>
                  <a:cubicBezTo>
                    <a:pt x="250943" y="153370"/>
                    <a:pt x="244711" y="156632"/>
                    <a:pt x="237553" y="158336"/>
                  </a:cubicBezTo>
                  <a:cubicBezTo>
                    <a:pt x="230347" y="160041"/>
                    <a:pt x="219636" y="160917"/>
                    <a:pt x="205419" y="160917"/>
                  </a:cubicBezTo>
                  <a:lnTo>
                    <a:pt x="104827" y="160917"/>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05" name="Freeform: Shape 904">
              <a:extLst>
                <a:ext uri="{FF2B5EF4-FFF2-40B4-BE49-F238E27FC236}">
                  <a16:creationId xmlns:a16="http://schemas.microsoft.com/office/drawing/2014/main" id="{04B87486-B694-4D4D-AC7A-1B2316C79051}"/>
                </a:ext>
              </a:extLst>
            </p:cNvPr>
            <p:cNvSpPr/>
            <p:nvPr/>
          </p:nvSpPr>
          <p:spPr>
            <a:xfrm>
              <a:off x="9091076" y="5410346"/>
              <a:ext cx="1659367" cy="126980"/>
            </a:xfrm>
            <a:custGeom>
              <a:avLst/>
              <a:gdLst>
                <a:gd name="connsiteX0" fmla="*/ 1640428 w 1659367"/>
                <a:gd name="connsiteY0" fmla="*/ 54678 h 126980"/>
                <a:gd name="connsiteX1" fmla="*/ 1655278 w 1659367"/>
                <a:gd name="connsiteY1" fmla="*/ 58621 h 126980"/>
                <a:gd name="connsiteX2" fmla="*/ 1659368 w 1659367"/>
                <a:gd name="connsiteY2" fmla="*/ 73618 h 126980"/>
                <a:gd name="connsiteX3" fmla="*/ 1659368 w 1659367"/>
                <a:gd name="connsiteY3" fmla="*/ 86958 h 126980"/>
                <a:gd name="connsiteX4" fmla="*/ 1655327 w 1659367"/>
                <a:gd name="connsiteY4" fmla="*/ 96307 h 126980"/>
                <a:gd name="connsiteX5" fmla="*/ 1641791 w 1659367"/>
                <a:gd name="connsiteY5" fmla="*/ 99423 h 126980"/>
                <a:gd name="connsiteX6" fmla="*/ 1583608 w 1659367"/>
                <a:gd name="connsiteY6" fmla="*/ 99423 h 126980"/>
                <a:gd name="connsiteX7" fmla="*/ 1582488 w 1659367"/>
                <a:gd name="connsiteY7" fmla="*/ 90561 h 126980"/>
                <a:gd name="connsiteX8" fmla="*/ 1598020 w 1659367"/>
                <a:gd name="connsiteY8" fmla="*/ 92266 h 126980"/>
                <a:gd name="connsiteX9" fmla="*/ 1640818 w 1659367"/>
                <a:gd name="connsiteY9" fmla="*/ 92266 h 126980"/>
                <a:gd name="connsiteX10" fmla="*/ 1646222 w 1659367"/>
                <a:gd name="connsiteY10" fmla="*/ 90610 h 126980"/>
                <a:gd name="connsiteX11" fmla="*/ 1647537 w 1659367"/>
                <a:gd name="connsiteY11" fmla="*/ 84183 h 126980"/>
                <a:gd name="connsiteX12" fmla="*/ 1647537 w 1659367"/>
                <a:gd name="connsiteY12" fmla="*/ 75468 h 126980"/>
                <a:gd name="connsiteX13" fmla="*/ 1646319 w 1659367"/>
                <a:gd name="connsiteY13" fmla="*/ 68944 h 126980"/>
                <a:gd name="connsiteX14" fmla="*/ 1640866 w 1659367"/>
                <a:gd name="connsiteY14" fmla="*/ 67385 h 126980"/>
                <a:gd name="connsiteX15" fmla="*/ 1601428 w 1659367"/>
                <a:gd name="connsiteY15" fmla="*/ 67385 h 126980"/>
                <a:gd name="connsiteX16" fmla="*/ 1586578 w 1659367"/>
                <a:gd name="connsiteY16" fmla="*/ 63442 h 126980"/>
                <a:gd name="connsiteX17" fmla="*/ 1582488 w 1659367"/>
                <a:gd name="connsiteY17" fmla="*/ 48445 h 126980"/>
                <a:gd name="connsiteX18" fmla="*/ 1582488 w 1659367"/>
                <a:gd name="connsiteY18" fmla="*/ 45378 h 126980"/>
                <a:gd name="connsiteX19" fmla="*/ 1586578 w 1659367"/>
                <a:gd name="connsiteY19" fmla="*/ 30528 h 126980"/>
                <a:gd name="connsiteX20" fmla="*/ 1601428 w 1659367"/>
                <a:gd name="connsiteY20" fmla="*/ 26438 h 126980"/>
                <a:gd name="connsiteX21" fmla="*/ 1657956 w 1659367"/>
                <a:gd name="connsiteY21" fmla="*/ 26438 h 126980"/>
                <a:gd name="connsiteX22" fmla="*/ 1659319 w 1659367"/>
                <a:gd name="connsiteY22" fmla="*/ 34959 h 126980"/>
                <a:gd name="connsiteX23" fmla="*/ 1643836 w 1659367"/>
                <a:gd name="connsiteY23" fmla="*/ 33547 h 126980"/>
                <a:gd name="connsiteX24" fmla="*/ 1602256 w 1659367"/>
                <a:gd name="connsiteY24" fmla="*/ 33547 h 126980"/>
                <a:gd name="connsiteX25" fmla="*/ 1596900 w 1659367"/>
                <a:gd name="connsiteY25" fmla="*/ 35153 h 126980"/>
                <a:gd name="connsiteX26" fmla="*/ 1595585 w 1659367"/>
                <a:gd name="connsiteY26" fmla="*/ 41580 h 126980"/>
                <a:gd name="connsiteX27" fmla="*/ 1595585 w 1659367"/>
                <a:gd name="connsiteY27" fmla="*/ 46547 h 126980"/>
                <a:gd name="connsiteX28" fmla="*/ 1596803 w 1659367"/>
                <a:gd name="connsiteY28" fmla="*/ 53071 h 126980"/>
                <a:gd name="connsiteX29" fmla="*/ 1602256 w 1659367"/>
                <a:gd name="connsiteY29" fmla="*/ 54629 h 126980"/>
                <a:gd name="connsiteX30" fmla="*/ 1640428 w 1659367"/>
                <a:gd name="connsiteY30" fmla="*/ 54629 h 126980"/>
                <a:gd name="connsiteX31" fmla="*/ 1489833 w 1659367"/>
                <a:gd name="connsiteY31" fmla="*/ 41921 h 126980"/>
                <a:gd name="connsiteX32" fmla="*/ 1488421 w 1659367"/>
                <a:gd name="connsiteY32" fmla="*/ 26389 h 126980"/>
                <a:gd name="connsiteX33" fmla="*/ 1503466 w 1659367"/>
                <a:gd name="connsiteY33" fmla="*/ 26389 h 126980"/>
                <a:gd name="connsiteX34" fmla="*/ 1503466 w 1659367"/>
                <a:gd name="connsiteY34" fmla="*/ 31697 h 126980"/>
                <a:gd name="connsiteX35" fmla="*/ 1507751 w 1659367"/>
                <a:gd name="connsiteY35" fmla="*/ 27558 h 126980"/>
                <a:gd name="connsiteX36" fmla="*/ 1511841 w 1659367"/>
                <a:gd name="connsiteY36" fmla="*/ 26389 h 126980"/>
                <a:gd name="connsiteX37" fmla="*/ 1552058 w 1659367"/>
                <a:gd name="connsiteY37" fmla="*/ 26389 h 126980"/>
                <a:gd name="connsiteX38" fmla="*/ 1566908 w 1659367"/>
                <a:gd name="connsiteY38" fmla="*/ 30382 h 126980"/>
                <a:gd name="connsiteX39" fmla="*/ 1571046 w 1659367"/>
                <a:gd name="connsiteY39" fmla="*/ 45378 h 126980"/>
                <a:gd name="connsiteX40" fmla="*/ 1571046 w 1659367"/>
                <a:gd name="connsiteY40" fmla="*/ 83891 h 126980"/>
                <a:gd name="connsiteX41" fmla="*/ 1572410 w 1659367"/>
                <a:gd name="connsiteY41" fmla="*/ 99423 h 126980"/>
                <a:gd name="connsiteX42" fmla="*/ 1556586 w 1659367"/>
                <a:gd name="connsiteY42" fmla="*/ 99423 h 126980"/>
                <a:gd name="connsiteX43" fmla="*/ 1557998 w 1659367"/>
                <a:gd name="connsiteY43" fmla="*/ 83891 h 126980"/>
                <a:gd name="connsiteX44" fmla="*/ 1557998 w 1659367"/>
                <a:gd name="connsiteY44" fmla="*/ 41629 h 126980"/>
                <a:gd name="connsiteX45" fmla="*/ 1556732 w 1659367"/>
                <a:gd name="connsiteY45" fmla="*/ 35105 h 126980"/>
                <a:gd name="connsiteX46" fmla="*/ 1551327 w 1659367"/>
                <a:gd name="connsiteY46" fmla="*/ 33547 h 126980"/>
                <a:gd name="connsiteX47" fmla="*/ 1509552 w 1659367"/>
                <a:gd name="connsiteY47" fmla="*/ 33547 h 126980"/>
                <a:gd name="connsiteX48" fmla="*/ 1504196 w 1659367"/>
                <a:gd name="connsiteY48" fmla="*/ 35153 h 126980"/>
                <a:gd name="connsiteX49" fmla="*/ 1502882 w 1659367"/>
                <a:gd name="connsiteY49" fmla="*/ 41580 h 126980"/>
                <a:gd name="connsiteX50" fmla="*/ 1502882 w 1659367"/>
                <a:gd name="connsiteY50" fmla="*/ 83842 h 126980"/>
                <a:gd name="connsiteX51" fmla="*/ 1504294 w 1659367"/>
                <a:gd name="connsiteY51" fmla="*/ 99374 h 126980"/>
                <a:gd name="connsiteX52" fmla="*/ 1488470 w 1659367"/>
                <a:gd name="connsiteY52" fmla="*/ 99374 h 126980"/>
                <a:gd name="connsiteX53" fmla="*/ 1489882 w 1659367"/>
                <a:gd name="connsiteY53" fmla="*/ 83842 h 126980"/>
                <a:gd name="connsiteX54" fmla="*/ 1489882 w 1659367"/>
                <a:gd name="connsiteY54" fmla="*/ 41872 h 126980"/>
                <a:gd name="connsiteX55" fmla="*/ 1415777 w 1659367"/>
                <a:gd name="connsiteY55" fmla="*/ 33547 h 126980"/>
                <a:gd name="connsiteX56" fmla="*/ 1410421 w 1659367"/>
                <a:gd name="connsiteY56" fmla="*/ 35153 h 126980"/>
                <a:gd name="connsiteX57" fmla="*/ 1409107 w 1659367"/>
                <a:gd name="connsiteY57" fmla="*/ 41580 h 126980"/>
                <a:gd name="connsiteX58" fmla="*/ 1409107 w 1659367"/>
                <a:gd name="connsiteY58" fmla="*/ 84134 h 126980"/>
                <a:gd name="connsiteX59" fmla="*/ 1410373 w 1659367"/>
                <a:gd name="connsiteY59" fmla="*/ 90659 h 126980"/>
                <a:gd name="connsiteX60" fmla="*/ 1415826 w 1659367"/>
                <a:gd name="connsiteY60" fmla="*/ 92217 h 126980"/>
                <a:gd name="connsiteX61" fmla="*/ 1458185 w 1659367"/>
                <a:gd name="connsiteY61" fmla="*/ 92217 h 126980"/>
                <a:gd name="connsiteX62" fmla="*/ 1463541 w 1659367"/>
                <a:gd name="connsiteY62" fmla="*/ 90561 h 126980"/>
                <a:gd name="connsiteX63" fmla="*/ 1464856 w 1659367"/>
                <a:gd name="connsiteY63" fmla="*/ 84134 h 126980"/>
                <a:gd name="connsiteX64" fmla="*/ 1464856 w 1659367"/>
                <a:gd name="connsiteY64" fmla="*/ 41580 h 126980"/>
                <a:gd name="connsiteX65" fmla="*/ 1463590 w 1659367"/>
                <a:gd name="connsiteY65" fmla="*/ 35056 h 126980"/>
                <a:gd name="connsiteX66" fmla="*/ 1458137 w 1659367"/>
                <a:gd name="connsiteY66" fmla="*/ 33498 h 126980"/>
                <a:gd name="connsiteX67" fmla="*/ 1415777 w 1659367"/>
                <a:gd name="connsiteY67" fmla="*/ 33498 h 126980"/>
                <a:gd name="connsiteX68" fmla="*/ 1477904 w 1659367"/>
                <a:gd name="connsiteY68" fmla="*/ 80434 h 126980"/>
                <a:gd name="connsiteX69" fmla="*/ 1473815 w 1659367"/>
                <a:gd name="connsiteY69" fmla="*/ 95284 h 126980"/>
                <a:gd name="connsiteX70" fmla="*/ 1458964 w 1659367"/>
                <a:gd name="connsiteY70" fmla="*/ 99423 h 126980"/>
                <a:gd name="connsiteX71" fmla="*/ 1415047 w 1659367"/>
                <a:gd name="connsiteY71" fmla="*/ 99423 h 126980"/>
                <a:gd name="connsiteX72" fmla="*/ 1400197 w 1659367"/>
                <a:gd name="connsiteY72" fmla="*/ 95430 h 126980"/>
                <a:gd name="connsiteX73" fmla="*/ 1396107 w 1659367"/>
                <a:gd name="connsiteY73" fmla="*/ 80434 h 126980"/>
                <a:gd name="connsiteX74" fmla="*/ 1396107 w 1659367"/>
                <a:gd name="connsiteY74" fmla="*/ 45378 h 126980"/>
                <a:gd name="connsiteX75" fmla="*/ 1400197 w 1659367"/>
                <a:gd name="connsiteY75" fmla="*/ 30528 h 126980"/>
                <a:gd name="connsiteX76" fmla="*/ 1415047 w 1659367"/>
                <a:gd name="connsiteY76" fmla="*/ 26438 h 126980"/>
                <a:gd name="connsiteX77" fmla="*/ 1458964 w 1659367"/>
                <a:gd name="connsiteY77" fmla="*/ 26438 h 126980"/>
                <a:gd name="connsiteX78" fmla="*/ 1473815 w 1659367"/>
                <a:gd name="connsiteY78" fmla="*/ 30431 h 126980"/>
                <a:gd name="connsiteX79" fmla="*/ 1477904 w 1659367"/>
                <a:gd name="connsiteY79" fmla="*/ 45427 h 126980"/>
                <a:gd name="connsiteX80" fmla="*/ 1477904 w 1659367"/>
                <a:gd name="connsiteY80" fmla="*/ 80483 h 126980"/>
                <a:gd name="connsiteX81" fmla="*/ 1368598 w 1659367"/>
                <a:gd name="connsiteY81" fmla="*/ 6816 h 126980"/>
                <a:gd name="connsiteX82" fmla="*/ 1381646 w 1659367"/>
                <a:gd name="connsiteY82" fmla="*/ 6816 h 126980"/>
                <a:gd name="connsiteX83" fmla="*/ 1381646 w 1659367"/>
                <a:gd name="connsiteY83" fmla="*/ 17382 h 126980"/>
                <a:gd name="connsiteX84" fmla="*/ 1368598 w 1659367"/>
                <a:gd name="connsiteY84" fmla="*/ 17382 h 126980"/>
                <a:gd name="connsiteX85" fmla="*/ 1368598 w 1659367"/>
                <a:gd name="connsiteY85" fmla="*/ 6816 h 126980"/>
                <a:gd name="connsiteX86" fmla="*/ 1381646 w 1659367"/>
                <a:gd name="connsiteY86" fmla="*/ 83842 h 126980"/>
                <a:gd name="connsiteX87" fmla="*/ 1383058 w 1659367"/>
                <a:gd name="connsiteY87" fmla="*/ 99374 h 126980"/>
                <a:gd name="connsiteX88" fmla="*/ 1367234 w 1659367"/>
                <a:gd name="connsiteY88" fmla="*/ 99374 h 126980"/>
                <a:gd name="connsiteX89" fmla="*/ 1368646 w 1659367"/>
                <a:gd name="connsiteY89" fmla="*/ 83842 h 126980"/>
                <a:gd name="connsiteX90" fmla="*/ 1368646 w 1659367"/>
                <a:gd name="connsiteY90" fmla="*/ 41872 h 126980"/>
                <a:gd name="connsiteX91" fmla="*/ 1367234 w 1659367"/>
                <a:gd name="connsiteY91" fmla="*/ 26341 h 126980"/>
                <a:gd name="connsiteX92" fmla="*/ 1381695 w 1659367"/>
                <a:gd name="connsiteY92" fmla="*/ 26341 h 126980"/>
                <a:gd name="connsiteX93" fmla="*/ 1381695 w 1659367"/>
                <a:gd name="connsiteY93" fmla="*/ 83794 h 126980"/>
                <a:gd name="connsiteX94" fmla="*/ 1317961 w 1659367"/>
                <a:gd name="connsiteY94" fmla="*/ 33547 h 126980"/>
                <a:gd name="connsiteX95" fmla="*/ 1317961 w 1659367"/>
                <a:gd name="connsiteY95" fmla="*/ 84134 h 126980"/>
                <a:gd name="connsiteX96" fmla="*/ 1319227 w 1659367"/>
                <a:gd name="connsiteY96" fmla="*/ 90659 h 126980"/>
                <a:gd name="connsiteX97" fmla="*/ 1324632 w 1659367"/>
                <a:gd name="connsiteY97" fmla="*/ 92217 h 126980"/>
                <a:gd name="connsiteX98" fmla="*/ 1342500 w 1659367"/>
                <a:gd name="connsiteY98" fmla="*/ 92217 h 126980"/>
                <a:gd name="connsiteX99" fmla="*/ 1358032 w 1659367"/>
                <a:gd name="connsiteY99" fmla="*/ 90805 h 126980"/>
                <a:gd name="connsiteX100" fmla="*/ 1356961 w 1659367"/>
                <a:gd name="connsiteY100" fmla="*/ 99374 h 126980"/>
                <a:gd name="connsiteX101" fmla="*/ 1323901 w 1659367"/>
                <a:gd name="connsiteY101" fmla="*/ 99374 h 126980"/>
                <a:gd name="connsiteX102" fmla="*/ 1309051 w 1659367"/>
                <a:gd name="connsiteY102" fmla="*/ 95382 h 126980"/>
                <a:gd name="connsiteX103" fmla="*/ 1304961 w 1659367"/>
                <a:gd name="connsiteY103" fmla="*/ 80385 h 126980"/>
                <a:gd name="connsiteX104" fmla="*/ 1304961 w 1659367"/>
                <a:gd name="connsiteY104" fmla="*/ 33498 h 126980"/>
                <a:gd name="connsiteX105" fmla="*/ 1293665 w 1659367"/>
                <a:gd name="connsiteY105" fmla="*/ 33498 h 126980"/>
                <a:gd name="connsiteX106" fmla="*/ 1293665 w 1659367"/>
                <a:gd name="connsiteY106" fmla="*/ 26341 h 126980"/>
                <a:gd name="connsiteX107" fmla="*/ 1304961 w 1659367"/>
                <a:gd name="connsiteY107" fmla="*/ 26341 h 126980"/>
                <a:gd name="connsiteX108" fmla="*/ 1304961 w 1659367"/>
                <a:gd name="connsiteY108" fmla="*/ 11929 h 126980"/>
                <a:gd name="connsiteX109" fmla="*/ 1318010 w 1659367"/>
                <a:gd name="connsiteY109" fmla="*/ 9446 h 126980"/>
                <a:gd name="connsiteX110" fmla="*/ 1318010 w 1659367"/>
                <a:gd name="connsiteY110" fmla="*/ 26341 h 126980"/>
                <a:gd name="connsiteX111" fmla="*/ 1354332 w 1659367"/>
                <a:gd name="connsiteY111" fmla="*/ 26341 h 126980"/>
                <a:gd name="connsiteX112" fmla="*/ 1354332 w 1659367"/>
                <a:gd name="connsiteY112" fmla="*/ 33498 h 126980"/>
                <a:gd name="connsiteX113" fmla="*/ 1318010 w 1659367"/>
                <a:gd name="connsiteY113" fmla="*/ 33498 h 126980"/>
                <a:gd name="connsiteX114" fmla="*/ 1202276 w 1659367"/>
                <a:gd name="connsiteY114" fmla="*/ 41921 h 126980"/>
                <a:gd name="connsiteX115" fmla="*/ 1200864 w 1659367"/>
                <a:gd name="connsiteY115" fmla="*/ 26389 h 126980"/>
                <a:gd name="connsiteX116" fmla="*/ 1215325 w 1659367"/>
                <a:gd name="connsiteY116" fmla="*/ 26389 h 126980"/>
                <a:gd name="connsiteX117" fmla="*/ 1215325 w 1659367"/>
                <a:gd name="connsiteY117" fmla="*/ 84134 h 126980"/>
                <a:gd name="connsiteX118" fmla="*/ 1216542 w 1659367"/>
                <a:gd name="connsiteY118" fmla="*/ 90659 h 126980"/>
                <a:gd name="connsiteX119" fmla="*/ 1221995 w 1659367"/>
                <a:gd name="connsiteY119" fmla="*/ 92217 h 126980"/>
                <a:gd name="connsiteX120" fmla="*/ 1263770 w 1659367"/>
                <a:gd name="connsiteY120" fmla="*/ 92217 h 126980"/>
                <a:gd name="connsiteX121" fmla="*/ 1269126 w 1659367"/>
                <a:gd name="connsiteY121" fmla="*/ 90561 h 126980"/>
                <a:gd name="connsiteX122" fmla="*/ 1270441 w 1659367"/>
                <a:gd name="connsiteY122" fmla="*/ 84134 h 126980"/>
                <a:gd name="connsiteX123" fmla="*/ 1270441 w 1659367"/>
                <a:gd name="connsiteY123" fmla="*/ 41872 h 126980"/>
                <a:gd name="connsiteX124" fmla="*/ 1269029 w 1659367"/>
                <a:gd name="connsiteY124" fmla="*/ 26341 h 126980"/>
                <a:gd name="connsiteX125" fmla="*/ 1283441 w 1659367"/>
                <a:gd name="connsiteY125" fmla="*/ 26341 h 126980"/>
                <a:gd name="connsiteX126" fmla="*/ 1283441 w 1659367"/>
                <a:gd name="connsiteY126" fmla="*/ 83794 h 126980"/>
                <a:gd name="connsiteX127" fmla="*/ 1284853 w 1659367"/>
                <a:gd name="connsiteY127" fmla="*/ 99325 h 126980"/>
                <a:gd name="connsiteX128" fmla="*/ 1271804 w 1659367"/>
                <a:gd name="connsiteY128" fmla="*/ 99325 h 126980"/>
                <a:gd name="connsiteX129" fmla="*/ 1271025 w 1659367"/>
                <a:gd name="connsiteY129" fmla="*/ 94018 h 126980"/>
                <a:gd name="connsiteX130" fmla="*/ 1267860 w 1659367"/>
                <a:gd name="connsiteY130" fmla="*/ 98108 h 126980"/>
                <a:gd name="connsiteX131" fmla="*/ 1262650 w 1659367"/>
                <a:gd name="connsiteY131" fmla="*/ 99277 h 126980"/>
                <a:gd name="connsiteX132" fmla="*/ 1221216 w 1659367"/>
                <a:gd name="connsiteY132" fmla="*/ 99277 h 126980"/>
                <a:gd name="connsiteX133" fmla="*/ 1206366 w 1659367"/>
                <a:gd name="connsiteY133" fmla="*/ 95284 h 126980"/>
                <a:gd name="connsiteX134" fmla="*/ 1202228 w 1659367"/>
                <a:gd name="connsiteY134" fmla="*/ 80288 h 126980"/>
                <a:gd name="connsiteX135" fmla="*/ 1202228 w 1659367"/>
                <a:gd name="connsiteY135" fmla="*/ 41775 h 126980"/>
                <a:gd name="connsiteX136" fmla="*/ 1186160 w 1659367"/>
                <a:gd name="connsiteY136" fmla="*/ 0 h 126980"/>
                <a:gd name="connsiteX137" fmla="*/ 1186160 w 1659367"/>
                <a:gd name="connsiteY137" fmla="*/ 83842 h 126980"/>
                <a:gd name="connsiteX138" fmla="*/ 1187572 w 1659367"/>
                <a:gd name="connsiteY138" fmla="*/ 99374 h 126980"/>
                <a:gd name="connsiteX139" fmla="*/ 1171748 w 1659367"/>
                <a:gd name="connsiteY139" fmla="*/ 99374 h 126980"/>
                <a:gd name="connsiteX140" fmla="*/ 1173160 w 1659367"/>
                <a:gd name="connsiteY140" fmla="*/ 83842 h 126980"/>
                <a:gd name="connsiteX141" fmla="*/ 1173160 w 1659367"/>
                <a:gd name="connsiteY141" fmla="*/ 15532 h 126980"/>
                <a:gd name="connsiteX142" fmla="*/ 1171748 w 1659367"/>
                <a:gd name="connsiteY142" fmla="*/ 0 h 126980"/>
                <a:gd name="connsiteX143" fmla="*/ 1186209 w 1659367"/>
                <a:gd name="connsiteY143" fmla="*/ 0 h 126980"/>
                <a:gd name="connsiteX144" fmla="*/ 1096573 w 1659367"/>
                <a:gd name="connsiteY144" fmla="*/ 33547 h 126980"/>
                <a:gd name="connsiteX145" fmla="*/ 1091217 w 1659367"/>
                <a:gd name="connsiteY145" fmla="*/ 35153 h 126980"/>
                <a:gd name="connsiteX146" fmla="*/ 1089902 w 1659367"/>
                <a:gd name="connsiteY146" fmla="*/ 41580 h 126980"/>
                <a:gd name="connsiteX147" fmla="*/ 1089902 w 1659367"/>
                <a:gd name="connsiteY147" fmla="*/ 84134 h 126980"/>
                <a:gd name="connsiteX148" fmla="*/ 1091119 w 1659367"/>
                <a:gd name="connsiteY148" fmla="*/ 90659 h 126980"/>
                <a:gd name="connsiteX149" fmla="*/ 1096573 w 1659367"/>
                <a:gd name="connsiteY149" fmla="*/ 92217 h 126980"/>
                <a:gd name="connsiteX150" fmla="*/ 1138981 w 1659367"/>
                <a:gd name="connsiteY150" fmla="*/ 92217 h 126980"/>
                <a:gd name="connsiteX151" fmla="*/ 1144336 w 1659367"/>
                <a:gd name="connsiteY151" fmla="*/ 90561 h 126980"/>
                <a:gd name="connsiteX152" fmla="*/ 1145651 w 1659367"/>
                <a:gd name="connsiteY152" fmla="*/ 84134 h 126980"/>
                <a:gd name="connsiteX153" fmla="*/ 1145651 w 1659367"/>
                <a:gd name="connsiteY153" fmla="*/ 41580 h 126980"/>
                <a:gd name="connsiteX154" fmla="*/ 1144434 w 1659367"/>
                <a:gd name="connsiteY154" fmla="*/ 35056 h 126980"/>
                <a:gd name="connsiteX155" fmla="*/ 1139029 w 1659367"/>
                <a:gd name="connsiteY155" fmla="*/ 33498 h 126980"/>
                <a:gd name="connsiteX156" fmla="*/ 1096621 w 1659367"/>
                <a:gd name="connsiteY156" fmla="*/ 33498 h 126980"/>
                <a:gd name="connsiteX157" fmla="*/ 1158651 w 1659367"/>
                <a:gd name="connsiteY157" fmla="*/ 80434 h 126980"/>
                <a:gd name="connsiteX158" fmla="*/ 1154561 w 1659367"/>
                <a:gd name="connsiteY158" fmla="*/ 95284 h 126980"/>
                <a:gd name="connsiteX159" fmla="*/ 1139711 w 1659367"/>
                <a:gd name="connsiteY159" fmla="*/ 99423 h 126980"/>
                <a:gd name="connsiteX160" fmla="*/ 1095793 w 1659367"/>
                <a:gd name="connsiteY160" fmla="*/ 99423 h 126980"/>
                <a:gd name="connsiteX161" fmla="*/ 1080943 w 1659367"/>
                <a:gd name="connsiteY161" fmla="*/ 95430 h 126980"/>
                <a:gd name="connsiteX162" fmla="*/ 1076854 w 1659367"/>
                <a:gd name="connsiteY162" fmla="*/ 80434 h 126980"/>
                <a:gd name="connsiteX163" fmla="*/ 1076854 w 1659367"/>
                <a:gd name="connsiteY163" fmla="*/ 45378 h 126980"/>
                <a:gd name="connsiteX164" fmla="*/ 1080943 w 1659367"/>
                <a:gd name="connsiteY164" fmla="*/ 30528 h 126980"/>
                <a:gd name="connsiteX165" fmla="*/ 1095793 w 1659367"/>
                <a:gd name="connsiteY165" fmla="*/ 26438 h 126980"/>
                <a:gd name="connsiteX166" fmla="*/ 1139711 w 1659367"/>
                <a:gd name="connsiteY166" fmla="*/ 26438 h 126980"/>
                <a:gd name="connsiteX167" fmla="*/ 1154561 w 1659367"/>
                <a:gd name="connsiteY167" fmla="*/ 30431 h 126980"/>
                <a:gd name="connsiteX168" fmla="*/ 1158651 w 1659367"/>
                <a:gd name="connsiteY168" fmla="*/ 45427 h 126980"/>
                <a:gd name="connsiteX169" fmla="*/ 1158651 w 1659367"/>
                <a:gd name="connsiteY169" fmla="*/ 80483 h 126980"/>
                <a:gd name="connsiteX170" fmla="*/ 1062101 w 1659367"/>
                <a:gd name="connsiteY170" fmla="*/ 0 h 126980"/>
                <a:gd name="connsiteX171" fmla="*/ 1063318 w 1659367"/>
                <a:gd name="connsiteY171" fmla="*/ 10273 h 126980"/>
                <a:gd name="connsiteX172" fmla="*/ 1057281 w 1659367"/>
                <a:gd name="connsiteY172" fmla="*/ 9007 h 126980"/>
                <a:gd name="connsiteX173" fmla="*/ 1043940 w 1659367"/>
                <a:gd name="connsiteY173" fmla="*/ 8082 h 126980"/>
                <a:gd name="connsiteX174" fmla="*/ 1002651 w 1659367"/>
                <a:gd name="connsiteY174" fmla="*/ 8082 h 126980"/>
                <a:gd name="connsiteX175" fmla="*/ 997296 w 1659367"/>
                <a:gd name="connsiteY175" fmla="*/ 9689 h 126980"/>
                <a:gd name="connsiteX176" fmla="*/ 995981 w 1659367"/>
                <a:gd name="connsiteY176" fmla="*/ 16116 h 126980"/>
                <a:gd name="connsiteX177" fmla="*/ 995981 w 1659367"/>
                <a:gd name="connsiteY177" fmla="*/ 32719 h 126980"/>
                <a:gd name="connsiteX178" fmla="*/ 997247 w 1659367"/>
                <a:gd name="connsiteY178" fmla="*/ 39195 h 126980"/>
                <a:gd name="connsiteX179" fmla="*/ 1002651 w 1659367"/>
                <a:gd name="connsiteY179" fmla="*/ 40753 h 126980"/>
                <a:gd name="connsiteX180" fmla="*/ 1043648 w 1659367"/>
                <a:gd name="connsiteY180" fmla="*/ 40753 h 126980"/>
                <a:gd name="connsiteX181" fmla="*/ 1060835 w 1659367"/>
                <a:gd name="connsiteY181" fmla="*/ 44745 h 126980"/>
                <a:gd name="connsiteX182" fmla="*/ 1065558 w 1659367"/>
                <a:gd name="connsiteY182" fmla="*/ 60033 h 126980"/>
                <a:gd name="connsiteX183" fmla="*/ 1065558 w 1659367"/>
                <a:gd name="connsiteY183" fmla="*/ 80045 h 126980"/>
                <a:gd name="connsiteX184" fmla="*/ 1060835 w 1659367"/>
                <a:gd name="connsiteY184" fmla="*/ 95333 h 126980"/>
                <a:gd name="connsiteX185" fmla="*/ 1043648 w 1659367"/>
                <a:gd name="connsiteY185" fmla="*/ 99325 h 126980"/>
                <a:gd name="connsiteX186" fmla="*/ 982202 w 1659367"/>
                <a:gd name="connsiteY186" fmla="*/ 99325 h 126980"/>
                <a:gd name="connsiteX187" fmla="*/ 980936 w 1659367"/>
                <a:gd name="connsiteY187" fmla="*/ 90464 h 126980"/>
                <a:gd name="connsiteX188" fmla="*/ 987022 w 1659367"/>
                <a:gd name="connsiteY188" fmla="*/ 90902 h 126980"/>
                <a:gd name="connsiteX189" fmla="*/ 1000363 w 1659367"/>
                <a:gd name="connsiteY189" fmla="*/ 91243 h 126980"/>
                <a:gd name="connsiteX190" fmla="*/ 1043063 w 1659367"/>
                <a:gd name="connsiteY190" fmla="*/ 91243 h 126980"/>
                <a:gd name="connsiteX191" fmla="*/ 1048419 w 1659367"/>
                <a:gd name="connsiteY191" fmla="*/ 89636 h 126980"/>
                <a:gd name="connsiteX192" fmla="*/ 1049734 w 1659367"/>
                <a:gd name="connsiteY192" fmla="*/ 83209 h 126980"/>
                <a:gd name="connsiteX193" fmla="*/ 1049734 w 1659367"/>
                <a:gd name="connsiteY193" fmla="*/ 63783 h 126980"/>
                <a:gd name="connsiteX194" fmla="*/ 1048468 w 1659367"/>
                <a:gd name="connsiteY194" fmla="*/ 57258 h 126980"/>
                <a:gd name="connsiteX195" fmla="*/ 1043015 w 1659367"/>
                <a:gd name="connsiteY195" fmla="*/ 55700 h 126980"/>
                <a:gd name="connsiteX196" fmla="*/ 1002018 w 1659367"/>
                <a:gd name="connsiteY196" fmla="*/ 55700 h 126980"/>
                <a:gd name="connsiteX197" fmla="*/ 984880 w 1659367"/>
                <a:gd name="connsiteY197" fmla="*/ 51756 h 126980"/>
                <a:gd name="connsiteX198" fmla="*/ 980157 w 1659367"/>
                <a:gd name="connsiteY198" fmla="*/ 36468 h 126980"/>
                <a:gd name="connsiteX199" fmla="*/ 980157 w 1659367"/>
                <a:gd name="connsiteY199" fmla="*/ 19232 h 126980"/>
                <a:gd name="connsiteX200" fmla="*/ 984880 w 1659367"/>
                <a:gd name="connsiteY200" fmla="*/ 3944 h 126980"/>
                <a:gd name="connsiteX201" fmla="*/ 1002018 w 1659367"/>
                <a:gd name="connsiteY201" fmla="*/ 0 h 126980"/>
                <a:gd name="connsiteX202" fmla="*/ 1062101 w 1659367"/>
                <a:gd name="connsiteY202" fmla="*/ 0 h 126980"/>
                <a:gd name="connsiteX203" fmla="*/ 915206 w 1659367"/>
                <a:gd name="connsiteY203" fmla="*/ 108041 h 126980"/>
                <a:gd name="connsiteX204" fmla="*/ 911068 w 1659367"/>
                <a:gd name="connsiteY204" fmla="*/ 122891 h 126980"/>
                <a:gd name="connsiteX205" fmla="*/ 896266 w 1659367"/>
                <a:gd name="connsiteY205" fmla="*/ 126981 h 126980"/>
                <a:gd name="connsiteX206" fmla="*/ 836184 w 1659367"/>
                <a:gd name="connsiteY206" fmla="*/ 126981 h 126980"/>
                <a:gd name="connsiteX207" fmla="*/ 834918 w 1659367"/>
                <a:gd name="connsiteY207" fmla="*/ 118752 h 126980"/>
                <a:gd name="connsiteX208" fmla="*/ 850450 w 1659367"/>
                <a:gd name="connsiteY208" fmla="*/ 119872 h 126980"/>
                <a:gd name="connsiteX209" fmla="*/ 895487 w 1659367"/>
                <a:gd name="connsiteY209" fmla="*/ 119872 h 126980"/>
                <a:gd name="connsiteX210" fmla="*/ 900843 w 1659367"/>
                <a:gd name="connsiteY210" fmla="*/ 118217 h 126980"/>
                <a:gd name="connsiteX211" fmla="*/ 902158 w 1659367"/>
                <a:gd name="connsiteY211" fmla="*/ 111741 h 126980"/>
                <a:gd name="connsiteX212" fmla="*/ 902158 w 1659367"/>
                <a:gd name="connsiteY212" fmla="*/ 96988 h 126980"/>
                <a:gd name="connsiteX213" fmla="*/ 895487 w 1659367"/>
                <a:gd name="connsiteY213" fmla="*/ 99325 h 126980"/>
                <a:gd name="connsiteX214" fmla="*/ 853128 w 1659367"/>
                <a:gd name="connsiteY214" fmla="*/ 99325 h 126980"/>
                <a:gd name="connsiteX215" fmla="*/ 838278 w 1659367"/>
                <a:gd name="connsiteY215" fmla="*/ 95333 h 126980"/>
                <a:gd name="connsiteX216" fmla="*/ 834139 w 1659367"/>
                <a:gd name="connsiteY216" fmla="*/ 80337 h 126980"/>
                <a:gd name="connsiteX217" fmla="*/ 834139 w 1659367"/>
                <a:gd name="connsiteY217" fmla="*/ 41824 h 126980"/>
                <a:gd name="connsiteX218" fmla="*/ 832776 w 1659367"/>
                <a:gd name="connsiteY218" fmla="*/ 26292 h 126980"/>
                <a:gd name="connsiteX219" fmla="*/ 847236 w 1659367"/>
                <a:gd name="connsiteY219" fmla="*/ 26292 h 126980"/>
                <a:gd name="connsiteX220" fmla="*/ 847236 w 1659367"/>
                <a:gd name="connsiteY220" fmla="*/ 84037 h 126980"/>
                <a:gd name="connsiteX221" fmla="*/ 848454 w 1659367"/>
                <a:gd name="connsiteY221" fmla="*/ 90561 h 126980"/>
                <a:gd name="connsiteX222" fmla="*/ 853858 w 1659367"/>
                <a:gd name="connsiteY222" fmla="*/ 92119 h 126980"/>
                <a:gd name="connsiteX223" fmla="*/ 895487 w 1659367"/>
                <a:gd name="connsiteY223" fmla="*/ 92119 h 126980"/>
                <a:gd name="connsiteX224" fmla="*/ 900843 w 1659367"/>
                <a:gd name="connsiteY224" fmla="*/ 90464 h 126980"/>
                <a:gd name="connsiteX225" fmla="*/ 902158 w 1659367"/>
                <a:gd name="connsiteY225" fmla="*/ 84037 h 126980"/>
                <a:gd name="connsiteX226" fmla="*/ 902158 w 1659367"/>
                <a:gd name="connsiteY226" fmla="*/ 41775 h 126980"/>
                <a:gd name="connsiteX227" fmla="*/ 900746 w 1659367"/>
                <a:gd name="connsiteY227" fmla="*/ 26243 h 126980"/>
                <a:gd name="connsiteX228" fmla="*/ 915206 w 1659367"/>
                <a:gd name="connsiteY228" fmla="*/ 26243 h 126980"/>
                <a:gd name="connsiteX229" fmla="*/ 915206 w 1659367"/>
                <a:gd name="connsiteY229" fmla="*/ 107895 h 126980"/>
                <a:gd name="connsiteX230" fmla="*/ 786034 w 1659367"/>
                <a:gd name="connsiteY230" fmla="*/ 33547 h 126980"/>
                <a:gd name="connsiteX231" fmla="*/ 786034 w 1659367"/>
                <a:gd name="connsiteY231" fmla="*/ 84134 h 126980"/>
                <a:gd name="connsiteX232" fmla="*/ 787300 w 1659367"/>
                <a:gd name="connsiteY232" fmla="*/ 90659 h 126980"/>
                <a:gd name="connsiteX233" fmla="*/ 792705 w 1659367"/>
                <a:gd name="connsiteY233" fmla="*/ 92217 h 126980"/>
                <a:gd name="connsiteX234" fmla="*/ 810525 w 1659367"/>
                <a:gd name="connsiteY234" fmla="*/ 92217 h 126980"/>
                <a:gd name="connsiteX235" fmla="*/ 826057 w 1659367"/>
                <a:gd name="connsiteY235" fmla="*/ 90805 h 126980"/>
                <a:gd name="connsiteX236" fmla="*/ 824986 w 1659367"/>
                <a:gd name="connsiteY236" fmla="*/ 99374 h 126980"/>
                <a:gd name="connsiteX237" fmla="*/ 791877 w 1659367"/>
                <a:gd name="connsiteY237" fmla="*/ 99374 h 126980"/>
                <a:gd name="connsiteX238" fmla="*/ 777076 w 1659367"/>
                <a:gd name="connsiteY238" fmla="*/ 95382 h 126980"/>
                <a:gd name="connsiteX239" fmla="*/ 772937 w 1659367"/>
                <a:gd name="connsiteY239" fmla="*/ 80385 h 126980"/>
                <a:gd name="connsiteX240" fmla="*/ 772937 w 1659367"/>
                <a:gd name="connsiteY240" fmla="*/ 33498 h 126980"/>
                <a:gd name="connsiteX241" fmla="*/ 761593 w 1659367"/>
                <a:gd name="connsiteY241" fmla="*/ 33498 h 126980"/>
                <a:gd name="connsiteX242" fmla="*/ 761593 w 1659367"/>
                <a:gd name="connsiteY242" fmla="*/ 26341 h 126980"/>
                <a:gd name="connsiteX243" fmla="*/ 772937 w 1659367"/>
                <a:gd name="connsiteY243" fmla="*/ 26341 h 126980"/>
                <a:gd name="connsiteX244" fmla="*/ 772937 w 1659367"/>
                <a:gd name="connsiteY244" fmla="*/ 11929 h 126980"/>
                <a:gd name="connsiteX245" fmla="*/ 785986 w 1659367"/>
                <a:gd name="connsiteY245" fmla="*/ 9446 h 126980"/>
                <a:gd name="connsiteX246" fmla="*/ 785986 w 1659367"/>
                <a:gd name="connsiteY246" fmla="*/ 26341 h 126980"/>
                <a:gd name="connsiteX247" fmla="*/ 822308 w 1659367"/>
                <a:gd name="connsiteY247" fmla="*/ 26341 h 126980"/>
                <a:gd name="connsiteX248" fmla="*/ 822308 w 1659367"/>
                <a:gd name="connsiteY248" fmla="*/ 33498 h 126980"/>
                <a:gd name="connsiteX249" fmla="*/ 785986 w 1659367"/>
                <a:gd name="connsiteY249" fmla="*/ 33498 h 126980"/>
                <a:gd name="connsiteX250" fmla="*/ 736031 w 1659367"/>
                <a:gd name="connsiteY250" fmla="*/ 6816 h 126980"/>
                <a:gd name="connsiteX251" fmla="*/ 749080 w 1659367"/>
                <a:gd name="connsiteY251" fmla="*/ 6816 h 126980"/>
                <a:gd name="connsiteX252" fmla="*/ 749080 w 1659367"/>
                <a:gd name="connsiteY252" fmla="*/ 17382 h 126980"/>
                <a:gd name="connsiteX253" fmla="*/ 736031 w 1659367"/>
                <a:gd name="connsiteY253" fmla="*/ 17382 h 126980"/>
                <a:gd name="connsiteX254" fmla="*/ 736031 w 1659367"/>
                <a:gd name="connsiteY254" fmla="*/ 6816 h 126980"/>
                <a:gd name="connsiteX255" fmla="*/ 749080 w 1659367"/>
                <a:gd name="connsiteY255" fmla="*/ 83842 h 126980"/>
                <a:gd name="connsiteX256" fmla="*/ 750443 w 1659367"/>
                <a:gd name="connsiteY256" fmla="*/ 99374 h 126980"/>
                <a:gd name="connsiteX257" fmla="*/ 734619 w 1659367"/>
                <a:gd name="connsiteY257" fmla="*/ 99374 h 126980"/>
                <a:gd name="connsiteX258" fmla="*/ 736031 w 1659367"/>
                <a:gd name="connsiteY258" fmla="*/ 83842 h 126980"/>
                <a:gd name="connsiteX259" fmla="*/ 736031 w 1659367"/>
                <a:gd name="connsiteY259" fmla="*/ 41872 h 126980"/>
                <a:gd name="connsiteX260" fmla="*/ 734619 w 1659367"/>
                <a:gd name="connsiteY260" fmla="*/ 26341 h 126980"/>
                <a:gd name="connsiteX261" fmla="*/ 749080 w 1659367"/>
                <a:gd name="connsiteY261" fmla="*/ 26341 h 126980"/>
                <a:gd name="connsiteX262" fmla="*/ 749080 w 1659367"/>
                <a:gd name="connsiteY262" fmla="*/ 83794 h 126980"/>
                <a:gd name="connsiteX263" fmla="*/ 650777 w 1659367"/>
                <a:gd name="connsiteY263" fmla="*/ 26389 h 126980"/>
                <a:gd name="connsiteX264" fmla="*/ 652335 w 1659367"/>
                <a:gd name="connsiteY264" fmla="*/ 32378 h 126980"/>
                <a:gd name="connsiteX265" fmla="*/ 654185 w 1659367"/>
                <a:gd name="connsiteY265" fmla="*/ 37247 h 126980"/>
                <a:gd name="connsiteX266" fmla="*/ 682570 w 1659367"/>
                <a:gd name="connsiteY266" fmla="*/ 93142 h 126980"/>
                <a:gd name="connsiteX267" fmla="*/ 710907 w 1659367"/>
                <a:gd name="connsiteY267" fmla="*/ 40314 h 126980"/>
                <a:gd name="connsiteX268" fmla="*/ 715874 w 1659367"/>
                <a:gd name="connsiteY268" fmla="*/ 26341 h 126980"/>
                <a:gd name="connsiteX269" fmla="*/ 730139 w 1659367"/>
                <a:gd name="connsiteY269" fmla="*/ 26341 h 126980"/>
                <a:gd name="connsiteX270" fmla="*/ 728435 w 1659367"/>
                <a:gd name="connsiteY270" fmla="*/ 28191 h 126980"/>
                <a:gd name="connsiteX271" fmla="*/ 723323 w 1659367"/>
                <a:gd name="connsiteY271" fmla="*/ 34180 h 126980"/>
                <a:gd name="connsiteX272" fmla="*/ 719623 w 1659367"/>
                <a:gd name="connsiteY272" fmla="*/ 40314 h 126980"/>
                <a:gd name="connsiteX273" fmla="*/ 688559 w 1659367"/>
                <a:gd name="connsiteY273" fmla="*/ 99325 h 126980"/>
                <a:gd name="connsiteX274" fmla="*/ 671810 w 1659367"/>
                <a:gd name="connsiteY274" fmla="*/ 99325 h 126980"/>
                <a:gd name="connsiteX275" fmla="*/ 639091 w 1659367"/>
                <a:gd name="connsiteY275" fmla="*/ 34715 h 126980"/>
                <a:gd name="connsiteX276" fmla="*/ 637241 w 1659367"/>
                <a:gd name="connsiteY276" fmla="*/ 31161 h 126980"/>
                <a:gd name="connsiteX277" fmla="*/ 634271 w 1659367"/>
                <a:gd name="connsiteY277" fmla="*/ 26341 h 126980"/>
                <a:gd name="connsiteX278" fmla="*/ 650874 w 1659367"/>
                <a:gd name="connsiteY278" fmla="*/ 26341 h 126980"/>
                <a:gd name="connsiteX279" fmla="*/ 615233 w 1659367"/>
                <a:gd name="connsiteY279" fmla="*/ 6816 h 126980"/>
                <a:gd name="connsiteX280" fmla="*/ 628282 w 1659367"/>
                <a:gd name="connsiteY280" fmla="*/ 6816 h 126980"/>
                <a:gd name="connsiteX281" fmla="*/ 628282 w 1659367"/>
                <a:gd name="connsiteY281" fmla="*/ 17382 h 126980"/>
                <a:gd name="connsiteX282" fmla="*/ 615233 w 1659367"/>
                <a:gd name="connsiteY282" fmla="*/ 17382 h 126980"/>
                <a:gd name="connsiteX283" fmla="*/ 615233 w 1659367"/>
                <a:gd name="connsiteY283" fmla="*/ 6816 h 126980"/>
                <a:gd name="connsiteX284" fmla="*/ 628282 w 1659367"/>
                <a:gd name="connsiteY284" fmla="*/ 83842 h 126980"/>
                <a:gd name="connsiteX285" fmla="*/ 629694 w 1659367"/>
                <a:gd name="connsiteY285" fmla="*/ 99374 h 126980"/>
                <a:gd name="connsiteX286" fmla="*/ 613870 w 1659367"/>
                <a:gd name="connsiteY286" fmla="*/ 99374 h 126980"/>
                <a:gd name="connsiteX287" fmla="*/ 615282 w 1659367"/>
                <a:gd name="connsiteY287" fmla="*/ 83842 h 126980"/>
                <a:gd name="connsiteX288" fmla="*/ 615282 w 1659367"/>
                <a:gd name="connsiteY288" fmla="*/ 41872 h 126980"/>
                <a:gd name="connsiteX289" fmla="*/ 613870 w 1659367"/>
                <a:gd name="connsiteY289" fmla="*/ 26341 h 126980"/>
                <a:gd name="connsiteX290" fmla="*/ 628331 w 1659367"/>
                <a:gd name="connsiteY290" fmla="*/ 26341 h 126980"/>
                <a:gd name="connsiteX291" fmla="*/ 628331 w 1659367"/>
                <a:gd name="connsiteY291" fmla="*/ 83794 h 126980"/>
                <a:gd name="connsiteX292" fmla="*/ 564646 w 1659367"/>
                <a:gd name="connsiteY292" fmla="*/ 33547 h 126980"/>
                <a:gd name="connsiteX293" fmla="*/ 564646 w 1659367"/>
                <a:gd name="connsiteY293" fmla="*/ 84134 h 126980"/>
                <a:gd name="connsiteX294" fmla="*/ 565863 w 1659367"/>
                <a:gd name="connsiteY294" fmla="*/ 90659 h 126980"/>
                <a:gd name="connsiteX295" fmla="*/ 571316 w 1659367"/>
                <a:gd name="connsiteY295" fmla="*/ 92217 h 126980"/>
                <a:gd name="connsiteX296" fmla="*/ 589185 w 1659367"/>
                <a:gd name="connsiteY296" fmla="*/ 92217 h 126980"/>
                <a:gd name="connsiteX297" fmla="*/ 604717 w 1659367"/>
                <a:gd name="connsiteY297" fmla="*/ 90805 h 126980"/>
                <a:gd name="connsiteX298" fmla="*/ 603646 w 1659367"/>
                <a:gd name="connsiteY298" fmla="*/ 99374 h 126980"/>
                <a:gd name="connsiteX299" fmla="*/ 570586 w 1659367"/>
                <a:gd name="connsiteY299" fmla="*/ 99374 h 126980"/>
                <a:gd name="connsiteX300" fmla="*/ 555736 w 1659367"/>
                <a:gd name="connsiteY300" fmla="*/ 95382 h 126980"/>
                <a:gd name="connsiteX301" fmla="*/ 551646 w 1659367"/>
                <a:gd name="connsiteY301" fmla="*/ 80385 h 126980"/>
                <a:gd name="connsiteX302" fmla="*/ 551646 w 1659367"/>
                <a:gd name="connsiteY302" fmla="*/ 33498 h 126980"/>
                <a:gd name="connsiteX303" fmla="*/ 540301 w 1659367"/>
                <a:gd name="connsiteY303" fmla="*/ 33498 h 126980"/>
                <a:gd name="connsiteX304" fmla="*/ 540301 w 1659367"/>
                <a:gd name="connsiteY304" fmla="*/ 26341 h 126980"/>
                <a:gd name="connsiteX305" fmla="*/ 551646 w 1659367"/>
                <a:gd name="connsiteY305" fmla="*/ 26341 h 126980"/>
                <a:gd name="connsiteX306" fmla="*/ 551646 w 1659367"/>
                <a:gd name="connsiteY306" fmla="*/ 11929 h 126980"/>
                <a:gd name="connsiteX307" fmla="*/ 564694 w 1659367"/>
                <a:gd name="connsiteY307" fmla="*/ 9446 h 126980"/>
                <a:gd name="connsiteX308" fmla="*/ 564694 w 1659367"/>
                <a:gd name="connsiteY308" fmla="*/ 26341 h 126980"/>
                <a:gd name="connsiteX309" fmla="*/ 601016 w 1659367"/>
                <a:gd name="connsiteY309" fmla="*/ 26341 h 126980"/>
                <a:gd name="connsiteX310" fmla="*/ 601016 w 1659367"/>
                <a:gd name="connsiteY310" fmla="*/ 33498 h 126980"/>
                <a:gd name="connsiteX311" fmla="*/ 564694 w 1659367"/>
                <a:gd name="connsiteY311" fmla="*/ 33498 h 126980"/>
                <a:gd name="connsiteX312" fmla="*/ 473500 w 1659367"/>
                <a:gd name="connsiteY312" fmla="*/ 84134 h 126980"/>
                <a:gd name="connsiteX313" fmla="*/ 474766 w 1659367"/>
                <a:gd name="connsiteY313" fmla="*/ 90659 h 126980"/>
                <a:gd name="connsiteX314" fmla="*/ 480219 w 1659367"/>
                <a:gd name="connsiteY314" fmla="*/ 92217 h 126980"/>
                <a:gd name="connsiteX315" fmla="*/ 519511 w 1659367"/>
                <a:gd name="connsiteY315" fmla="*/ 92217 h 126980"/>
                <a:gd name="connsiteX316" fmla="*/ 535043 w 1659367"/>
                <a:gd name="connsiteY316" fmla="*/ 90805 h 126980"/>
                <a:gd name="connsiteX317" fmla="*/ 533972 w 1659367"/>
                <a:gd name="connsiteY317" fmla="*/ 99374 h 126980"/>
                <a:gd name="connsiteX318" fmla="*/ 479489 w 1659367"/>
                <a:gd name="connsiteY318" fmla="*/ 99374 h 126980"/>
                <a:gd name="connsiteX319" fmla="*/ 464639 w 1659367"/>
                <a:gd name="connsiteY319" fmla="*/ 95382 h 126980"/>
                <a:gd name="connsiteX320" fmla="*/ 460500 w 1659367"/>
                <a:gd name="connsiteY320" fmla="*/ 80385 h 126980"/>
                <a:gd name="connsiteX321" fmla="*/ 460500 w 1659367"/>
                <a:gd name="connsiteY321" fmla="*/ 45329 h 126980"/>
                <a:gd name="connsiteX322" fmla="*/ 464639 w 1659367"/>
                <a:gd name="connsiteY322" fmla="*/ 30479 h 126980"/>
                <a:gd name="connsiteX323" fmla="*/ 479489 w 1659367"/>
                <a:gd name="connsiteY323" fmla="*/ 26389 h 126980"/>
                <a:gd name="connsiteX324" fmla="*/ 532901 w 1659367"/>
                <a:gd name="connsiteY324" fmla="*/ 26389 h 126980"/>
                <a:gd name="connsiteX325" fmla="*/ 533534 w 1659367"/>
                <a:gd name="connsiteY325" fmla="*/ 34910 h 126980"/>
                <a:gd name="connsiteX326" fmla="*/ 518002 w 1659367"/>
                <a:gd name="connsiteY326" fmla="*/ 33498 h 126980"/>
                <a:gd name="connsiteX327" fmla="*/ 480268 w 1659367"/>
                <a:gd name="connsiteY327" fmla="*/ 33498 h 126980"/>
                <a:gd name="connsiteX328" fmla="*/ 474912 w 1659367"/>
                <a:gd name="connsiteY328" fmla="*/ 35105 h 126980"/>
                <a:gd name="connsiteX329" fmla="*/ 473597 w 1659367"/>
                <a:gd name="connsiteY329" fmla="*/ 41532 h 126980"/>
                <a:gd name="connsiteX330" fmla="*/ 473597 w 1659367"/>
                <a:gd name="connsiteY330" fmla="*/ 84086 h 126980"/>
                <a:gd name="connsiteX331" fmla="*/ 379725 w 1659367"/>
                <a:gd name="connsiteY331" fmla="*/ 67385 h 126980"/>
                <a:gd name="connsiteX332" fmla="*/ 379725 w 1659367"/>
                <a:gd name="connsiteY332" fmla="*/ 84134 h 126980"/>
                <a:gd name="connsiteX333" fmla="*/ 380942 w 1659367"/>
                <a:gd name="connsiteY333" fmla="*/ 90659 h 126980"/>
                <a:gd name="connsiteX334" fmla="*/ 386347 w 1659367"/>
                <a:gd name="connsiteY334" fmla="*/ 92217 h 126980"/>
                <a:gd name="connsiteX335" fmla="*/ 432942 w 1659367"/>
                <a:gd name="connsiteY335" fmla="*/ 92217 h 126980"/>
                <a:gd name="connsiteX336" fmla="*/ 448474 w 1659367"/>
                <a:gd name="connsiteY336" fmla="*/ 90805 h 126980"/>
                <a:gd name="connsiteX337" fmla="*/ 446916 w 1659367"/>
                <a:gd name="connsiteY337" fmla="*/ 99374 h 126980"/>
                <a:gd name="connsiteX338" fmla="*/ 385568 w 1659367"/>
                <a:gd name="connsiteY338" fmla="*/ 99374 h 126980"/>
                <a:gd name="connsiteX339" fmla="*/ 370718 w 1659367"/>
                <a:gd name="connsiteY339" fmla="*/ 95382 h 126980"/>
                <a:gd name="connsiteX340" fmla="*/ 366579 w 1659367"/>
                <a:gd name="connsiteY340" fmla="*/ 80385 h 126980"/>
                <a:gd name="connsiteX341" fmla="*/ 366579 w 1659367"/>
                <a:gd name="connsiteY341" fmla="*/ 45329 h 126980"/>
                <a:gd name="connsiteX342" fmla="*/ 370718 w 1659367"/>
                <a:gd name="connsiteY342" fmla="*/ 30479 h 126980"/>
                <a:gd name="connsiteX343" fmla="*/ 385568 w 1659367"/>
                <a:gd name="connsiteY343" fmla="*/ 26389 h 126980"/>
                <a:gd name="connsiteX344" fmla="*/ 429485 w 1659367"/>
                <a:gd name="connsiteY344" fmla="*/ 26389 h 126980"/>
                <a:gd name="connsiteX345" fmla="*/ 444335 w 1659367"/>
                <a:gd name="connsiteY345" fmla="*/ 30382 h 126980"/>
                <a:gd name="connsiteX346" fmla="*/ 448425 w 1659367"/>
                <a:gd name="connsiteY346" fmla="*/ 45378 h 126980"/>
                <a:gd name="connsiteX347" fmla="*/ 448425 w 1659367"/>
                <a:gd name="connsiteY347" fmla="*/ 67385 h 126980"/>
                <a:gd name="connsiteX348" fmla="*/ 379676 w 1659367"/>
                <a:gd name="connsiteY348" fmla="*/ 67385 h 126980"/>
                <a:gd name="connsiteX349" fmla="*/ 435474 w 1659367"/>
                <a:gd name="connsiteY349" fmla="*/ 60228 h 126980"/>
                <a:gd name="connsiteX350" fmla="*/ 435474 w 1659367"/>
                <a:gd name="connsiteY350" fmla="*/ 41580 h 126980"/>
                <a:gd name="connsiteX351" fmla="*/ 434257 w 1659367"/>
                <a:gd name="connsiteY351" fmla="*/ 35056 h 126980"/>
                <a:gd name="connsiteX352" fmla="*/ 428804 w 1659367"/>
                <a:gd name="connsiteY352" fmla="*/ 33498 h 126980"/>
                <a:gd name="connsiteX353" fmla="*/ 386395 w 1659367"/>
                <a:gd name="connsiteY353" fmla="*/ 33498 h 126980"/>
                <a:gd name="connsiteX354" fmla="*/ 381040 w 1659367"/>
                <a:gd name="connsiteY354" fmla="*/ 35105 h 126980"/>
                <a:gd name="connsiteX355" fmla="*/ 379725 w 1659367"/>
                <a:gd name="connsiteY355" fmla="*/ 41532 h 126980"/>
                <a:gd name="connsiteX356" fmla="*/ 379725 w 1659367"/>
                <a:gd name="connsiteY356" fmla="*/ 60180 h 126980"/>
                <a:gd name="connsiteX357" fmla="*/ 435474 w 1659367"/>
                <a:gd name="connsiteY357" fmla="*/ 60180 h 126980"/>
                <a:gd name="connsiteX358" fmla="*/ 273534 w 1659367"/>
                <a:gd name="connsiteY358" fmla="*/ 41921 h 126980"/>
                <a:gd name="connsiteX359" fmla="*/ 272123 w 1659367"/>
                <a:gd name="connsiteY359" fmla="*/ 26389 h 126980"/>
                <a:gd name="connsiteX360" fmla="*/ 287167 w 1659367"/>
                <a:gd name="connsiteY360" fmla="*/ 26389 h 126980"/>
                <a:gd name="connsiteX361" fmla="*/ 287167 w 1659367"/>
                <a:gd name="connsiteY361" fmla="*/ 31697 h 126980"/>
                <a:gd name="connsiteX362" fmla="*/ 291452 w 1659367"/>
                <a:gd name="connsiteY362" fmla="*/ 27558 h 126980"/>
                <a:gd name="connsiteX363" fmla="*/ 295591 w 1659367"/>
                <a:gd name="connsiteY363" fmla="*/ 26389 h 126980"/>
                <a:gd name="connsiteX364" fmla="*/ 335808 w 1659367"/>
                <a:gd name="connsiteY364" fmla="*/ 26389 h 126980"/>
                <a:gd name="connsiteX365" fmla="*/ 350658 w 1659367"/>
                <a:gd name="connsiteY365" fmla="*/ 30382 h 126980"/>
                <a:gd name="connsiteX366" fmla="*/ 354796 w 1659367"/>
                <a:gd name="connsiteY366" fmla="*/ 45378 h 126980"/>
                <a:gd name="connsiteX367" fmla="*/ 354796 w 1659367"/>
                <a:gd name="connsiteY367" fmla="*/ 83891 h 126980"/>
                <a:gd name="connsiteX368" fmla="*/ 356208 w 1659367"/>
                <a:gd name="connsiteY368" fmla="*/ 99423 h 126980"/>
                <a:gd name="connsiteX369" fmla="*/ 340384 w 1659367"/>
                <a:gd name="connsiteY369" fmla="*/ 99423 h 126980"/>
                <a:gd name="connsiteX370" fmla="*/ 341796 w 1659367"/>
                <a:gd name="connsiteY370" fmla="*/ 83891 h 126980"/>
                <a:gd name="connsiteX371" fmla="*/ 341796 w 1659367"/>
                <a:gd name="connsiteY371" fmla="*/ 41629 h 126980"/>
                <a:gd name="connsiteX372" fmla="*/ 340579 w 1659367"/>
                <a:gd name="connsiteY372" fmla="*/ 35105 h 126980"/>
                <a:gd name="connsiteX373" fmla="*/ 335126 w 1659367"/>
                <a:gd name="connsiteY373" fmla="*/ 33547 h 126980"/>
                <a:gd name="connsiteX374" fmla="*/ 293351 w 1659367"/>
                <a:gd name="connsiteY374" fmla="*/ 33547 h 126980"/>
                <a:gd name="connsiteX375" fmla="*/ 287995 w 1659367"/>
                <a:gd name="connsiteY375" fmla="*/ 35153 h 126980"/>
                <a:gd name="connsiteX376" fmla="*/ 286681 w 1659367"/>
                <a:gd name="connsiteY376" fmla="*/ 41580 h 126980"/>
                <a:gd name="connsiteX377" fmla="*/ 286681 w 1659367"/>
                <a:gd name="connsiteY377" fmla="*/ 83842 h 126980"/>
                <a:gd name="connsiteX378" fmla="*/ 288093 w 1659367"/>
                <a:gd name="connsiteY378" fmla="*/ 99374 h 126980"/>
                <a:gd name="connsiteX379" fmla="*/ 272269 w 1659367"/>
                <a:gd name="connsiteY379" fmla="*/ 99374 h 126980"/>
                <a:gd name="connsiteX380" fmla="*/ 273681 w 1659367"/>
                <a:gd name="connsiteY380" fmla="*/ 83842 h 126980"/>
                <a:gd name="connsiteX381" fmla="*/ 273681 w 1659367"/>
                <a:gd name="connsiteY381" fmla="*/ 41872 h 126980"/>
                <a:gd name="connsiteX382" fmla="*/ 178688 w 1659367"/>
                <a:gd name="connsiteY382" fmla="*/ 41921 h 126980"/>
                <a:gd name="connsiteX383" fmla="*/ 177276 w 1659367"/>
                <a:gd name="connsiteY383" fmla="*/ 26389 h 126980"/>
                <a:gd name="connsiteX384" fmla="*/ 192321 w 1659367"/>
                <a:gd name="connsiteY384" fmla="*/ 26389 h 126980"/>
                <a:gd name="connsiteX385" fmla="*/ 192321 w 1659367"/>
                <a:gd name="connsiteY385" fmla="*/ 31697 h 126980"/>
                <a:gd name="connsiteX386" fmla="*/ 196606 w 1659367"/>
                <a:gd name="connsiteY386" fmla="*/ 27558 h 126980"/>
                <a:gd name="connsiteX387" fmla="*/ 200696 w 1659367"/>
                <a:gd name="connsiteY387" fmla="*/ 26389 h 126980"/>
                <a:gd name="connsiteX388" fmla="*/ 240913 w 1659367"/>
                <a:gd name="connsiteY388" fmla="*/ 26389 h 126980"/>
                <a:gd name="connsiteX389" fmla="*/ 255714 w 1659367"/>
                <a:gd name="connsiteY389" fmla="*/ 30382 h 126980"/>
                <a:gd name="connsiteX390" fmla="*/ 259853 w 1659367"/>
                <a:gd name="connsiteY390" fmla="*/ 45378 h 126980"/>
                <a:gd name="connsiteX391" fmla="*/ 259853 w 1659367"/>
                <a:gd name="connsiteY391" fmla="*/ 83891 h 126980"/>
                <a:gd name="connsiteX392" fmla="*/ 261265 w 1659367"/>
                <a:gd name="connsiteY392" fmla="*/ 99423 h 126980"/>
                <a:gd name="connsiteX393" fmla="*/ 245441 w 1659367"/>
                <a:gd name="connsiteY393" fmla="*/ 99423 h 126980"/>
                <a:gd name="connsiteX394" fmla="*/ 246853 w 1659367"/>
                <a:gd name="connsiteY394" fmla="*/ 83891 h 126980"/>
                <a:gd name="connsiteX395" fmla="*/ 246853 w 1659367"/>
                <a:gd name="connsiteY395" fmla="*/ 41629 h 126980"/>
                <a:gd name="connsiteX396" fmla="*/ 245587 w 1659367"/>
                <a:gd name="connsiteY396" fmla="*/ 35105 h 126980"/>
                <a:gd name="connsiteX397" fmla="*/ 240183 w 1659367"/>
                <a:gd name="connsiteY397" fmla="*/ 33547 h 126980"/>
                <a:gd name="connsiteX398" fmla="*/ 198407 w 1659367"/>
                <a:gd name="connsiteY398" fmla="*/ 33547 h 126980"/>
                <a:gd name="connsiteX399" fmla="*/ 193052 w 1659367"/>
                <a:gd name="connsiteY399" fmla="*/ 35153 h 126980"/>
                <a:gd name="connsiteX400" fmla="*/ 191737 w 1659367"/>
                <a:gd name="connsiteY400" fmla="*/ 41580 h 126980"/>
                <a:gd name="connsiteX401" fmla="*/ 191737 w 1659367"/>
                <a:gd name="connsiteY401" fmla="*/ 83842 h 126980"/>
                <a:gd name="connsiteX402" fmla="*/ 193149 w 1659367"/>
                <a:gd name="connsiteY402" fmla="*/ 99374 h 126980"/>
                <a:gd name="connsiteX403" fmla="*/ 177325 w 1659367"/>
                <a:gd name="connsiteY403" fmla="*/ 99374 h 126980"/>
                <a:gd name="connsiteX404" fmla="*/ 178737 w 1659367"/>
                <a:gd name="connsiteY404" fmla="*/ 83842 h 126980"/>
                <a:gd name="connsiteX405" fmla="*/ 178737 w 1659367"/>
                <a:gd name="connsiteY405" fmla="*/ 41872 h 126980"/>
                <a:gd name="connsiteX406" fmla="*/ 104633 w 1659367"/>
                <a:gd name="connsiteY406" fmla="*/ 33547 h 126980"/>
                <a:gd name="connsiteX407" fmla="*/ 99277 w 1659367"/>
                <a:gd name="connsiteY407" fmla="*/ 35153 h 126980"/>
                <a:gd name="connsiteX408" fmla="*/ 97962 w 1659367"/>
                <a:gd name="connsiteY408" fmla="*/ 41580 h 126980"/>
                <a:gd name="connsiteX409" fmla="*/ 97962 w 1659367"/>
                <a:gd name="connsiteY409" fmla="*/ 84134 h 126980"/>
                <a:gd name="connsiteX410" fmla="*/ 99228 w 1659367"/>
                <a:gd name="connsiteY410" fmla="*/ 90659 h 126980"/>
                <a:gd name="connsiteX411" fmla="*/ 104633 w 1659367"/>
                <a:gd name="connsiteY411" fmla="*/ 92217 h 126980"/>
                <a:gd name="connsiteX412" fmla="*/ 147041 w 1659367"/>
                <a:gd name="connsiteY412" fmla="*/ 92217 h 126980"/>
                <a:gd name="connsiteX413" fmla="*/ 152396 w 1659367"/>
                <a:gd name="connsiteY413" fmla="*/ 90561 h 126980"/>
                <a:gd name="connsiteX414" fmla="*/ 153711 w 1659367"/>
                <a:gd name="connsiteY414" fmla="*/ 84134 h 126980"/>
                <a:gd name="connsiteX415" fmla="*/ 153711 w 1659367"/>
                <a:gd name="connsiteY415" fmla="*/ 41580 h 126980"/>
                <a:gd name="connsiteX416" fmla="*/ 152494 w 1659367"/>
                <a:gd name="connsiteY416" fmla="*/ 35056 h 126980"/>
                <a:gd name="connsiteX417" fmla="*/ 147041 w 1659367"/>
                <a:gd name="connsiteY417" fmla="*/ 33498 h 126980"/>
                <a:gd name="connsiteX418" fmla="*/ 104633 w 1659367"/>
                <a:gd name="connsiteY418" fmla="*/ 33498 h 126980"/>
                <a:gd name="connsiteX419" fmla="*/ 166760 w 1659367"/>
                <a:gd name="connsiteY419" fmla="*/ 80434 h 126980"/>
                <a:gd name="connsiteX420" fmla="*/ 162621 w 1659367"/>
                <a:gd name="connsiteY420" fmla="*/ 95284 h 126980"/>
                <a:gd name="connsiteX421" fmla="*/ 147820 w 1659367"/>
                <a:gd name="connsiteY421" fmla="*/ 99423 h 126980"/>
                <a:gd name="connsiteX422" fmla="*/ 103854 w 1659367"/>
                <a:gd name="connsiteY422" fmla="*/ 99423 h 126980"/>
                <a:gd name="connsiteX423" fmla="*/ 89052 w 1659367"/>
                <a:gd name="connsiteY423" fmla="*/ 95430 h 126980"/>
                <a:gd name="connsiteX424" fmla="*/ 84914 w 1659367"/>
                <a:gd name="connsiteY424" fmla="*/ 80434 h 126980"/>
                <a:gd name="connsiteX425" fmla="*/ 84914 w 1659367"/>
                <a:gd name="connsiteY425" fmla="*/ 45378 h 126980"/>
                <a:gd name="connsiteX426" fmla="*/ 89052 w 1659367"/>
                <a:gd name="connsiteY426" fmla="*/ 30528 h 126980"/>
                <a:gd name="connsiteX427" fmla="*/ 103854 w 1659367"/>
                <a:gd name="connsiteY427" fmla="*/ 26438 h 126980"/>
                <a:gd name="connsiteX428" fmla="*/ 147820 w 1659367"/>
                <a:gd name="connsiteY428" fmla="*/ 26438 h 126980"/>
                <a:gd name="connsiteX429" fmla="*/ 162621 w 1659367"/>
                <a:gd name="connsiteY429" fmla="*/ 30431 h 126980"/>
                <a:gd name="connsiteX430" fmla="*/ 166760 w 1659367"/>
                <a:gd name="connsiteY430" fmla="*/ 45427 h 126980"/>
                <a:gd name="connsiteX431" fmla="*/ 166760 w 1659367"/>
                <a:gd name="connsiteY431" fmla="*/ 80483 h 126980"/>
                <a:gd name="connsiteX432" fmla="*/ 75322 w 1659367"/>
                <a:gd name="connsiteY432" fmla="*/ 0 h 126980"/>
                <a:gd name="connsiteX433" fmla="*/ 76247 w 1659367"/>
                <a:gd name="connsiteY433" fmla="*/ 10273 h 126980"/>
                <a:gd name="connsiteX434" fmla="*/ 67239 w 1659367"/>
                <a:gd name="connsiteY434" fmla="*/ 8472 h 126980"/>
                <a:gd name="connsiteX435" fmla="*/ 52048 w 1659367"/>
                <a:gd name="connsiteY435" fmla="*/ 8131 h 126980"/>
                <a:gd name="connsiteX436" fmla="*/ 22543 w 1659367"/>
                <a:gd name="connsiteY436" fmla="*/ 8131 h 126980"/>
                <a:gd name="connsiteX437" fmla="*/ 17187 w 1659367"/>
                <a:gd name="connsiteY437" fmla="*/ 9738 h 126980"/>
                <a:gd name="connsiteX438" fmla="*/ 15873 w 1659367"/>
                <a:gd name="connsiteY438" fmla="*/ 16165 h 126980"/>
                <a:gd name="connsiteX439" fmla="*/ 15873 w 1659367"/>
                <a:gd name="connsiteY439" fmla="*/ 83258 h 126980"/>
                <a:gd name="connsiteX440" fmla="*/ 17090 w 1659367"/>
                <a:gd name="connsiteY440" fmla="*/ 89782 h 126980"/>
                <a:gd name="connsiteX441" fmla="*/ 22543 w 1659367"/>
                <a:gd name="connsiteY441" fmla="*/ 91292 h 126980"/>
                <a:gd name="connsiteX442" fmla="*/ 56382 w 1659367"/>
                <a:gd name="connsiteY442" fmla="*/ 91292 h 126980"/>
                <a:gd name="connsiteX443" fmla="*/ 77659 w 1659367"/>
                <a:gd name="connsiteY443" fmla="*/ 89442 h 126980"/>
                <a:gd name="connsiteX444" fmla="*/ 76685 w 1659367"/>
                <a:gd name="connsiteY444" fmla="*/ 99374 h 126980"/>
                <a:gd name="connsiteX445" fmla="*/ 21910 w 1659367"/>
                <a:gd name="connsiteY445" fmla="*/ 99374 h 126980"/>
                <a:gd name="connsiteX446" fmla="*/ 4723 w 1659367"/>
                <a:gd name="connsiteY446" fmla="*/ 95382 h 126980"/>
                <a:gd name="connsiteX447" fmla="*/ 0 w 1659367"/>
                <a:gd name="connsiteY447" fmla="*/ 80093 h 126980"/>
                <a:gd name="connsiteX448" fmla="*/ 0 w 1659367"/>
                <a:gd name="connsiteY448" fmla="*/ 19232 h 126980"/>
                <a:gd name="connsiteX449" fmla="*/ 4723 w 1659367"/>
                <a:gd name="connsiteY449" fmla="*/ 3944 h 126980"/>
                <a:gd name="connsiteX450" fmla="*/ 21910 w 1659367"/>
                <a:gd name="connsiteY450" fmla="*/ 0 h 126980"/>
                <a:gd name="connsiteX451" fmla="*/ 75322 w 1659367"/>
                <a:gd name="connsiteY451" fmla="*/ 0 h 1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1659367" h="126980">
                  <a:moveTo>
                    <a:pt x="1640428" y="54678"/>
                  </a:moveTo>
                  <a:cubicBezTo>
                    <a:pt x="1647585" y="54678"/>
                    <a:pt x="1652503" y="55992"/>
                    <a:pt x="1655278" y="58621"/>
                  </a:cubicBezTo>
                  <a:cubicBezTo>
                    <a:pt x="1658005" y="61251"/>
                    <a:pt x="1659368" y="66266"/>
                    <a:pt x="1659368" y="73618"/>
                  </a:cubicBezTo>
                  <a:lnTo>
                    <a:pt x="1659368" y="86958"/>
                  </a:lnTo>
                  <a:cubicBezTo>
                    <a:pt x="1659368" y="91097"/>
                    <a:pt x="1658053" y="94213"/>
                    <a:pt x="1655327" y="96307"/>
                  </a:cubicBezTo>
                  <a:cubicBezTo>
                    <a:pt x="1652600" y="98352"/>
                    <a:pt x="1648121" y="99423"/>
                    <a:pt x="1641791" y="99423"/>
                  </a:cubicBezTo>
                  <a:lnTo>
                    <a:pt x="1583608" y="99423"/>
                  </a:lnTo>
                  <a:lnTo>
                    <a:pt x="1582488" y="90561"/>
                  </a:lnTo>
                  <a:cubicBezTo>
                    <a:pt x="1586189" y="91681"/>
                    <a:pt x="1591398" y="92266"/>
                    <a:pt x="1598020" y="92266"/>
                  </a:cubicBezTo>
                  <a:lnTo>
                    <a:pt x="1640818" y="92266"/>
                  </a:lnTo>
                  <a:cubicBezTo>
                    <a:pt x="1643544" y="92266"/>
                    <a:pt x="1645297" y="91730"/>
                    <a:pt x="1646222" y="90610"/>
                  </a:cubicBezTo>
                  <a:cubicBezTo>
                    <a:pt x="1647098" y="89539"/>
                    <a:pt x="1647537" y="87397"/>
                    <a:pt x="1647537" y="84183"/>
                  </a:cubicBezTo>
                  <a:lnTo>
                    <a:pt x="1647537" y="75468"/>
                  </a:lnTo>
                  <a:cubicBezTo>
                    <a:pt x="1647537" y="72157"/>
                    <a:pt x="1647147" y="70015"/>
                    <a:pt x="1646319" y="68944"/>
                  </a:cubicBezTo>
                  <a:cubicBezTo>
                    <a:pt x="1645492" y="67921"/>
                    <a:pt x="1643690" y="67385"/>
                    <a:pt x="1640866" y="67385"/>
                  </a:cubicBezTo>
                  <a:lnTo>
                    <a:pt x="1601428" y="67385"/>
                  </a:lnTo>
                  <a:cubicBezTo>
                    <a:pt x="1594271" y="67385"/>
                    <a:pt x="1589353" y="66071"/>
                    <a:pt x="1586578" y="63442"/>
                  </a:cubicBezTo>
                  <a:cubicBezTo>
                    <a:pt x="1583851" y="60764"/>
                    <a:pt x="1582488" y="55798"/>
                    <a:pt x="1582488" y="48445"/>
                  </a:cubicBezTo>
                  <a:lnTo>
                    <a:pt x="1582488" y="45378"/>
                  </a:lnTo>
                  <a:cubicBezTo>
                    <a:pt x="1582488" y="38221"/>
                    <a:pt x="1583851" y="33255"/>
                    <a:pt x="1586578" y="30528"/>
                  </a:cubicBezTo>
                  <a:cubicBezTo>
                    <a:pt x="1589353" y="27801"/>
                    <a:pt x="1594271" y="26438"/>
                    <a:pt x="1601428" y="26438"/>
                  </a:cubicBezTo>
                  <a:lnTo>
                    <a:pt x="1657956" y="26438"/>
                  </a:lnTo>
                  <a:lnTo>
                    <a:pt x="1659319" y="34959"/>
                  </a:lnTo>
                  <a:cubicBezTo>
                    <a:pt x="1655619" y="34034"/>
                    <a:pt x="1650409" y="33547"/>
                    <a:pt x="1643836" y="33547"/>
                  </a:cubicBezTo>
                  <a:lnTo>
                    <a:pt x="1602256" y="33547"/>
                  </a:lnTo>
                  <a:cubicBezTo>
                    <a:pt x="1599578" y="33547"/>
                    <a:pt x="1597777" y="34082"/>
                    <a:pt x="1596900" y="35153"/>
                  </a:cubicBezTo>
                  <a:cubicBezTo>
                    <a:pt x="1596024" y="36225"/>
                    <a:pt x="1595585" y="38367"/>
                    <a:pt x="1595585" y="41580"/>
                  </a:cubicBezTo>
                  <a:lnTo>
                    <a:pt x="1595585" y="46547"/>
                  </a:lnTo>
                  <a:cubicBezTo>
                    <a:pt x="1595585" y="49857"/>
                    <a:pt x="1595975" y="52000"/>
                    <a:pt x="1596803" y="53071"/>
                  </a:cubicBezTo>
                  <a:cubicBezTo>
                    <a:pt x="1597630" y="54093"/>
                    <a:pt x="1599432" y="54629"/>
                    <a:pt x="1602256" y="54629"/>
                  </a:cubicBezTo>
                  <a:lnTo>
                    <a:pt x="1640428" y="54629"/>
                  </a:lnTo>
                  <a:close/>
                  <a:moveTo>
                    <a:pt x="1489833" y="41921"/>
                  </a:moveTo>
                  <a:cubicBezTo>
                    <a:pt x="1489833" y="35299"/>
                    <a:pt x="1489346" y="30138"/>
                    <a:pt x="1488421" y="26389"/>
                  </a:cubicBezTo>
                  <a:lnTo>
                    <a:pt x="1503466" y="26389"/>
                  </a:lnTo>
                  <a:lnTo>
                    <a:pt x="1503466" y="31697"/>
                  </a:lnTo>
                  <a:cubicBezTo>
                    <a:pt x="1505121" y="29749"/>
                    <a:pt x="1506534" y="28337"/>
                    <a:pt x="1507751" y="27558"/>
                  </a:cubicBezTo>
                  <a:cubicBezTo>
                    <a:pt x="1508919" y="26779"/>
                    <a:pt x="1510331" y="26389"/>
                    <a:pt x="1511841" y="26389"/>
                  </a:cubicBezTo>
                  <a:lnTo>
                    <a:pt x="1552058" y="26389"/>
                  </a:lnTo>
                  <a:cubicBezTo>
                    <a:pt x="1559215" y="26389"/>
                    <a:pt x="1564181" y="27704"/>
                    <a:pt x="1566908" y="30382"/>
                  </a:cubicBezTo>
                  <a:cubicBezTo>
                    <a:pt x="1569683" y="33011"/>
                    <a:pt x="1571046" y="37977"/>
                    <a:pt x="1571046" y="45378"/>
                  </a:cubicBezTo>
                  <a:lnTo>
                    <a:pt x="1571046" y="83891"/>
                  </a:lnTo>
                  <a:cubicBezTo>
                    <a:pt x="1571046" y="90513"/>
                    <a:pt x="1571485" y="95674"/>
                    <a:pt x="1572410" y="99423"/>
                  </a:cubicBezTo>
                  <a:lnTo>
                    <a:pt x="1556586" y="99423"/>
                  </a:lnTo>
                  <a:cubicBezTo>
                    <a:pt x="1557511" y="95674"/>
                    <a:pt x="1557998" y="90513"/>
                    <a:pt x="1557998" y="83891"/>
                  </a:cubicBezTo>
                  <a:lnTo>
                    <a:pt x="1557998" y="41629"/>
                  </a:lnTo>
                  <a:cubicBezTo>
                    <a:pt x="1557998" y="38318"/>
                    <a:pt x="1557559" y="36176"/>
                    <a:pt x="1556732" y="35105"/>
                  </a:cubicBezTo>
                  <a:cubicBezTo>
                    <a:pt x="1555904" y="34082"/>
                    <a:pt x="1554103" y="33547"/>
                    <a:pt x="1551327" y="33547"/>
                  </a:cubicBezTo>
                  <a:lnTo>
                    <a:pt x="1509552" y="33547"/>
                  </a:lnTo>
                  <a:cubicBezTo>
                    <a:pt x="1506874" y="33547"/>
                    <a:pt x="1505073" y="34082"/>
                    <a:pt x="1504196" y="35153"/>
                  </a:cubicBezTo>
                  <a:cubicBezTo>
                    <a:pt x="1503320" y="36225"/>
                    <a:pt x="1502882" y="38367"/>
                    <a:pt x="1502882" y="41580"/>
                  </a:cubicBezTo>
                  <a:lnTo>
                    <a:pt x="1502882" y="83842"/>
                  </a:lnTo>
                  <a:cubicBezTo>
                    <a:pt x="1502882" y="90464"/>
                    <a:pt x="1503369" y="95625"/>
                    <a:pt x="1504294" y="99374"/>
                  </a:cubicBezTo>
                  <a:lnTo>
                    <a:pt x="1488470" y="99374"/>
                  </a:lnTo>
                  <a:cubicBezTo>
                    <a:pt x="1489395" y="95625"/>
                    <a:pt x="1489882" y="90464"/>
                    <a:pt x="1489882" y="83842"/>
                  </a:cubicBezTo>
                  <a:lnTo>
                    <a:pt x="1489882" y="41872"/>
                  </a:lnTo>
                  <a:close/>
                  <a:moveTo>
                    <a:pt x="1415777" y="33547"/>
                  </a:moveTo>
                  <a:cubicBezTo>
                    <a:pt x="1413099" y="33547"/>
                    <a:pt x="1411298" y="34082"/>
                    <a:pt x="1410421" y="35153"/>
                  </a:cubicBezTo>
                  <a:cubicBezTo>
                    <a:pt x="1409545" y="36225"/>
                    <a:pt x="1409107" y="38367"/>
                    <a:pt x="1409107" y="41580"/>
                  </a:cubicBezTo>
                  <a:lnTo>
                    <a:pt x="1409107" y="84134"/>
                  </a:lnTo>
                  <a:cubicBezTo>
                    <a:pt x="1409107" y="87445"/>
                    <a:pt x="1409545" y="89588"/>
                    <a:pt x="1410373" y="90659"/>
                  </a:cubicBezTo>
                  <a:cubicBezTo>
                    <a:pt x="1411200" y="91681"/>
                    <a:pt x="1413051" y="92217"/>
                    <a:pt x="1415826" y="92217"/>
                  </a:cubicBezTo>
                  <a:lnTo>
                    <a:pt x="1458185" y="92217"/>
                  </a:lnTo>
                  <a:cubicBezTo>
                    <a:pt x="1460912" y="92217"/>
                    <a:pt x="1462665" y="91681"/>
                    <a:pt x="1463541" y="90561"/>
                  </a:cubicBezTo>
                  <a:cubicBezTo>
                    <a:pt x="1464417" y="89490"/>
                    <a:pt x="1464856" y="87348"/>
                    <a:pt x="1464856" y="84134"/>
                  </a:cubicBezTo>
                  <a:lnTo>
                    <a:pt x="1464856" y="41580"/>
                  </a:lnTo>
                  <a:cubicBezTo>
                    <a:pt x="1464856" y="38270"/>
                    <a:pt x="1464466" y="36127"/>
                    <a:pt x="1463590" y="35056"/>
                  </a:cubicBezTo>
                  <a:cubicBezTo>
                    <a:pt x="1462762" y="34034"/>
                    <a:pt x="1460961" y="33498"/>
                    <a:pt x="1458137" y="33498"/>
                  </a:cubicBezTo>
                  <a:lnTo>
                    <a:pt x="1415777" y="33498"/>
                  </a:lnTo>
                  <a:close/>
                  <a:moveTo>
                    <a:pt x="1477904" y="80434"/>
                  </a:moveTo>
                  <a:cubicBezTo>
                    <a:pt x="1477904" y="87591"/>
                    <a:pt x="1476541" y="92509"/>
                    <a:pt x="1473815" y="95284"/>
                  </a:cubicBezTo>
                  <a:cubicBezTo>
                    <a:pt x="1471088" y="98011"/>
                    <a:pt x="1466122" y="99423"/>
                    <a:pt x="1458964" y="99423"/>
                  </a:cubicBezTo>
                  <a:lnTo>
                    <a:pt x="1415047" y="99423"/>
                  </a:lnTo>
                  <a:cubicBezTo>
                    <a:pt x="1407890" y="99423"/>
                    <a:pt x="1402972" y="98060"/>
                    <a:pt x="1400197" y="95430"/>
                  </a:cubicBezTo>
                  <a:cubicBezTo>
                    <a:pt x="1397470" y="92801"/>
                    <a:pt x="1396107" y="87786"/>
                    <a:pt x="1396107" y="80434"/>
                  </a:cubicBezTo>
                  <a:lnTo>
                    <a:pt x="1396107" y="45378"/>
                  </a:lnTo>
                  <a:cubicBezTo>
                    <a:pt x="1396107" y="38221"/>
                    <a:pt x="1397470" y="33255"/>
                    <a:pt x="1400197" y="30528"/>
                  </a:cubicBezTo>
                  <a:cubicBezTo>
                    <a:pt x="1402972" y="27801"/>
                    <a:pt x="1407890" y="26438"/>
                    <a:pt x="1415047" y="26438"/>
                  </a:cubicBezTo>
                  <a:lnTo>
                    <a:pt x="1458964" y="26438"/>
                  </a:lnTo>
                  <a:cubicBezTo>
                    <a:pt x="1466122" y="26438"/>
                    <a:pt x="1471039" y="27753"/>
                    <a:pt x="1473815" y="30431"/>
                  </a:cubicBezTo>
                  <a:cubicBezTo>
                    <a:pt x="1476541" y="33060"/>
                    <a:pt x="1477904" y="38026"/>
                    <a:pt x="1477904" y="45427"/>
                  </a:cubicBezTo>
                  <a:lnTo>
                    <a:pt x="1477904" y="80483"/>
                  </a:lnTo>
                  <a:close/>
                  <a:moveTo>
                    <a:pt x="1368598" y="6816"/>
                  </a:moveTo>
                  <a:lnTo>
                    <a:pt x="1381646" y="6816"/>
                  </a:lnTo>
                  <a:lnTo>
                    <a:pt x="1381646" y="17382"/>
                  </a:lnTo>
                  <a:lnTo>
                    <a:pt x="1368598" y="17382"/>
                  </a:lnTo>
                  <a:lnTo>
                    <a:pt x="1368598" y="6816"/>
                  </a:lnTo>
                  <a:close/>
                  <a:moveTo>
                    <a:pt x="1381646" y="83842"/>
                  </a:moveTo>
                  <a:cubicBezTo>
                    <a:pt x="1381646" y="90464"/>
                    <a:pt x="1382133" y="95625"/>
                    <a:pt x="1383058" y="99374"/>
                  </a:cubicBezTo>
                  <a:lnTo>
                    <a:pt x="1367234" y="99374"/>
                  </a:lnTo>
                  <a:cubicBezTo>
                    <a:pt x="1368159" y="95625"/>
                    <a:pt x="1368646" y="90464"/>
                    <a:pt x="1368646" y="83842"/>
                  </a:cubicBezTo>
                  <a:lnTo>
                    <a:pt x="1368646" y="41872"/>
                  </a:lnTo>
                  <a:cubicBezTo>
                    <a:pt x="1368646" y="35251"/>
                    <a:pt x="1368159" y="30090"/>
                    <a:pt x="1367234" y="26341"/>
                  </a:cubicBezTo>
                  <a:lnTo>
                    <a:pt x="1381695" y="26341"/>
                  </a:lnTo>
                  <a:lnTo>
                    <a:pt x="1381695" y="83794"/>
                  </a:lnTo>
                  <a:close/>
                  <a:moveTo>
                    <a:pt x="1317961" y="33547"/>
                  </a:moveTo>
                  <a:lnTo>
                    <a:pt x="1317961" y="84134"/>
                  </a:lnTo>
                  <a:cubicBezTo>
                    <a:pt x="1317961" y="87445"/>
                    <a:pt x="1318399" y="89588"/>
                    <a:pt x="1319227" y="90659"/>
                  </a:cubicBezTo>
                  <a:cubicBezTo>
                    <a:pt x="1320055" y="91681"/>
                    <a:pt x="1321856" y="92217"/>
                    <a:pt x="1324632" y="92217"/>
                  </a:cubicBezTo>
                  <a:lnTo>
                    <a:pt x="1342500" y="92217"/>
                  </a:lnTo>
                  <a:cubicBezTo>
                    <a:pt x="1349122" y="92217"/>
                    <a:pt x="1354283" y="91730"/>
                    <a:pt x="1358032" y="90805"/>
                  </a:cubicBezTo>
                  <a:lnTo>
                    <a:pt x="1356961" y="99374"/>
                  </a:lnTo>
                  <a:lnTo>
                    <a:pt x="1323901" y="99374"/>
                  </a:lnTo>
                  <a:cubicBezTo>
                    <a:pt x="1316744" y="99374"/>
                    <a:pt x="1311826" y="98011"/>
                    <a:pt x="1309051" y="95382"/>
                  </a:cubicBezTo>
                  <a:cubicBezTo>
                    <a:pt x="1306324" y="92752"/>
                    <a:pt x="1304961" y="87737"/>
                    <a:pt x="1304961" y="80385"/>
                  </a:cubicBezTo>
                  <a:lnTo>
                    <a:pt x="1304961" y="33498"/>
                  </a:lnTo>
                  <a:lnTo>
                    <a:pt x="1293665" y="33498"/>
                  </a:lnTo>
                  <a:lnTo>
                    <a:pt x="1293665" y="26341"/>
                  </a:lnTo>
                  <a:lnTo>
                    <a:pt x="1304961" y="26341"/>
                  </a:lnTo>
                  <a:lnTo>
                    <a:pt x="1304961" y="11929"/>
                  </a:lnTo>
                  <a:lnTo>
                    <a:pt x="1318010" y="9446"/>
                  </a:lnTo>
                  <a:lnTo>
                    <a:pt x="1318010" y="26341"/>
                  </a:lnTo>
                  <a:lnTo>
                    <a:pt x="1354332" y="26341"/>
                  </a:lnTo>
                  <a:lnTo>
                    <a:pt x="1354332" y="33498"/>
                  </a:lnTo>
                  <a:lnTo>
                    <a:pt x="1318010" y="33498"/>
                  </a:lnTo>
                  <a:close/>
                  <a:moveTo>
                    <a:pt x="1202276" y="41921"/>
                  </a:moveTo>
                  <a:cubicBezTo>
                    <a:pt x="1202276" y="35299"/>
                    <a:pt x="1201838" y="30138"/>
                    <a:pt x="1200864" y="26389"/>
                  </a:cubicBezTo>
                  <a:lnTo>
                    <a:pt x="1215325" y="26389"/>
                  </a:lnTo>
                  <a:lnTo>
                    <a:pt x="1215325" y="84134"/>
                  </a:lnTo>
                  <a:cubicBezTo>
                    <a:pt x="1215325" y="87445"/>
                    <a:pt x="1215763" y="89588"/>
                    <a:pt x="1216542" y="90659"/>
                  </a:cubicBezTo>
                  <a:cubicBezTo>
                    <a:pt x="1217370" y="91681"/>
                    <a:pt x="1219171" y="92217"/>
                    <a:pt x="1221995" y="92217"/>
                  </a:cubicBezTo>
                  <a:lnTo>
                    <a:pt x="1263770" y="92217"/>
                  </a:lnTo>
                  <a:cubicBezTo>
                    <a:pt x="1266448" y="92217"/>
                    <a:pt x="1268250" y="91681"/>
                    <a:pt x="1269126" y="90561"/>
                  </a:cubicBezTo>
                  <a:cubicBezTo>
                    <a:pt x="1270003" y="89490"/>
                    <a:pt x="1270441" y="87348"/>
                    <a:pt x="1270441" y="84134"/>
                  </a:cubicBezTo>
                  <a:lnTo>
                    <a:pt x="1270441" y="41872"/>
                  </a:lnTo>
                  <a:cubicBezTo>
                    <a:pt x="1270441" y="35251"/>
                    <a:pt x="1269954" y="30090"/>
                    <a:pt x="1269029" y="26341"/>
                  </a:cubicBezTo>
                  <a:lnTo>
                    <a:pt x="1283441" y="26341"/>
                  </a:lnTo>
                  <a:lnTo>
                    <a:pt x="1283441" y="83794"/>
                  </a:lnTo>
                  <a:cubicBezTo>
                    <a:pt x="1283441" y="90415"/>
                    <a:pt x="1283928" y="95576"/>
                    <a:pt x="1284853" y="99325"/>
                  </a:cubicBezTo>
                  <a:lnTo>
                    <a:pt x="1271804" y="99325"/>
                  </a:lnTo>
                  <a:lnTo>
                    <a:pt x="1271025" y="94018"/>
                  </a:lnTo>
                  <a:cubicBezTo>
                    <a:pt x="1270100" y="95966"/>
                    <a:pt x="1269029" y="97329"/>
                    <a:pt x="1267860" y="98108"/>
                  </a:cubicBezTo>
                  <a:cubicBezTo>
                    <a:pt x="1266643" y="98887"/>
                    <a:pt x="1264939" y="99277"/>
                    <a:pt x="1262650" y="99277"/>
                  </a:cubicBezTo>
                  <a:lnTo>
                    <a:pt x="1221216" y="99277"/>
                  </a:lnTo>
                  <a:cubicBezTo>
                    <a:pt x="1214108" y="99277"/>
                    <a:pt x="1209141" y="97913"/>
                    <a:pt x="1206366" y="95284"/>
                  </a:cubicBezTo>
                  <a:cubicBezTo>
                    <a:pt x="1203639" y="92655"/>
                    <a:pt x="1202228" y="87640"/>
                    <a:pt x="1202228" y="80288"/>
                  </a:cubicBezTo>
                  <a:lnTo>
                    <a:pt x="1202228" y="41775"/>
                  </a:lnTo>
                  <a:close/>
                  <a:moveTo>
                    <a:pt x="1186160" y="0"/>
                  </a:moveTo>
                  <a:lnTo>
                    <a:pt x="1186160" y="83842"/>
                  </a:lnTo>
                  <a:cubicBezTo>
                    <a:pt x="1186160" y="90464"/>
                    <a:pt x="1186647" y="95625"/>
                    <a:pt x="1187572" y="99374"/>
                  </a:cubicBezTo>
                  <a:lnTo>
                    <a:pt x="1171748" y="99374"/>
                  </a:lnTo>
                  <a:cubicBezTo>
                    <a:pt x="1172673" y="95625"/>
                    <a:pt x="1173160" y="90464"/>
                    <a:pt x="1173160" y="83842"/>
                  </a:cubicBezTo>
                  <a:lnTo>
                    <a:pt x="1173160" y="15532"/>
                  </a:lnTo>
                  <a:cubicBezTo>
                    <a:pt x="1173160" y="8910"/>
                    <a:pt x="1172673" y="3700"/>
                    <a:pt x="1171748" y="0"/>
                  </a:cubicBezTo>
                  <a:lnTo>
                    <a:pt x="1186209" y="0"/>
                  </a:lnTo>
                  <a:close/>
                  <a:moveTo>
                    <a:pt x="1096573" y="33547"/>
                  </a:moveTo>
                  <a:cubicBezTo>
                    <a:pt x="1093895" y="33547"/>
                    <a:pt x="1092093" y="34082"/>
                    <a:pt x="1091217" y="35153"/>
                  </a:cubicBezTo>
                  <a:cubicBezTo>
                    <a:pt x="1090340" y="36225"/>
                    <a:pt x="1089902" y="38367"/>
                    <a:pt x="1089902" y="41580"/>
                  </a:cubicBezTo>
                  <a:lnTo>
                    <a:pt x="1089902" y="84134"/>
                  </a:lnTo>
                  <a:cubicBezTo>
                    <a:pt x="1089902" y="87445"/>
                    <a:pt x="1090340" y="89588"/>
                    <a:pt x="1091119" y="90659"/>
                  </a:cubicBezTo>
                  <a:cubicBezTo>
                    <a:pt x="1091947" y="91681"/>
                    <a:pt x="1093749" y="92217"/>
                    <a:pt x="1096573" y="92217"/>
                  </a:cubicBezTo>
                  <a:lnTo>
                    <a:pt x="1138981" y="92217"/>
                  </a:lnTo>
                  <a:cubicBezTo>
                    <a:pt x="1141659" y="92217"/>
                    <a:pt x="1143460" y="91681"/>
                    <a:pt x="1144336" y="90561"/>
                  </a:cubicBezTo>
                  <a:cubicBezTo>
                    <a:pt x="1145213" y="89490"/>
                    <a:pt x="1145651" y="87348"/>
                    <a:pt x="1145651" y="84134"/>
                  </a:cubicBezTo>
                  <a:lnTo>
                    <a:pt x="1145651" y="41580"/>
                  </a:lnTo>
                  <a:cubicBezTo>
                    <a:pt x="1145651" y="38270"/>
                    <a:pt x="1145213" y="36127"/>
                    <a:pt x="1144434" y="35056"/>
                  </a:cubicBezTo>
                  <a:cubicBezTo>
                    <a:pt x="1143606" y="34034"/>
                    <a:pt x="1141805" y="33498"/>
                    <a:pt x="1139029" y="33498"/>
                  </a:cubicBezTo>
                  <a:lnTo>
                    <a:pt x="1096621" y="33498"/>
                  </a:lnTo>
                  <a:close/>
                  <a:moveTo>
                    <a:pt x="1158651" y="80434"/>
                  </a:moveTo>
                  <a:cubicBezTo>
                    <a:pt x="1158651" y="87591"/>
                    <a:pt x="1157288" y="92509"/>
                    <a:pt x="1154561" y="95284"/>
                  </a:cubicBezTo>
                  <a:cubicBezTo>
                    <a:pt x="1151786" y="98011"/>
                    <a:pt x="1146868" y="99423"/>
                    <a:pt x="1139711" y="99423"/>
                  </a:cubicBezTo>
                  <a:lnTo>
                    <a:pt x="1095793" y="99423"/>
                  </a:lnTo>
                  <a:cubicBezTo>
                    <a:pt x="1088636" y="99423"/>
                    <a:pt x="1083719" y="98060"/>
                    <a:pt x="1080943" y="95430"/>
                  </a:cubicBezTo>
                  <a:cubicBezTo>
                    <a:pt x="1078217" y="92801"/>
                    <a:pt x="1076854" y="87786"/>
                    <a:pt x="1076854" y="80434"/>
                  </a:cubicBezTo>
                  <a:lnTo>
                    <a:pt x="1076854" y="45378"/>
                  </a:lnTo>
                  <a:cubicBezTo>
                    <a:pt x="1076854" y="38221"/>
                    <a:pt x="1078217" y="33255"/>
                    <a:pt x="1080943" y="30528"/>
                  </a:cubicBezTo>
                  <a:cubicBezTo>
                    <a:pt x="1083719" y="27801"/>
                    <a:pt x="1088636" y="26438"/>
                    <a:pt x="1095793" y="26438"/>
                  </a:cubicBezTo>
                  <a:lnTo>
                    <a:pt x="1139711" y="26438"/>
                  </a:lnTo>
                  <a:cubicBezTo>
                    <a:pt x="1146868" y="26438"/>
                    <a:pt x="1151786" y="27753"/>
                    <a:pt x="1154561" y="30431"/>
                  </a:cubicBezTo>
                  <a:cubicBezTo>
                    <a:pt x="1157336" y="33060"/>
                    <a:pt x="1158651" y="38026"/>
                    <a:pt x="1158651" y="45427"/>
                  </a:cubicBezTo>
                  <a:lnTo>
                    <a:pt x="1158651" y="80483"/>
                  </a:lnTo>
                  <a:close/>
                  <a:moveTo>
                    <a:pt x="1062101" y="0"/>
                  </a:moveTo>
                  <a:lnTo>
                    <a:pt x="1063318" y="10273"/>
                  </a:lnTo>
                  <a:cubicBezTo>
                    <a:pt x="1062588" y="10079"/>
                    <a:pt x="1060543" y="9640"/>
                    <a:pt x="1057281" y="9007"/>
                  </a:cubicBezTo>
                  <a:cubicBezTo>
                    <a:pt x="1053970" y="8375"/>
                    <a:pt x="1049490" y="8082"/>
                    <a:pt x="1043940" y="8082"/>
                  </a:cubicBezTo>
                  <a:lnTo>
                    <a:pt x="1002651" y="8082"/>
                  </a:lnTo>
                  <a:cubicBezTo>
                    <a:pt x="999974" y="8082"/>
                    <a:pt x="998172" y="8618"/>
                    <a:pt x="997296" y="9689"/>
                  </a:cubicBezTo>
                  <a:cubicBezTo>
                    <a:pt x="996419" y="10760"/>
                    <a:pt x="995981" y="12903"/>
                    <a:pt x="995981" y="16116"/>
                  </a:cubicBezTo>
                  <a:lnTo>
                    <a:pt x="995981" y="32719"/>
                  </a:lnTo>
                  <a:cubicBezTo>
                    <a:pt x="995981" y="36030"/>
                    <a:pt x="996419" y="38172"/>
                    <a:pt x="997247" y="39195"/>
                  </a:cubicBezTo>
                  <a:cubicBezTo>
                    <a:pt x="998075" y="40217"/>
                    <a:pt x="999876" y="40753"/>
                    <a:pt x="1002651" y="40753"/>
                  </a:cubicBezTo>
                  <a:lnTo>
                    <a:pt x="1043648" y="40753"/>
                  </a:lnTo>
                  <a:cubicBezTo>
                    <a:pt x="1051925" y="40753"/>
                    <a:pt x="1057621" y="42067"/>
                    <a:pt x="1060835" y="44745"/>
                  </a:cubicBezTo>
                  <a:cubicBezTo>
                    <a:pt x="1064000" y="47374"/>
                    <a:pt x="1065558" y="52487"/>
                    <a:pt x="1065558" y="60033"/>
                  </a:cubicBezTo>
                  <a:lnTo>
                    <a:pt x="1065558" y="80045"/>
                  </a:lnTo>
                  <a:cubicBezTo>
                    <a:pt x="1065558" y="87591"/>
                    <a:pt x="1064000" y="92704"/>
                    <a:pt x="1060835" y="95333"/>
                  </a:cubicBezTo>
                  <a:cubicBezTo>
                    <a:pt x="1057670" y="97962"/>
                    <a:pt x="1051973" y="99325"/>
                    <a:pt x="1043648" y="99325"/>
                  </a:cubicBezTo>
                  <a:lnTo>
                    <a:pt x="982202" y="99325"/>
                  </a:lnTo>
                  <a:lnTo>
                    <a:pt x="980936" y="90464"/>
                  </a:lnTo>
                  <a:cubicBezTo>
                    <a:pt x="981667" y="90513"/>
                    <a:pt x="983712" y="90707"/>
                    <a:pt x="987022" y="90902"/>
                  </a:cubicBezTo>
                  <a:cubicBezTo>
                    <a:pt x="990333" y="91146"/>
                    <a:pt x="994764" y="91243"/>
                    <a:pt x="1000363" y="91243"/>
                  </a:cubicBezTo>
                  <a:lnTo>
                    <a:pt x="1043063" y="91243"/>
                  </a:lnTo>
                  <a:cubicBezTo>
                    <a:pt x="1045741" y="91243"/>
                    <a:pt x="1047543" y="90707"/>
                    <a:pt x="1048419" y="89636"/>
                  </a:cubicBezTo>
                  <a:cubicBezTo>
                    <a:pt x="1049296" y="88565"/>
                    <a:pt x="1049734" y="86423"/>
                    <a:pt x="1049734" y="83209"/>
                  </a:cubicBezTo>
                  <a:lnTo>
                    <a:pt x="1049734" y="63783"/>
                  </a:lnTo>
                  <a:cubicBezTo>
                    <a:pt x="1049734" y="60472"/>
                    <a:pt x="1049296" y="58281"/>
                    <a:pt x="1048468" y="57258"/>
                  </a:cubicBezTo>
                  <a:cubicBezTo>
                    <a:pt x="1047640" y="56236"/>
                    <a:pt x="1045839" y="55700"/>
                    <a:pt x="1043015" y="55700"/>
                  </a:cubicBezTo>
                  <a:lnTo>
                    <a:pt x="1002018" y="55700"/>
                  </a:lnTo>
                  <a:cubicBezTo>
                    <a:pt x="993741" y="55700"/>
                    <a:pt x="988045" y="54386"/>
                    <a:pt x="984880" y="51756"/>
                  </a:cubicBezTo>
                  <a:cubicBezTo>
                    <a:pt x="981715" y="49127"/>
                    <a:pt x="980157" y="44015"/>
                    <a:pt x="980157" y="36468"/>
                  </a:cubicBezTo>
                  <a:lnTo>
                    <a:pt x="980157" y="19232"/>
                  </a:lnTo>
                  <a:cubicBezTo>
                    <a:pt x="980157" y="11685"/>
                    <a:pt x="981764" y="6573"/>
                    <a:pt x="984880" y="3944"/>
                  </a:cubicBezTo>
                  <a:cubicBezTo>
                    <a:pt x="988045" y="1315"/>
                    <a:pt x="993741" y="0"/>
                    <a:pt x="1002018" y="0"/>
                  </a:cubicBezTo>
                  <a:lnTo>
                    <a:pt x="1062101" y="0"/>
                  </a:lnTo>
                  <a:close/>
                  <a:moveTo>
                    <a:pt x="915206" y="108041"/>
                  </a:moveTo>
                  <a:cubicBezTo>
                    <a:pt x="915206" y="115198"/>
                    <a:pt x="913843" y="120116"/>
                    <a:pt x="911068" y="122891"/>
                  </a:cubicBezTo>
                  <a:cubicBezTo>
                    <a:pt x="908292" y="125617"/>
                    <a:pt x="903375" y="126981"/>
                    <a:pt x="896266" y="126981"/>
                  </a:cubicBezTo>
                  <a:lnTo>
                    <a:pt x="836184" y="126981"/>
                  </a:lnTo>
                  <a:lnTo>
                    <a:pt x="834918" y="118752"/>
                  </a:lnTo>
                  <a:cubicBezTo>
                    <a:pt x="838667" y="119483"/>
                    <a:pt x="843828" y="119872"/>
                    <a:pt x="850450" y="119872"/>
                  </a:cubicBezTo>
                  <a:lnTo>
                    <a:pt x="895487" y="119872"/>
                  </a:lnTo>
                  <a:cubicBezTo>
                    <a:pt x="898165" y="119872"/>
                    <a:pt x="899966" y="119337"/>
                    <a:pt x="900843" y="118217"/>
                  </a:cubicBezTo>
                  <a:cubicBezTo>
                    <a:pt x="901719" y="117146"/>
                    <a:pt x="902158" y="115003"/>
                    <a:pt x="902158" y="111741"/>
                  </a:cubicBezTo>
                  <a:lnTo>
                    <a:pt x="902158" y="96988"/>
                  </a:lnTo>
                  <a:cubicBezTo>
                    <a:pt x="900746" y="98546"/>
                    <a:pt x="898506" y="99325"/>
                    <a:pt x="895487" y="99325"/>
                  </a:cubicBezTo>
                  <a:lnTo>
                    <a:pt x="853128" y="99325"/>
                  </a:lnTo>
                  <a:cubicBezTo>
                    <a:pt x="845970" y="99325"/>
                    <a:pt x="841053" y="97962"/>
                    <a:pt x="838278" y="95333"/>
                  </a:cubicBezTo>
                  <a:cubicBezTo>
                    <a:pt x="835551" y="92704"/>
                    <a:pt x="834139" y="87689"/>
                    <a:pt x="834139" y="80337"/>
                  </a:cubicBezTo>
                  <a:lnTo>
                    <a:pt x="834139" y="41824"/>
                  </a:lnTo>
                  <a:cubicBezTo>
                    <a:pt x="834139" y="35202"/>
                    <a:pt x="833701" y="30041"/>
                    <a:pt x="832776" y="26292"/>
                  </a:cubicBezTo>
                  <a:lnTo>
                    <a:pt x="847236" y="26292"/>
                  </a:lnTo>
                  <a:lnTo>
                    <a:pt x="847236" y="84037"/>
                  </a:lnTo>
                  <a:cubicBezTo>
                    <a:pt x="847236" y="87348"/>
                    <a:pt x="847626" y="89490"/>
                    <a:pt x="848454" y="90561"/>
                  </a:cubicBezTo>
                  <a:cubicBezTo>
                    <a:pt x="849281" y="91584"/>
                    <a:pt x="851083" y="92119"/>
                    <a:pt x="853858" y="92119"/>
                  </a:cubicBezTo>
                  <a:lnTo>
                    <a:pt x="895487" y="92119"/>
                  </a:lnTo>
                  <a:cubicBezTo>
                    <a:pt x="898165" y="92119"/>
                    <a:pt x="899966" y="91584"/>
                    <a:pt x="900843" y="90464"/>
                  </a:cubicBezTo>
                  <a:cubicBezTo>
                    <a:pt x="901719" y="89393"/>
                    <a:pt x="902158" y="87251"/>
                    <a:pt x="902158" y="84037"/>
                  </a:cubicBezTo>
                  <a:lnTo>
                    <a:pt x="902158" y="41775"/>
                  </a:lnTo>
                  <a:cubicBezTo>
                    <a:pt x="902158" y="35153"/>
                    <a:pt x="901719" y="29992"/>
                    <a:pt x="900746" y="26243"/>
                  </a:cubicBezTo>
                  <a:lnTo>
                    <a:pt x="915206" y="26243"/>
                  </a:lnTo>
                  <a:lnTo>
                    <a:pt x="915206" y="107895"/>
                  </a:lnTo>
                  <a:close/>
                  <a:moveTo>
                    <a:pt x="786034" y="33547"/>
                  </a:moveTo>
                  <a:lnTo>
                    <a:pt x="786034" y="84134"/>
                  </a:lnTo>
                  <a:cubicBezTo>
                    <a:pt x="786034" y="87445"/>
                    <a:pt x="786473" y="89588"/>
                    <a:pt x="787300" y="90659"/>
                  </a:cubicBezTo>
                  <a:cubicBezTo>
                    <a:pt x="788128" y="91681"/>
                    <a:pt x="789929" y="92217"/>
                    <a:pt x="792705" y="92217"/>
                  </a:cubicBezTo>
                  <a:lnTo>
                    <a:pt x="810525" y="92217"/>
                  </a:lnTo>
                  <a:cubicBezTo>
                    <a:pt x="817147" y="92217"/>
                    <a:pt x="822356" y="91730"/>
                    <a:pt x="826057" y="90805"/>
                  </a:cubicBezTo>
                  <a:lnTo>
                    <a:pt x="824986" y="99374"/>
                  </a:lnTo>
                  <a:lnTo>
                    <a:pt x="791877" y="99374"/>
                  </a:lnTo>
                  <a:cubicBezTo>
                    <a:pt x="784768" y="99374"/>
                    <a:pt x="779802" y="98011"/>
                    <a:pt x="777076" y="95382"/>
                  </a:cubicBezTo>
                  <a:cubicBezTo>
                    <a:pt x="774300" y="92752"/>
                    <a:pt x="772937" y="87737"/>
                    <a:pt x="772937" y="80385"/>
                  </a:cubicBezTo>
                  <a:lnTo>
                    <a:pt x="772937" y="33498"/>
                  </a:lnTo>
                  <a:lnTo>
                    <a:pt x="761593" y="33498"/>
                  </a:lnTo>
                  <a:lnTo>
                    <a:pt x="761593" y="26341"/>
                  </a:lnTo>
                  <a:lnTo>
                    <a:pt x="772937" y="26341"/>
                  </a:lnTo>
                  <a:lnTo>
                    <a:pt x="772937" y="11929"/>
                  </a:lnTo>
                  <a:lnTo>
                    <a:pt x="785986" y="9446"/>
                  </a:lnTo>
                  <a:lnTo>
                    <a:pt x="785986" y="26341"/>
                  </a:lnTo>
                  <a:lnTo>
                    <a:pt x="822308" y="26341"/>
                  </a:lnTo>
                  <a:lnTo>
                    <a:pt x="822308" y="33498"/>
                  </a:lnTo>
                  <a:lnTo>
                    <a:pt x="785986" y="33498"/>
                  </a:lnTo>
                  <a:close/>
                  <a:moveTo>
                    <a:pt x="736031" y="6816"/>
                  </a:moveTo>
                  <a:lnTo>
                    <a:pt x="749080" y="6816"/>
                  </a:lnTo>
                  <a:lnTo>
                    <a:pt x="749080" y="17382"/>
                  </a:lnTo>
                  <a:lnTo>
                    <a:pt x="736031" y="17382"/>
                  </a:lnTo>
                  <a:lnTo>
                    <a:pt x="736031" y="6816"/>
                  </a:lnTo>
                  <a:close/>
                  <a:moveTo>
                    <a:pt x="749080" y="83842"/>
                  </a:moveTo>
                  <a:cubicBezTo>
                    <a:pt x="749080" y="90464"/>
                    <a:pt x="749518" y="95625"/>
                    <a:pt x="750443" y="99374"/>
                  </a:cubicBezTo>
                  <a:lnTo>
                    <a:pt x="734619" y="99374"/>
                  </a:lnTo>
                  <a:cubicBezTo>
                    <a:pt x="735544" y="95625"/>
                    <a:pt x="736031" y="90464"/>
                    <a:pt x="736031" y="83842"/>
                  </a:cubicBezTo>
                  <a:lnTo>
                    <a:pt x="736031" y="41872"/>
                  </a:lnTo>
                  <a:cubicBezTo>
                    <a:pt x="736031" y="35251"/>
                    <a:pt x="735544" y="30090"/>
                    <a:pt x="734619" y="26341"/>
                  </a:cubicBezTo>
                  <a:lnTo>
                    <a:pt x="749080" y="26341"/>
                  </a:lnTo>
                  <a:lnTo>
                    <a:pt x="749080" y="83794"/>
                  </a:lnTo>
                  <a:close/>
                  <a:moveTo>
                    <a:pt x="650777" y="26389"/>
                  </a:moveTo>
                  <a:cubicBezTo>
                    <a:pt x="651166" y="28580"/>
                    <a:pt x="651702" y="30577"/>
                    <a:pt x="652335" y="32378"/>
                  </a:cubicBezTo>
                  <a:cubicBezTo>
                    <a:pt x="652967" y="34180"/>
                    <a:pt x="653552" y="35835"/>
                    <a:pt x="654185" y="37247"/>
                  </a:cubicBezTo>
                  <a:lnTo>
                    <a:pt x="682570" y="93142"/>
                  </a:lnTo>
                  <a:lnTo>
                    <a:pt x="710907" y="40314"/>
                  </a:lnTo>
                  <a:cubicBezTo>
                    <a:pt x="713683" y="35056"/>
                    <a:pt x="715338" y="30382"/>
                    <a:pt x="715874" y="26341"/>
                  </a:cubicBezTo>
                  <a:lnTo>
                    <a:pt x="730139" y="26341"/>
                  </a:lnTo>
                  <a:lnTo>
                    <a:pt x="728435" y="28191"/>
                  </a:lnTo>
                  <a:cubicBezTo>
                    <a:pt x="726244" y="30382"/>
                    <a:pt x="724540" y="32329"/>
                    <a:pt x="723323" y="34180"/>
                  </a:cubicBezTo>
                  <a:cubicBezTo>
                    <a:pt x="722057" y="35981"/>
                    <a:pt x="720840" y="38026"/>
                    <a:pt x="719623" y="40314"/>
                  </a:cubicBezTo>
                  <a:lnTo>
                    <a:pt x="688559" y="99325"/>
                  </a:lnTo>
                  <a:lnTo>
                    <a:pt x="671810" y="99325"/>
                  </a:lnTo>
                  <a:lnTo>
                    <a:pt x="639091" y="34715"/>
                  </a:lnTo>
                  <a:cubicBezTo>
                    <a:pt x="638458" y="33498"/>
                    <a:pt x="637825" y="32281"/>
                    <a:pt x="637241" y="31161"/>
                  </a:cubicBezTo>
                  <a:cubicBezTo>
                    <a:pt x="636608" y="30041"/>
                    <a:pt x="635634" y="28386"/>
                    <a:pt x="634271" y="26341"/>
                  </a:cubicBezTo>
                  <a:lnTo>
                    <a:pt x="650874" y="26341"/>
                  </a:lnTo>
                  <a:close/>
                  <a:moveTo>
                    <a:pt x="615233" y="6816"/>
                  </a:moveTo>
                  <a:lnTo>
                    <a:pt x="628282" y="6816"/>
                  </a:lnTo>
                  <a:lnTo>
                    <a:pt x="628282" y="17382"/>
                  </a:lnTo>
                  <a:lnTo>
                    <a:pt x="615233" y="17382"/>
                  </a:lnTo>
                  <a:lnTo>
                    <a:pt x="615233" y="6816"/>
                  </a:lnTo>
                  <a:close/>
                  <a:moveTo>
                    <a:pt x="628282" y="83842"/>
                  </a:moveTo>
                  <a:cubicBezTo>
                    <a:pt x="628282" y="90464"/>
                    <a:pt x="628720" y="95625"/>
                    <a:pt x="629694" y="99374"/>
                  </a:cubicBezTo>
                  <a:lnTo>
                    <a:pt x="613870" y="99374"/>
                  </a:lnTo>
                  <a:cubicBezTo>
                    <a:pt x="614795" y="95625"/>
                    <a:pt x="615282" y="90464"/>
                    <a:pt x="615282" y="83842"/>
                  </a:cubicBezTo>
                  <a:lnTo>
                    <a:pt x="615282" y="41872"/>
                  </a:lnTo>
                  <a:cubicBezTo>
                    <a:pt x="615282" y="35251"/>
                    <a:pt x="614795" y="30090"/>
                    <a:pt x="613870" y="26341"/>
                  </a:cubicBezTo>
                  <a:lnTo>
                    <a:pt x="628331" y="26341"/>
                  </a:lnTo>
                  <a:lnTo>
                    <a:pt x="628331" y="83794"/>
                  </a:lnTo>
                  <a:close/>
                  <a:moveTo>
                    <a:pt x="564646" y="33547"/>
                  </a:moveTo>
                  <a:lnTo>
                    <a:pt x="564646" y="84134"/>
                  </a:lnTo>
                  <a:cubicBezTo>
                    <a:pt x="564646" y="87445"/>
                    <a:pt x="565084" y="89588"/>
                    <a:pt x="565863" y="90659"/>
                  </a:cubicBezTo>
                  <a:cubicBezTo>
                    <a:pt x="566691" y="91681"/>
                    <a:pt x="568492" y="92217"/>
                    <a:pt x="571316" y="92217"/>
                  </a:cubicBezTo>
                  <a:lnTo>
                    <a:pt x="589185" y="92217"/>
                  </a:lnTo>
                  <a:cubicBezTo>
                    <a:pt x="595807" y="92217"/>
                    <a:pt x="600968" y="91730"/>
                    <a:pt x="604717" y="90805"/>
                  </a:cubicBezTo>
                  <a:lnTo>
                    <a:pt x="603646" y="99374"/>
                  </a:lnTo>
                  <a:lnTo>
                    <a:pt x="570586" y="99374"/>
                  </a:lnTo>
                  <a:cubicBezTo>
                    <a:pt x="563429" y="99374"/>
                    <a:pt x="558511" y="98011"/>
                    <a:pt x="555736" y="95382"/>
                  </a:cubicBezTo>
                  <a:cubicBezTo>
                    <a:pt x="553009" y="92752"/>
                    <a:pt x="551646" y="87737"/>
                    <a:pt x="551646" y="80385"/>
                  </a:cubicBezTo>
                  <a:lnTo>
                    <a:pt x="551646" y="33498"/>
                  </a:lnTo>
                  <a:lnTo>
                    <a:pt x="540301" y="33498"/>
                  </a:lnTo>
                  <a:lnTo>
                    <a:pt x="540301" y="26341"/>
                  </a:lnTo>
                  <a:lnTo>
                    <a:pt x="551646" y="26341"/>
                  </a:lnTo>
                  <a:lnTo>
                    <a:pt x="551646" y="11929"/>
                  </a:lnTo>
                  <a:lnTo>
                    <a:pt x="564694" y="9446"/>
                  </a:lnTo>
                  <a:lnTo>
                    <a:pt x="564694" y="26341"/>
                  </a:lnTo>
                  <a:lnTo>
                    <a:pt x="601016" y="26341"/>
                  </a:lnTo>
                  <a:lnTo>
                    <a:pt x="601016" y="33498"/>
                  </a:lnTo>
                  <a:lnTo>
                    <a:pt x="564694" y="33498"/>
                  </a:lnTo>
                  <a:close/>
                  <a:moveTo>
                    <a:pt x="473500" y="84134"/>
                  </a:moveTo>
                  <a:cubicBezTo>
                    <a:pt x="473500" y="87445"/>
                    <a:pt x="473890" y="89588"/>
                    <a:pt x="474766" y="90659"/>
                  </a:cubicBezTo>
                  <a:cubicBezTo>
                    <a:pt x="475594" y="91681"/>
                    <a:pt x="477395" y="92217"/>
                    <a:pt x="480219" y="92217"/>
                  </a:cubicBezTo>
                  <a:lnTo>
                    <a:pt x="519511" y="92217"/>
                  </a:lnTo>
                  <a:cubicBezTo>
                    <a:pt x="526133" y="92217"/>
                    <a:pt x="531294" y="91730"/>
                    <a:pt x="535043" y="90805"/>
                  </a:cubicBezTo>
                  <a:lnTo>
                    <a:pt x="533972" y="99374"/>
                  </a:lnTo>
                  <a:lnTo>
                    <a:pt x="479489" y="99374"/>
                  </a:lnTo>
                  <a:cubicBezTo>
                    <a:pt x="472331" y="99374"/>
                    <a:pt x="467414" y="98011"/>
                    <a:pt x="464639" y="95382"/>
                  </a:cubicBezTo>
                  <a:cubicBezTo>
                    <a:pt x="461863" y="92752"/>
                    <a:pt x="460500" y="87737"/>
                    <a:pt x="460500" y="80385"/>
                  </a:cubicBezTo>
                  <a:lnTo>
                    <a:pt x="460500" y="45329"/>
                  </a:lnTo>
                  <a:cubicBezTo>
                    <a:pt x="460500" y="38172"/>
                    <a:pt x="461863" y="33206"/>
                    <a:pt x="464639" y="30479"/>
                  </a:cubicBezTo>
                  <a:cubicBezTo>
                    <a:pt x="467414" y="27753"/>
                    <a:pt x="472331" y="26389"/>
                    <a:pt x="479489" y="26389"/>
                  </a:cubicBezTo>
                  <a:lnTo>
                    <a:pt x="532901" y="26389"/>
                  </a:lnTo>
                  <a:lnTo>
                    <a:pt x="533534" y="34910"/>
                  </a:lnTo>
                  <a:cubicBezTo>
                    <a:pt x="529784" y="33985"/>
                    <a:pt x="524623" y="33498"/>
                    <a:pt x="518002" y="33498"/>
                  </a:cubicBezTo>
                  <a:lnTo>
                    <a:pt x="480268" y="33498"/>
                  </a:lnTo>
                  <a:cubicBezTo>
                    <a:pt x="477590" y="33498"/>
                    <a:pt x="475788" y="34034"/>
                    <a:pt x="474912" y="35105"/>
                  </a:cubicBezTo>
                  <a:cubicBezTo>
                    <a:pt x="474036" y="36176"/>
                    <a:pt x="473597" y="38318"/>
                    <a:pt x="473597" y="41532"/>
                  </a:cubicBezTo>
                  <a:lnTo>
                    <a:pt x="473597" y="84086"/>
                  </a:lnTo>
                  <a:close/>
                  <a:moveTo>
                    <a:pt x="379725" y="67385"/>
                  </a:moveTo>
                  <a:lnTo>
                    <a:pt x="379725" y="84134"/>
                  </a:lnTo>
                  <a:cubicBezTo>
                    <a:pt x="379725" y="87445"/>
                    <a:pt x="380115" y="89588"/>
                    <a:pt x="380942" y="90659"/>
                  </a:cubicBezTo>
                  <a:cubicBezTo>
                    <a:pt x="381770" y="91730"/>
                    <a:pt x="383572" y="92217"/>
                    <a:pt x="386347" y="92217"/>
                  </a:cubicBezTo>
                  <a:lnTo>
                    <a:pt x="432942" y="92217"/>
                  </a:lnTo>
                  <a:cubicBezTo>
                    <a:pt x="439564" y="92217"/>
                    <a:pt x="444774" y="91730"/>
                    <a:pt x="448474" y="90805"/>
                  </a:cubicBezTo>
                  <a:lnTo>
                    <a:pt x="446916" y="99374"/>
                  </a:lnTo>
                  <a:lnTo>
                    <a:pt x="385568" y="99374"/>
                  </a:lnTo>
                  <a:cubicBezTo>
                    <a:pt x="378411" y="99374"/>
                    <a:pt x="373493" y="98011"/>
                    <a:pt x="370718" y="95382"/>
                  </a:cubicBezTo>
                  <a:cubicBezTo>
                    <a:pt x="367991" y="92752"/>
                    <a:pt x="366579" y="87737"/>
                    <a:pt x="366579" y="80385"/>
                  </a:cubicBezTo>
                  <a:lnTo>
                    <a:pt x="366579" y="45329"/>
                  </a:lnTo>
                  <a:cubicBezTo>
                    <a:pt x="366579" y="38172"/>
                    <a:pt x="367942" y="33206"/>
                    <a:pt x="370718" y="30479"/>
                  </a:cubicBezTo>
                  <a:cubicBezTo>
                    <a:pt x="373444" y="27753"/>
                    <a:pt x="378411" y="26389"/>
                    <a:pt x="385568" y="26389"/>
                  </a:cubicBezTo>
                  <a:lnTo>
                    <a:pt x="429485" y="26389"/>
                  </a:lnTo>
                  <a:cubicBezTo>
                    <a:pt x="436642" y="26389"/>
                    <a:pt x="441560" y="27704"/>
                    <a:pt x="444335" y="30382"/>
                  </a:cubicBezTo>
                  <a:cubicBezTo>
                    <a:pt x="447062" y="33011"/>
                    <a:pt x="448425" y="37977"/>
                    <a:pt x="448425" y="45378"/>
                  </a:cubicBezTo>
                  <a:lnTo>
                    <a:pt x="448425" y="67385"/>
                  </a:lnTo>
                  <a:lnTo>
                    <a:pt x="379676" y="67385"/>
                  </a:lnTo>
                  <a:close/>
                  <a:moveTo>
                    <a:pt x="435474" y="60228"/>
                  </a:moveTo>
                  <a:lnTo>
                    <a:pt x="435474" y="41580"/>
                  </a:lnTo>
                  <a:cubicBezTo>
                    <a:pt x="435474" y="38270"/>
                    <a:pt x="435036" y="36127"/>
                    <a:pt x="434257" y="35056"/>
                  </a:cubicBezTo>
                  <a:cubicBezTo>
                    <a:pt x="433429" y="34034"/>
                    <a:pt x="431579" y="33498"/>
                    <a:pt x="428804" y="33498"/>
                  </a:cubicBezTo>
                  <a:lnTo>
                    <a:pt x="386395" y="33498"/>
                  </a:lnTo>
                  <a:cubicBezTo>
                    <a:pt x="383718" y="33498"/>
                    <a:pt x="381916" y="34034"/>
                    <a:pt x="381040" y="35105"/>
                  </a:cubicBezTo>
                  <a:cubicBezTo>
                    <a:pt x="380163" y="36176"/>
                    <a:pt x="379725" y="38318"/>
                    <a:pt x="379725" y="41532"/>
                  </a:cubicBezTo>
                  <a:lnTo>
                    <a:pt x="379725" y="60180"/>
                  </a:lnTo>
                  <a:lnTo>
                    <a:pt x="435474" y="60180"/>
                  </a:lnTo>
                  <a:close/>
                  <a:moveTo>
                    <a:pt x="273534" y="41921"/>
                  </a:moveTo>
                  <a:cubicBezTo>
                    <a:pt x="273534" y="35299"/>
                    <a:pt x="273048" y="30138"/>
                    <a:pt x="272123" y="26389"/>
                  </a:cubicBezTo>
                  <a:lnTo>
                    <a:pt x="287167" y="26389"/>
                  </a:lnTo>
                  <a:lnTo>
                    <a:pt x="287167" y="31697"/>
                  </a:lnTo>
                  <a:cubicBezTo>
                    <a:pt x="288823" y="29749"/>
                    <a:pt x="290235" y="28337"/>
                    <a:pt x="291452" y="27558"/>
                  </a:cubicBezTo>
                  <a:cubicBezTo>
                    <a:pt x="292669" y="26779"/>
                    <a:pt x="294033" y="26389"/>
                    <a:pt x="295591" y="26389"/>
                  </a:cubicBezTo>
                  <a:lnTo>
                    <a:pt x="335808" y="26389"/>
                  </a:lnTo>
                  <a:cubicBezTo>
                    <a:pt x="342965" y="26389"/>
                    <a:pt x="347883" y="27704"/>
                    <a:pt x="350658" y="30382"/>
                  </a:cubicBezTo>
                  <a:cubicBezTo>
                    <a:pt x="353384" y="33011"/>
                    <a:pt x="354796" y="37977"/>
                    <a:pt x="354796" y="45378"/>
                  </a:cubicBezTo>
                  <a:lnTo>
                    <a:pt x="354796" y="83891"/>
                  </a:lnTo>
                  <a:cubicBezTo>
                    <a:pt x="354796" y="90513"/>
                    <a:pt x="355235" y="95674"/>
                    <a:pt x="356208" y="99423"/>
                  </a:cubicBezTo>
                  <a:lnTo>
                    <a:pt x="340384" y="99423"/>
                  </a:lnTo>
                  <a:cubicBezTo>
                    <a:pt x="341310" y="95674"/>
                    <a:pt x="341796" y="90513"/>
                    <a:pt x="341796" y="83891"/>
                  </a:cubicBezTo>
                  <a:lnTo>
                    <a:pt x="341796" y="41629"/>
                  </a:lnTo>
                  <a:cubicBezTo>
                    <a:pt x="341796" y="38318"/>
                    <a:pt x="341407" y="36176"/>
                    <a:pt x="340579" y="35105"/>
                  </a:cubicBezTo>
                  <a:cubicBezTo>
                    <a:pt x="339751" y="34082"/>
                    <a:pt x="337901" y="33547"/>
                    <a:pt x="335126" y="33547"/>
                  </a:cubicBezTo>
                  <a:lnTo>
                    <a:pt x="293351" y="33547"/>
                  </a:lnTo>
                  <a:cubicBezTo>
                    <a:pt x="290673" y="33547"/>
                    <a:pt x="288872" y="34082"/>
                    <a:pt x="287995" y="35153"/>
                  </a:cubicBezTo>
                  <a:cubicBezTo>
                    <a:pt x="287119" y="36225"/>
                    <a:pt x="286681" y="38367"/>
                    <a:pt x="286681" y="41580"/>
                  </a:cubicBezTo>
                  <a:lnTo>
                    <a:pt x="286681" y="83842"/>
                  </a:lnTo>
                  <a:cubicBezTo>
                    <a:pt x="286681" y="90464"/>
                    <a:pt x="287167" y="95625"/>
                    <a:pt x="288093" y="99374"/>
                  </a:cubicBezTo>
                  <a:lnTo>
                    <a:pt x="272269" y="99374"/>
                  </a:lnTo>
                  <a:cubicBezTo>
                    <a:pt x="273194" y="95625"/>
                    <a:pt x="273681" y="90464"/>
                    <a:pt x="273681" y="83842"/>
                  </a:cubicBezTo>
                  <a:lnTo>
                    <a:pt x="273681" y="41872"/>
                  </a:lnTo>
                  <a:close/>
                  <a:moveTo>
                    <a:pt x="178688" y="41921"/>
                  </a:moveTo>
                  <a:cubicBezTo>
                    <a:pt x="178688" y="35299"/>
                    <a:pt x="178202" y="30138"/>
                    <a:pt x="177276" y="26389"/>
                  </a:cubicBezTo>
                  <a:lnTo>
                    <a:pt x="192321" y="26389"/>
                  </a:lnTo>
                  <a:lnTo>
                    <a:pt x="192321" y="31697"/>
                  </a:lnTo>
                  <a:cubicBezTo>
                    <a:pt x="193977" y="29749"/>
                    <a:pt x="195389" y="28337"/>
                    <a:pt x="196606" y="27558"/>
                  </a:cubicBezTo>
                  <a:cubicBezTo>
                    <a:pt x="197823" y="26779"/>
                    <a:pt x="199187" y="26389"/>
                    <a:pt x="200696" y="26389"/>
                  </a:cubicBezTo>
                  <a:lnTo>
                    <a:pt x="240913" y="26389"/>
                  </a:lnTo>
                  <a:cubicBezTo>
                    <a:pt x="248070" y="26389"/>
                    <a:pt x="252988" y="27704"/>
                    <a:pt x="255714" y="30382"/>
                  </a:cubicBezTo>
                  <a:cubicBezTo>
                    <a:pt x="258441" y="33011"/>
                    <a:pt x="259853" y="37977"/>
                    <a:pt x="259853" y="45378"/>
                  </a:cubicBezTo>
                  <a:lnTo>
                    <a:pt x="259853" y="83891"/>
                  </a:lnTo>
                  <a:cubicBezTo>
                    <a:pt x="259853" y="90513"/>
                    <a:pt x="260340" y="95674"/>
                    <a:pt x="261265" y="99423"/>
                  </a:cubicBezTo>
                  <a:lnTo>
                    <a:pt x="245441" y="99423"/>
                  </a:lnTo>
                  <a:cubicBezTo>
                    <a:pt x="246366" y="95674"/>
                    <a:pt x="246853" y="90513"/>
                    <a:pt x="246853" y="83891"/>
                  </a:cubicBezTo>
                  <a:lnTo>
                    <a:pt x="246853" y="41629"/>
                  </a:lnTo>
                  <a:cubicBezTo>
                    <a:pt x="246853" y="38318"/>
                    <a:pt x="246415" y="36176"/>
                    <a:pt x="245587" y="35105"/>
                  </a:cubicBezTo>
                  <a:cubicBezTo>
                    <a:pt x="244759" y="34082"/>
                    <a:pt x="242958" y="33547"/>
                    <a:pt x="240183" y="33547"/>
                  </a:cubicBezTo>
                  <a:lnTo>
                    <a:pt x="198407" y="33547"/>
                  </a:lnTo>
                  <a:cubicBezTo>
                    <a:pt x="195730" y="33547"/>
                    <a:pt x="193928" y="34082"/>
                    <a:pt x="193052" y="35153"/>
                  </a:cubicBezTo>
                  <a:cubicBezTo>
                    <a:pt x="192127" y="36225"/>
                    <a:pt x="191737" y="38367"/>
                    <a:pt x="191737" y="41580"/>
                  </a:cubicBezTo>
                  <a:lnTo>
                    <a:pt x="191737" y="83842"/>
                  </a:lnTo>
                  <a:cubicBezTo>
                    <a:pt x="191737" y="90464"/>
                    <a:pt x="192175" y="95625"/>
                    <a:pt x="193149" y="99374"/>
                  </a:cubicBezTo>
                  <a:lnTo>
                    <a:pt x="177325" y="99374"/>
                  </a:lnTo>
                  <a:cubicBezTo>
                    <a:pt x="178250" y="95625"/>
                    <a:pt x="178737" y="90464"/>
                    <a:pt x="178737" y="83842"/>
                  </a:cubicBezTo>
                  <a:lnTo>
                    <a:pt x="178737" y="41872"/>
                  </a:lnTo>
                  <a:close/>
                  <a:moveTo>
                    <a:pt x="104633" y="33547"/>
                  </a:moveTo>
                  <a:cubicBezTo>
                    <a:pt x="101955" y="33547"/>
                    <a:pt x="100153" y="34082"/>
                    <a:pt x="99277" y="35153"/>
                  </a:cubicBezTo>
                  <a:cubicBezTo>
                    <a:pt x="98400" y="36225"/>
                    <a:pt x="97962" y="38367"/>
                    <a:pt x="97962" y="41580"/>
                  </a:cubicBezTo>
                  <a:lnTo>
                    <a:pt x="97962" y="84134"/>
                  </a:lnTo>
                  <a:cubicBezTo>
                    <a:pt x="97962" y="87445"/>
                    <a:pt x="98400" y="89588"/>
                    <a:pt x="99228" y="90659"/>
                  </a:cubicBezTo>
                  <a:cubicBezTo>
                    <a:pt x="100056" y="91681"/>
                    <a:pt x="101857" y="92217"/>
                    <a:pt x="104633" y="92217"/>
                  </a:cubicBezTo>
                  <a:lnTo>
                    <a:pt x="147041" y="92217"/>
                  </a:lnTo>
                  <a:cubicBezTo>
                    <a:pt x="149719" y="92217"/>
                    <a:pt x="151520" y="91681"/>
                    <a:pt x="152396" y="90561"/>
                  </a:cubicBezTo>
                  <a:cubicBezTo>
                    <a:pt x="153273" y="89490"/>
                    <a:pt x="153711" y="87348"/>
                    <a:pt x="153711" y="84134"/>
                  </a:cubicBezTo>
                  <a:lnTo>
                    <a:pt x="153711" y="41580"/>
                  </a:lnTo>
                  <a:cubicBezTo>
                    <a:pt x="153711" y="38270"/>
                    <a:pt x="153322" y="36127"/>
                    <a:pt x="152494" y="35056"/>
                  </a:cubicBezTo>
                  <a:cubicBezTo>
                    <a:pt x="151666" y="34034"/>
                    <a:pt x="149865" y="33498"/>
                    <a:pt x="147041" y="33498"/>
                  </a:cubicBezTo>
                  <a:lnTo>
                    <a:pt x="104633" y="33498"/>
                  </a:lnTo>
                  <a:close/>
                  <a:moveTo>
                    <a:pt x="166760" y="80434"/>
                  </a:moveTo>
                  <a:cubicBezTo>
                    <a:pt x="166760" y="87591"/>
                    <a:pt x="165396" y="92509"/>
                    <a:pt x="162621" y="95284"/>
                  </a:cubicBezTo>
                  <a:cubicBezTo>
                    <a:pt x="159894" y="98011"/>
                    <a:pt x="154928" y="99423"/>
                    <a:pt x="147820" y="99423"/>
                  </a:cubicBezTo>
                  <a:lnTo>
                    <a:pt x="103854" y="99423"/>
                  </a:lnTo>
                  <a:cubicBezTo>
                    <a:pt x="96696" y="99423"/>
                    <a:pt x="91779" y="98060"/>
                    <a:pt x="89052" y="95430"/>
                  </a:cubicBezTo>
                  <a:cubicBezTo>
                    <a:pt x="86325" y="92801"/>
                    <a:pt x="84914" y="87786"/>
                    <a:pt x="84914" y="80434"/>
                  </a:cubicBezTo>
                  <a:lnTo>
                    <a:pt x="84914" y="45378"/>
                  </a:lnTo>
                  <a:cubicBezTo>
                    <a:pt x="84914" y="38221"/>
                    <a:pt x="86325" y="33255"/>
                    <a:pt x="89052" y="30528"/>
                  </a:cubicBezTo>
                  <a:cubicBezTo>
                    <a:pt x="91779" y="27801"/>
                    <a:pt x="96745" y="26438"/>
                    <a:pt x="103854" y="26438"/>
                  </a:cubicBezTo>
                  <a:lnTo>
                    <a:pt x="147820" y="26438"/>
                  </a:lnTo>
                  <a:cubicBezTo>
                    <a:pt x="154977" y="26438"/>
                    <a:pt x="159894" y="27753"/>
                    <a:pt x="162621" y="30431"/>
                  </a:cubicBezTo>
                  <a:cubicBezTo>
                    <a:pt x="165348" y="33060"/>
                    <a:pt x="166760" y="38026"/>
                    <a:pt x="166760" y="45427"/>
                  </a:cubicBezTo>
                  <a:lnTo>
                    <a:pt x="166760" y="80483"/>
                  </a:lnTo>
                  <a:close/>
                  <a:moveTo>
                    <a:pt x="75322" y="0"/>
                  </a:moveTo>
                  <a:lnTo>
                    <a:pt x="76247" y="10273"/>
                  </a:lnTo>
                  <a:cubicBezTo>
                    <a:pt x="73959" y="9300"/>
                    <a:pt x="70988" y="8667"/>
                    <a:pt x="67239" y="8472"/>
                  </a:cubicBezTo>
                  <a:cubicBezTo>
                    <a:pt x="63539" y="8228"/>
                    <a:pt x="58427" y="8131"/>
                    <a:pt x="52048" y="8131"/>
                  </a:cubicBezTo>
                  <a:lnTo>
                    <a:pt x="22543" y="8131"/>
                  </a:lnTo>
                  <a:cubicBezTo>
                    <a:pt x="19865" y="8131"/>
                    <a:pt x="18064" y="8667"/>
                    <a:pt x="17187" y="9738"/>
                  </a:cubicBezTo>
                  <a:cubicBezTo>
                    <a:pt x="16311" y="10809"/>
                    <a:pt x="15873" y="12951"/>
                    <a:pt x="15873" y="16165"/>
                  </a:cubicBezTo>
                  <a:lnTo>
                    <a:pt x="15873" y="83258"/>
                  </a:lnTo>
                  <a:cubicBezTo>
                    <a:pt x="15873" y="86569"/>
                    <a:pt x="16262" y="88711"/>
                    <a:pt x="17090" y="89782"/>
                  </a:cubicBezTo>
                  <a:cubicBezTo>
                    <a:pt x="17917" y="90805"/>
                    <a:pt x="19719" y="91292"/>
                    <a:pt x="22543" y="91292"/>
                  </a:cubicBezTo>
                  <a:lnTo>
                    <a:pt x="56382" y="91292"/>
                  </a:lnTo>
                  <a:cubicBezTo>
                    <a:pt x="65827" y="91292"/>
                    <a:pt x="72887" y="90659"/>
                    <a:pt x="77659" y="89442"/>
                  </a:cubicBezTo>
                  <a:lnTo>
                    <a:pt x="76685" y="99374"/>
                  </a:lnTo>
                  <a:lnTo>
                    <a:pt x="21910" y="99374"/>
                  </a:lnTo>
                  <a:cubicBezTo>
                    <a:pt x="13633" y="99374"/>
                    <a:pt x="7888" y="98011"/>
                    <a:pt x="4723" y="95382"/>
                  </a:cubicBezTo>
                  <a:cubicBezTo>
                    <a:pt x="1558" y="92752"/>
                    <a:pt x="0" y="87640"/>
                    <a:pt x="0" y="80093"/>
                  </a:cubicBezTo>
                  <a:lnTo>
                    <a:pt x="0" y="19232"/>
                  </a:lnTo>
                  <a:cubicBezTo>
                    <a:pt x="0" y="11685"/>
                    <a:pt x="1558" y="6573"/>
                    <a:pt x="4723" y="3944"/>
                  </a:cubicBezTo>
                  <a:cubicBezTo>
                    <a:pt x="7888" y="1315"/>
                    <a:pt x="13584" y="0"/>
                    <a:pt x="21910" y="0"/>
                  </a:cubicBezTo>
                  <a:lnTo>
                    <a:pt x="75322" y="0"/>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906" name="Group 905">
              <a:extLst>
                <a:ext uri="{FF2B5EF4-FFF2-40B4-BE49-F238E27FC236}">
                  <a16:creationId xmlns:a16="http://schemas.microsoft.com/office/drawing/2014/main" id="{3393F7ED-3928-47BA-B2EF-AA215B1CE082}"/>
                </a:ext>
              </a:extLst>
            </p:cNvPr>
            <p:cNvGrpSpPr/>
            <p:nvPr userDrawn="1"/>
          </p:nvGrpSpPr>
          <p:grpSpPr>
            <a:xfrm>
              <a:off x="8420386" y="5121329"/>
              <a:ext cx="2725509" cy="388440"/>
              <a:chOff x="8420386" y="5121329"/>
              <a:chExt cx="2725509" cy="388440"/>
            </a:xfrm>
          </p:grpSpPr>
          <p:sp>
            <p:nvSpPr>
              <p:cNvPr id="907" name="Freeform: Shape 906">
                <a:extLst>
                  <a:ext uri="{FF2B5EF4-FFF2-40B4-BE49-F238E27FC236}">
                    <a16:creationId xmlns:a16="http://schemas.microsoft.com/office/drawing/2014/main" id="{7FA28F7A-276B-40B8-BEA5-BE9DB3531443}"/>
                  </a:ext>
                </a:extLst>
              </p:cNvPr>
              <p:cNvSpPr/>
              <p:nvPr/>
            </p:nvSpPr>
            <p:spPr>
              <a:xfrm>
                <a:off x="8420386" y="5121377"/>
                <a:ext cx="446338" cy="388391"/>
              </a:xfrm>
              <a:custGeom>
                <a:avLst/>
                <a:gdLst>
                  <a:gd name="connsiteX0" fmla="*/ 65633 w 446338"/>
                  <a:gd name="connsiteY0" fmla="*/ 316819 h 388391"/>
                  <a:gd name="connsiteX1" fmla="*/ 446186 w 446338"/>
                  <a:gd name="connsiteY1" fmla="*/ 78243 h 388391"/>
                  <a:gd name="connsiteX2" fmla="*/ 334396 w 446338"/>
                  <a:gd name="connsiteY2" fmla="*/ 0 h 388391"/>
                  <a:gd name="connsiteX3" fmla="*/ 0 w 446338"/>
                  <a:gd name="connsiteY3" fmla="*/ 0 h 388391"/>
                  <a:gd name="connsiteX4" fmla="*/ 0 w 446338"/>
                  <a:gd name="connsiteY4" fmla="*/ 388392 h 388391"/>
                  <a:gd name="connsiteX5" fmla="*/ 99618 w 446338"/>
                  <a:gd name="connsiteY5" fmla="*/ 388392 h 388391"/>
                  <a:gd name="connsiteX6" fmla="*/ 65633 w 446338"/>
                  <a:gd name="connsiteY6" fmla="*/ 316819 h 38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338" h="388391">
                    <a:moveTo>
                      <a:pt x="65633" y="316819"/>
                    </a:moveTo>
                    <a:cubicBezTo>
                      <a:pt x="75030" y="193441"/>
                      <a:pt x="455047" y="181658"/>
                      <a:pt x="446186" y="78243"/>
                    </a:cubicBezTo>
                    <a:cubicBezTo>
                      <a:pt x="442680" y="37052"/>
                      <a:pt x="386736" y="13292"/>
                      <a:pt x="334396" y="0"/>
                    </a:cubicBezTo>
                    <a:lnTo>
                      <a:pt x="0" y="0"/>
                    </a:lnTo>
                    <a:lnTo>
                      <a:pt x="0" y="388392"/>
                    </a:lnTo>
                    <a:lnTo>
                      <a:pt x="99618" y="388392"/>
                    </a:lnTo>
                    <a:cubicBezTo>
                      <a:pt x="81505" y="373980"/>
                      <a:pt x="62955" y="350706"/>
                      <a:pt x="65633" y="316819"/>
                    </a:cubicBezTo>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08" name="Freeform: Shape 907">
                <a:extLst>
                  <a:ext uri="{FF2B5EF4-FFF2-40B4-BE49-F238E27FC236}">
                    <a16:creationId xmlns:a16="http://schemas.microsoft.com/office/drawing/2014/main" id="{2E91B9A4-91A4-4A07-8FEC-0D40857FB32B}"/>
                  </a:ext>
                </a:extLst>
              </p:cNvPr>
              <p:cNvSpPr/>
              <p:nvPr/>
            </p:nvSpPr>
            <p:spPr>
              <a:xfrm>
                <a:off x="8718015" y="5121329"/>
                <a:ext cx="285031" cy="388440"/>
              </a:xfrm>
              <a:custGeom>
                <a:avLst/>
                <a:gdLst>
                  <a:gd name="connsiteX0" fmla="*/ 114474 w 285031"/>
                  <a:gd name="connsiteY0" fmla="*/ 0 h 388440"/>
                  <a:gd name="connsiteX1" fmla="*/ 219544 w 285031"/>
                  <a:gd name="connsiteY1" fmla="*/ 81164 h 388440"/>
                  <a:gd name="connsiteX2" fmla="*/ 6 w 285031"/>
                  <a:gd name="connsiteY2" fmla="*/ 303673 h 388440"/>
                  <a:gd name="connsiteX3" fmla="*/ 46358 w 285031"/>
                  <a:gd name="connsiteY3" fmla="*/ 388440 h 388440"/>
                  <a:gd name="connsiteX4" fmla="*/ 285031 w 285031"/>
                  <a:gd name="connsiteY4" fmla="*/ 388440 h 388440"/>
                  <a:gd name="connsiteX5" fmla="*/ 285031 w 285031"/>
                  <a:gd name="connsiteY5" fmla="*/ 0 h 388440"/>
                  <a:gd name="connsiteX6" fmla="*/ 114474 w 285031"/>
                  <a:gd name="connsiteY6" fmla="*/ 0 h 38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1" h="388440">
                    <a:moveTo>
                      <a:pt x="114474" y="0"/>
                    </a:moveTo>
                    <a:cubicBezTo>
                      <a:pt x="169784" y="17625"/>
                      <a:pt x="221930" y="44210"/>
                      <a:pt x="219544" y="81164"/>
                    </a:cubicBezTo>
                    <a:cubicBezTo>
                      <a:pt x="214140" y="162426"/>
                      <a:pt x="-1309" y="210774"/>
                      <a:pt x="6" y="303673"/>
                    </a:cubicBezTo>
                    <a:cubicBezTo>
                      <a:pt x="444" y="336197"/>
                      <a:pt x="26882" y="368770"/>
                      <a:pt x="46358" y="388440"/>
                    </a:cubicBezTo>
                    <a:lnTo>
                      <a:pt x="285031" y="388440"/>
                    </a:lnTo>
                    <a:lnTo>
                      <a:pt x="285031" y="0"/>
                    </a:lnTo>
                    <a:lnTo>
                      <a:pt x="114474" y="0"/>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09" name="Freeform: Shape 908">
                <a:extLst>
                  <a:ext uri="{FF2B5EF4-FFF2-40B4-BE49-F238E27FC236}">
                    <a16:creationId xmlns:a16="http://schemas.microsoft.com/office/drawing/2014/main" id="{8A9AA976-EF59-410F-AF15-52DBE3260AFE}"/>
                  </a:ext>
                </a:extLst>
              </p:cNvPr>
              <p:cNvSpPr/>
              <p:nvPr/>
            </p:nvSpPr>
            <p:spPr>
              <a:xfrm>
                <a:off x="11059229" y="5125954"/>
                <a:ext cx="86666" cy="85303"/>
              </a:xfrm>
              <a:custGeom>
                <a:avLst/>
                <a:gdLst>
                  <a:gd name="connsiteX0" fmla="*/ 34667 w 86666"/>
                  <a:gd name="connsiteY0" fmla="*/ 39097 h 85303"/>
                  <a:gd name="connsiteX1" fmla="*/ 34667 w 86666"/>
                  <a:gd name="connsiteY1" fmla="*/ 25221 h 85303"/>
                  <a:gd name="connsiteX2" fmla="*/ 44404 w 86666"/>
                  <a:gd name="connsiteY2" fmla="*/ 25221 h 85303"/>
                  <a:gd name="connsiteX3" fmla="*/ 55116 w 86666"/>
                  <a:gd name="connsiteY3" fmla="*/ 32183 h 85303"/>
                  <a:gd name="connsiteX4" fmla="*/ 44404 w 86666"/>
                  <a:gd name="connsiteY4" fmla="*/ 39146 h 85303"/>
                  <a:gd name="connsiteX5" fmla="*/ 34667 w 86666"/>
                  <a:gd name="connsiteY5" fmla="*/ 39146 h 85303"/>
                  <a:gd name="connsiteX6" fmla="*/ 34667 w 86666"/>
                  <a:gd name="connsiteY6" fmla="*/ 46011 h 85303"/>
                  <a:gd name="connsiteX7" fmla="*/ 42554 w 86666"/>
                  <a:gd name="connsiteY7" fmla="*/ 46011 h 85303"/>
                  <a:gd name="connsiteX8" fmla="*/ 55213 w 86666"/>
                  <a:gd name="connsiteY8" fmla="*/ 67093 h 85303"/>
                  <a:gd name="connsiteX9" fmla="*/ 63880 w 86666"/>
                  <a:gd name="connsiteY9" fmla="*/ 67093 h 85303"/>
                  <a:gd name="connsiteX10" fmla="*/ 50150 w 86666"/>
                  <a:gd name="connsiteY10" fmla="*/ 45622 h 85303"/>
                  <a:gd name="connsiteX11" fmla="*/ 63052 w 86666"/>
                  <a:gd name="connsiteY11" fmla="*/ 32281 h 85303"/>
                  <a:gd name="connsiteX12" fmla="*/ 45183 w 86666"/>
                  <a:gd name="connsiteY12" fmla="*/ 18258 h 85303"/>
                  <a:gd name="connsiteX13" fmla="*/ 26682 w 86666"/>
                  <a:gd name="connsiteY13" fmla="*/ 18258 h 85303"/>
                  <a:gd name="connsiteX14" fmla="*/ 26682 w 86666"/>
                  <a:gd name="connsiteY14" fmla="*/ 67093 h 85303"/>
                  <a:gd name="connsiteX15" fmla="*/ 34667 w 86666"/>
                  <a:gd name="connsiteY15" fmla="*/ 67093 h 85303"/>
                  <a:gd name="connsiteX16" fmla="*/ 34667 w 86666"/>
                  <a:gd name="connsiteY16" fmla="*/ 46011 h 85303"/>
                  <a:gd name="connsiteX17" fmla="*/ 43333 w 86666"/>
                  <a:gd name="connsiteY17" fmla="*/ 77902 h 85303"/>
                  <a:gd name="connsiteX18" fmla="*/ 9592 w 86666"/>
                  <a:gd name="connsiteY18" fmla="*/ 42700 h 85303"/>
                  <a:gd name="connsiteX19" fmla="*/ 43333 w 86666"/>
                  <a:gd name="connsiteY19" fmla="*/ 7449 h 85303"/>
                  <a:gd name="connsiteX20" fmla="*/ 77075 w 86666"/>
                  <a:gd name="connsiteY20" fmla="*/ 42700 h 85303"/>
                  <a:gd name="connsiteX21" fmla="*/ 43333 w 86666"/>
                  <a:gd name="connsiteY21" fmla="*/ 77902 h 85303"/>
                  <a:gd name="connsiteX22" fmla="*/ 43333 w 86666"/>
                  <a:gd name="connsiteY22" fmla="*/ 0 h 85303"/>
                  <a:gd name="connsiteX23" fmla="*/ 0 w 86666"/>
                  <a:gd name="connsiteY23" fmla="*/ 42652 h 85303"/>
                  <a:gd name="connsiteX24" fmla="*/ 43333 w 86666"/>
                  <a:gd name="connsiteY24" fmla="*/ 85303 h 85303"/>
                  <a:gd name="connsiteX25" fmla="*/ 86667 w 86666"/>
                  <a:gd name="connsiteY25" fmla="*/ 42652 h 85303"/>
                  <a:gd name="connsiteX26" fmla="*/ 43333 w 86666"/>
                  <a:gd name="connsiteY26" fmla="*/ 0 h 8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666" h="85303">
                    <a:moveTo>
                      <a:pt x="34667" y="39097"/>
                    </a:moveTo>
                    <a:lnTo>
                      <a:pt x="34667" y="25221"/>
                    </a:lnTo>
                    <a:lnTo>
                      <a:pt x="44404" y="25221"/>
                    </a:lnTo>
                    <a:cubicBezTo>
                      <a:pt x="49371" y="25221"/>
                      <a:pt x="55116" y="26146"/>
                      <a:pt x="55116" y="32183"/>
                    </a:cubicBezTo>
                    <a:cubicBezTo>
                      <a:pt x="55116" y="38221"/>
                      <a:pt x="49371" y="39146"/>
                      <a:pt x="44404" y="39146"/>
                    </a:cubicBezTo>
                    <a:lnTo>
                      <a:pt x="34667" y="39146"/>
                    </a:lnTo>
                    <a:close/>
                    <a:moveTo>
                      <a:pt x="34667" y="46011"/>
                    </a:moveTo>
                    <a:lnTo>
                      <a:pt x="42554" y="46011"/>
                    </a:lnTo>
                    <a:lnTo>
                      <a:pt x="55213" y="67093"/>
                    </a:lnTo>
                    <a:lnTo>
                      <a:pt x="63880" y="67093"/>
                    </a:lnTo>
                    <a:lnTo>
                      <a:pt x="50150" y="45622"/>
                    </a:lnTo>
                    <a:cubicBezTo>
                      <a:pt x="57599" y="44843"/>
                      <a:pt x="63052" y="41240"/>
                      <a:pt x="63052" y="32281"/>
                    </a:cubicBezTo>
                    <a:cubicBezTo>
                      <a:pt x="63052" y="22397"/>
                      <a:pt x="57064" y="18258"/>
                      <a:pt x="45183" y="18258"/>
                    </a:cubicBezTo>
                    <a:lnTo>
                      <a:pt x="26682" y="18258"/>
                    </a:lnTo>
                    <a:lnTo>
                      <a:pt x="26682" y="67093"/>
                    </a:lnTo>
                    <a:lnTo>
                      <a:pt x="34667" y="67093"/>
                    </a:lnTo>
                    <a:lnTo>
                      <a:pt x="34667" y="46011"/>
                    </a:lnTo>
                    <a:close/>
                    <a:moveTo>
                      <a:pt x="43333" y="77902"/>
                    </a:moveTo>
                    <a:cubicBezTo>
                      <a:pt x="24393" y="77902"/>
                      <a:pt x="9592" y="62809"/>
                      <a:pt x="9592" y="42700"/>
                    </a:cubicBezTo>
                    <a:cubicBezTo>
                      <a:pt x="9592" y="22592"/>
                      <a:pt x="24393" y="7449"/>
                      <a:pt x="43333" y="7449"/>
                    </a:cubicBezTo>
                    <a:cubicBezTo>
                      <a:pt x="62273" y="7449"/>
                      <a:pt x="77075" y="22543"/>
                      <a:pt x="77075" y="42700"/>
                    </a:cubicBezTo>
                    <a:cubicBezTo>
                      <a:pt x="77075" y="62857"/>
                      <a:pt x="62273" y="77902"/>
                      <a:pt x="43333" y="77902"/>
                    </a:cubicBezTo>
                    <a:moveTo>
                      <a:pt x="43333" y="0"/>
                    </a:moveTo>
                    <a:cubicBezTo>
                      <a:pt x="20109" y="0"/>
                      <a:pt x="0" y="17577"/>
                      <a:pt x="0" y="42652"/>
                    </a:cubicBezTo>
                    <a:cubicBezTo>
                      <a:pt x="0" y="67726"/>
                      <a:pt x="20157" y="85303"/>
                      <a:pt x="43333" y="85303"/>
                    </a:cubicBezTo>
                    <a:cubicBezTo>
                      <a:pt x="66509" y="85303"/>
                      <a:pt x="86667" y="67726"/>
                      <a:pt x="86667" y="42652"/>
                    </a:cubicBezTo>
                    <a:cubicBezTo>
                      <a:pt x="86667" y="17577"/>
                      <a:pt x="66558" y="0"/>
                      <a:pt x="43333" y="0"/>
                    </a:cubicBezTo>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910" name="Group 909">
            <a:extLst>
              <a:ext uri="{FF2B5EF4-FFF2-40B4-BE49-F238E27FC236}">
                <a16:creationId xmlns:a16="http://schemas.microsoft.com/office/drawing/2014/main" id="{4562DAED-ACE2-40E6-B611-0B324D5EB08B}"/>
              </a:ext>
            </a:extLst>
          </p:cNvPr>
          <p:cNvGrpSpPr/>
          <p:nvPr userDrawn="1"/>
        </p:nvGrpSpPr>
        <p:grpSpPr>
          <a:xfrm>
            <a:off x="6385424" y="3530348"/>
            <a:ext cx="617796" cy="333956"/>
            <a:chOff x="8195252" y="4510939"/>
            <a:chExt cx="2972942" cy="1607057"/>
          </a:xfrm>
        </p:grpSpPr>
        <p:grpSp>
          <p:nvGrpSpPr>
            <p:cNvPr id="911" name="Graphic 566">
              <a:extLst>
                <a:ext uri="{FF2B5EF4-FFF2-40B4-BE49-F238E27FC236}">
                  <a16:creationId xmlns:a16="http://schemas.microsoft.com/office/drawing/2014/main" id="{95087DE3-E276-40B6-A169-9CFDD58B9784}"/>
                </a:ext>
              </a:extLst>
            </p:cNvPr>
            <p:cNvGrpSpPr/>
            <p:nvPr/>
          </p:nvGrpSpPr>
          <p:grpSpPr>
            <a:xfrm>
              <a:off x="8627877" y="4901273"/>
              <a:ext cx="1203769" cy="820292"/>
              <a:chOff x="8627877" y="4901273"/>
              <a:chExt cx="1203769" cy="820292"/>
            </a:xfrm>
            <a:solidFill>
              <a:srgbClr val="A1ABB2"/>
            </a:solidFill>
          </p:grpSpPr>
          <p:sp>
            <p:nvSpPr>
              <p:cNvPr id="938" name="Freeform: Shape 937">
                <a:extLst>
                  <a:ext uri="{FF2B5EF4-FFF2-40B4-BE49-F238E27FC236}">
                    <a16:creationId xmlns:a16="http://schemas.microsoft.com/office/drawing/2014/main" id="{C0809D89-C48D-432A-90A5-32FB971277D2}"/>
                  </a:ext>
                </a:extLst>
              </p:cNvPr>
              <p:cNvSpPr/>
              <p:nvPr/>
            </p:nvSpPr>
            <p:spPr>
              <a:xfrm>
                <a:off x="8631960" y="4905532"/>
                <a:ext cx="1195399" cy="811673"/>
              </a:xfrm>
              <a:custGeom>
                <a:avLst/>
                <a:gdLst>
                  <a:gd name="connsiteX0" fmla="*/ 1041000 w 1195399"/>
                  <a:gd name="connsiteY0" fmla="*/ 465800 h 811673"/>
                  <a:gd name="connsiteX1" fmla="*/ 1133488 w 1195399"/>
                  <a:gd name="connsiteY1" fmla="*/ 181384 h 811673"/>
                  <a:gd name="connsiteX2" fmla="*/ 506267 w 1195399"/>
                  <a:gd name="connsiteY2" fmla="*/ 195290 h 811673"/>
                  <a:gd name="connsiteX3" fmla="*/ 125076 w 1195399"/>
                  <a:gd name="connsiteY3" fmla="*/ 693543 h 811673"/>
                  <a:gd name="connsiteX4" fmla="*/ 613233 w 1195399"/>
                  <a:gd name="connsiteY4" fmla="*/ 739263 h 811673"/>
                  <a:gd name="connsiteX5" fmla="*/ 612471 w 1195399"/>
                  <a:gd name="connsiteY5" fmla="*/ 741168 h 811673"/>
                  <a:gd name="connsiteX6" fmla="*/ 17158 w 1195399"/>
                  <a:gd name="connsiteY6" fmla="*/ 700686 h 811673"/>
                  <a:gd name="connsiteX7" fmla="*/ 456070 w 1195399"/>
                  <a:gd name="connsiteY7" fmla="*/ 126996 h 811673"/>
                  <a:gd name="connsiteX8" fmla="*/ 1178256 w 1195399"/>
                  <a:gd name="connsiteY8" fmla="*/ 110994 h 811673"/>
                  <a:gd name="connsiteX9" fmla="*/ 1045572 w 1195399"/>
                  <a:gd name="connsiteY9" fmla="*/ 466371 h 811673"/>
                  <a:gd name="connsiteX10" fmla="*/ 1040905 w 1195399"/>
                  <a:gd name="connsiteY10" fmla="*/ 465895 h 81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5399" h="811673">
                    <a:moveTo>
                      <a:pt x="1041000" y="465800"/>
                    </a:moveTo>
                    <a:cubicBezTo>
                      <a:pt x="1133298" y="363121"/>
                      <a:pt x="1172255" y="257679"/>
                      <a:pt x="1133488" y="181384"/>
                    </a:cubicBezTo>
                    <a:cubicBezTo>
                      <a:pt x="1065575" y="47652"/>
                      <a:pt x="784778" y="53844"/>
                      <a:pt x="506267" y="195290"/>
                    </a:cubicBezTo>
                    <a:cubicBezTo>
                      <a:pt x="227851" y="336736"/>
                      <a:pt x="57163" y="559812"/>
                      <a:pt x="125076" y="693543"/>
                    </a:cubicBezTo>
                    <a:cubicBezTo>
                      <a:pt x="181655" y="804890"/>
                      <a:pt x="385776" y="819273"/>
                      <a:pt x="613233" y="739263"/>
                    </a:cubicBezTo>
                    <a:lnTo>
                      <a:pt x="612471" y="741168"/>
                    </a:lnTo>
                    <a:cubicBezTo>
                      <a:pt x="337484" y="846609"/>
                      <a:pt x="85071" y="834322"/>
                      <a:pt x="17158" y="700686"/>
                    </a:cubicBezTo>
                    <a:cubicBezTo>
                      <a:pt x="-61042" y="546667"/>
                      <a:pt x="135459" y="289778"/>
                      <a:pt x="456070" y="126996"/>
                    </a:cubicBezTo>
                    <a:cubicBezTo>
                      <a:pt x="776682" y="-35882"/>
                      <a:pt x="1100055" y="-43026"/>
                      <a:pt x="1178256" y="110994"/>
                    </a:cubicBezTo>
                    <a:cubicBezTo>
                      <a:pt x="1226357" y="205767"/>
                      <a:pt x="1170445" y="339498"/>
                      <a:pt x="1045572" y="466371"/>
                    </a:cubicBezTo>
                    <a:lnTo>
                      <a:pt x="1040905" y="4658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39" name="Freeform: Shape 938">
                <a:extLst>
                  <a:ext uri="{FF2B5EF4-FFF2-40B4-BE49-F238E27FC236}">
                    <a16:creationId xmlns:a16="http://schemas.microsoft.com/office/drawing/2014/main" id="{DB2F9916-9B52-44A9-9BB4-1896C6528585}"/>
                  </a:ext>
                </a:extLst>
              </p:cNvPr>
              <p:cNvSpPr/>
              <p:nvPr/>
            </p:nvSpPr>
            <p:spPr>
              <a:xfrm>
                <a:off x="8627877" y="4901273"/>
                <a:ext cx="1203769" cy="820292"/>
              </a:xfrm>
              <a:custGeom>
                <a:avLst/>
                <a:gdLst>
                  <a:gd name="connsiteX0" fmla="*/ 17621 w 1203769"/>
                  <a:gd name="connsiteY0" fmla="*/ 706850 h 820292"/>
                  <a:gd name="connsiteX1" fmla="*/ 0 w 1203769"/>
                  <a:gd name="connsiteY1" fmla="*/ 630174 h 820292"/>
                  <a:gd name="connsiteX2" fmla="*/ 0 w 1203769"/>
                  <a:gd name="connsiteY2" fmla="*/ 630174 h 820292"/>
                  <a:gd name="connsiteX3" fmla="*/ 458343 w 1203769"/>
                  <a:gd name="connsiteY3" fmla="*/ 127445 h 820292"/>
                  <a:gd name="connsiteX4" fmla="*/ 458343 w 1203769"/>
                  <a:gd name="connsiteY4" fmla="*/ 127445 h 820292"/>
                  <a:gd name="connsiteX5" fmla="*/ 926401 w 1203769"/>
                  <a:gd name="connsiteY5" fmla="*/ 0 h 820292"/>
                  <a:gd name="connsiteX6" fmla="*/ 926401 w 1203769"/>
                  <a:gd name="connsiteY6" fmla="*/ 0 h 820292"/>
                  <a:gd name="connsiteX7" fmla="*/ 1186148 w 1203769"/>
                  <a:gd name="connsiteY7" fmla="*/ 113348 h 820292"/>
                  <a:gd name="connsiteX8" fmla="*/ 1186148 w 1203769"/>
                  <a:gd name="connsiteY8" fmla="*/ 113348 h 820292"/>
                  <a:gd name="connsiteX9" fmla="*/ 1203770 w 1203769"/>
                  <a:gd name="connsiteY9" fmla="*/ 190024 h 820292"/>
                  <a:gd name="connsiteX10" fmla="*/ 1203770 w 1203769"/>
                  <a:gd name="connsiteY10" fmla="*/ 190024 h 820292"/>
                  <a:gd name="connsiteX11" fmla="*/ 1052703 w 1203769"/>
                  <a:gd name="connsiteY11" fmla="*/ 473678 h 820292"/>
                  <a:gd name="connsiteX12" fmla="*/ 1052703 w 1203769"/>
                  <a:gd name="connsiteY12" fmla="*/ 473678 h 820292"/>
                  <a:gd name="connsiteX13" fmla="*/ 1051274 w 1203769"/>
                  <a:gd name="connsiteY13" fmla="*/ 475107 h 820292"/>
                  <a:gd name="connsiteX14" fmla="*/ 1049274 w 1203769"/>
                  <a:gd name="connsiteY14" fmla="*/ 474916 h 820292"/>
                  <a:gd name="connsiteX15" fmla="*/ 1044607 w 1203769"/>
                  <a:gd name="connsiteY15" fmla="*/ 474345 h 820292"/>
                  <a:gd name="connsiteX16" fmla="*/ 1045083 w 1203769"/>
                  <a:gd name="connsiteY16" fmla="*/ 470154 h 820292"/>
                  <a:gd name="connsiteX17" fmla="*/ 1048226 w 1203769"/>
                  <a:gd name="connsiteY17" fmla="*/ 473012 h 820292"/>
                  <a:gd name="connsiteX18" fmla="*/ 1045083 w 1203769"/>
                  <a:gd name="connsiteY18" fmla="*/ 470154 h 820292"/>
                  <a:gd name="connsiteX19" fmla="*/ 1044607 w 1203769"/>
                  <a:gd name="connsiteY19" fmla="*/ 474345 h 820292"/>
                  <a:gd name="connsiteX20" fmla="*/ 1036415 w 1203769"/>
                  <a:gd name="connsiteY20" fmla="*/ 473488 h 820292"/>
                  <a:gd name="connsiteX21" fmla="*/ 1041940 w 1203769"/>
                  <a:gd name="connsiteY21" fmla="*/ 467392 h 820292"/>
                  <a:gd name="connsiteX22" fmla="*/ 1148239 w 1203769"/>
                  <a:gd name="connsiteY22" fmla="*/ 250603 h 820292"/>
                  <a:gd name="connsiteX23" fmla="*/ 1148239 w 1203769"/>
                  <a:gd name="connsiteY23" fmla="*/ 250603 h 820292"/>
                  <a:gd name="connsiteX24" fmla="*/ 1133761 w 1203769"/>
                  <a:gd name="connsiteY24" fmla="*/ 187643 h 820292"/>
                  <a:gd name="connsiteX25" fmla="*/ 1133761 w 1203769"/>
                  <a:gd name="connsiteY25" fmla="*/ 187643 h 820292"/>
                  <a:gd name="connsiteX26" fmla="*/ 915162 w 1203769"/>
                  <a:gd name="connsiteY26" fmla="*/ 93536 h 820292"/>
                  <a:gd name="connsiteX27" fmla="*/ 915162 w 1203769"/>
                  <a:gd name="connsiteY27" fmla="*/ 93536 h 820292"/>
                  <a:gd name="connsiteX28" fmla="*/ 512255 w 1203769"/>
                  <a:gd name="connsiteY28" fmla="*/ 203359 h 820292"/>
                  <a:gd name="connsiteX29" fmla="*/ 512255 w 1203769"/>
                  <a:gd name="connsiteY29" fmla="*/ 203359 h 820292"/>
                  <a:gd name="connsiteX30" fmla="*/ 118491 w 1203769"/>
                  <a:gd name="connsiteY30" fmla="*/ 633032 h 820292"/>
                  <a:gd name="connsiteX31" fmla="*/ 118491 w 1203769"/>
                  <a:gd name="connsiteY31" fmla="*/ 633032 h 820292"/>
                  <a:gd name="connsiteX32" fmla="*/ 132969 w 1203769"/>
                  <a:gd name="connsiteY32" fmla="*/ 695992 h 820292"/>
                  <a:gd name="connsiteX33" fmla="*/ 132969 w 1203769"/>
                  <a:gd name="connsiteY33" fmla="*/ 695992 h 820292"/>
                  <a:gd name="connsiteX34" fmla="*/ 351568 w 1203769"/>
                  <a:gd name="connsiteY34" fmla="*/ 790099 h 820292"/>
                  <a:gd name="connsiteX35" fmla="*/ 351568 w 1203769"/>
                  <a:gd name="connsiteY35" fmla="*/ 790099 h 820292"/>
                  <a:gd name="connsiteX36" fmla="*/ 615982 w 1203769"/>
                  <a:gd name="connsiteY36" fmla="*/ 739712 h 820292"/>
                  <a:gd name="connsiteX37" fmla="*/ 615982 w 1203769"/>
                  <a:gd name="connsiteY37" fmla="*/ 739712 h 820292"/>
                  <a:gd name="connsiteX38" fmla="*/ 624840 w 1203769"/>
                  <a:gd name="connsiteY38" fmla="*/ 736568 h 820292"/>
                  <a:gd name="connsiteX39" fmla="*/ 621221 w 1203769"/>
                  <a:gd name="connsiteY39" fmla="*/ 745236 h 820292"/>
                  <a:gd name="connsiteX40" fmla="*/ 619697 w 1203769"/>
                  <a:gd name="connsiteY40" fmla="*/ 748856 h 820292"/>
                  <a:gd name="connsiteX41" fmla="*/ 618077 w 1203769"/>
                  <a:gd name="connsiteY41" fmla="*/ 749522 h 820292"/>
                  <a:gd name="connsiteX42" fmla="*/ 277273 w 1203769"/>
                  <a:gd name="connsiteY42" fmla="*/ 820293 h 820292"/>
                  <a:gd name="connsiteX43" fmla="*/ 277273 w 1203769"/>
                  <a:gd name="connsiteY43" fmla="*/ 820293 h 820292"/>
                  <a:gd name="connsiteX44" fmla="*/ 17526 w 1203769"/>
                  <a:gd name="connsiteY44" fmla="*/ 706946 h 820292"/>
                  <a:gd name="connsiteX45" fmla="*/ 17526 w 1203769"/>
                  <a:gd name="connsiteY45" fmla="*/ 706946 h 820292"/>
                  <a:gd name="connsiteX46" fmla="*/ 462153 w 1203769"/>
                  <a:gd name="connsiteY46" fmla="*/ 134969 h 820292"/>
                  <a:gd name="connsiteX47" fmla="*/ 8382 w 1203769"/>
                  <a:gd name="connsiteY47" fmla="*/ 630174 h 820292"/>
                  <a:gd name="connsiteX48" fmla="*/ 8382 w 1203769"/>
                  <a:gd name="connsiteY48" fmla="*/ 630174 h 820292"/>
                  <a:gd name="connsiteX49" fmla="*/ 25051 w 1203769"/>
                  <a:gd name="connsiteY49" fmla="*/ 703040 h 820292"/>
                  <a:gd name="connsiteX50" fmla="*/ 25051 w 1203769"/>
                  <a:gd name="connsiteY50" fmla="*/ 703040 h 820292"/>
                  <a:gd name="connsiteX51" fmla="*/ 277273 w 1203769"/>
                  <a:gd name="connsiteY51" fmla="*/ 811721 h 820292"/>
                  <a:gd name="connsiteX52" fmla="*/ 277273 w 1203769"/>
                  <a:gd name="connsiteY52" fmla="*/ 811721 h 820292"/>
                  <a:gd name="connsiteX53" fmla="*/ 464534 w 1203769"/>
                  <a:gd name="connsiteY53" fmla="*/ 788194 h 820292"/>
                  <a:gd name="connsiteX54" fmla="*/ 464534 w 1203769"/>
                  <a:gd name="connsiteY54" fmla="*/ 788194 h 820292"/>
                  <a:gd name="connsiteX55" fmla="*/ 351473 w 1203769"/>
                  <a:gd name="connsiteY55" fmla="*/ 798386 h 820292"/>
                  <a:gd name="connsiteX56" fmla="*/ 351473 w 1203769"/>
                  <a:gd name="connsiteY56" fmla="*/ 798386 h 820292"/>
                  <a:gd name="connsiteX57" fmla="*/ 125349 w 1203769"/>
                  <a:gd name="connsiteY57" fmla="*/ 699707 h 820292"/>
                  <a:gd name="connsiteX58" fmla="*/ 125349 w 1203769"/>
                  <a:gd name="connsiteY58" fmla="*/ 699707 h 820292"/>
                  <a:gd name="connsiteX59" fmla="*/ 110014 w 1203769"/>
                  <a:gd name="connsiteY59" fmla="*/ 632936 h 820292"/>
                  <a:gd name="connsiteX60" fmla="*/ 110014 w 1203769"/>
                  <a:gd name="connsiteY60" fmla="*/ 632936 h 820292"/>
                  <a:gd name="connsiteX61" fmla="*/ 508349 w 1203769"/>
                  <a:gd name="connsiteY61" fmla="*/ 195834 h 820292"/>
                  <a:gd name="connsiteX62" fmla="*/ 508349 w 1203769"/>
                  <a:gd name="connsiteY62" fmla="*/ 195834 h 820292"/>
                  <a:gd name="connsiteX63" fmla="*/ 915067 w 1203769"/>
                  <a:gd name="connsiteY63" fmla="*/ 85058 h 820292"/>
                  <a:gd name="connsiteX64" fmla="*/ 915067 w 1203769"/>
                  <a:gd name="connsiteY64" fmla="*/ 85058 h 820292"/>
                  <a:gd name="connsiteX65" fmla="*/ 1141190 w 1203769"/>
                  <a:gd name="connsiteY65" fmla="*/ 183737 h 820292"/>
                  <a:gd name="connsiteX66" fmla="*/ 1141190 w 1203769"/>
                  <a:gd name="connsiteY66" fmla="*/ 183737 h 820292"/>
                  <a:gd name="connsiteX67" fmla="*/ 1156526 w 1203769"/>
                  <a:gd name="connsiteY67" fmla="*/ 250508 h 820292"/>
                  <a:gd name="connsiteX68" fmla="*/ 1156526 w 1203769"/>
                  <a:gd name="connsiteY68" fmla="*/ 250508 h 820292"/>
                  <a:gd name="connsiteX69" fmla="*/ 1095089 w 1203769"/>
                  <a:gd name="connsiteY69" fmla="*/ 413766 h 820292"/>
                  <a:gd name="connsiteX70" fmla="*/ 1095089 w 1203769"/>
                  <a:gd name="connsiteY70" fmla="*/ 413766 h 820292"/>
                  <a:gd name="connsiteX71" fmla="*/ 1195197 w 1203769"/>
                  <a:gd name="connsiteY71" fmla="*/ 189928 h 820292"/>
                  <a:gd name="connsiteX72" fmla="*/ 1195197 w 1203769"/>
                  <a:gd name="connsiteY72" fmla="*/ 189928 h 820292"/>
                  <a:gd name="connsiteX73" fmla="*/ 1178528 w 1203769"/>
                  <a:gd name="connsiteY73" fmla="*/ 117062 h 820292"/>
                  <a:gd name="connsiteX74" fmla="*/ 1178528 w 1203769"/>
                  <a:gd name="connsiteY74" fmla="*/ 117062 h 820292"/>
                  <a:gd name="connsiteX75" fmla="*/ 926306 w 1203769"/>
                  <a:gd name="connsiteY75" fmla="*/ 8382 h 820292"/>
                  <a:gd name="connsiteX76" fmla="*/ 926306 w 1203769"/>
                  <a:gd name="connsiteY76" fmla="*/ 8382 h 820292"/>
                  <a:gd name="connsiteX77" fmla="*/ 462153 w 1203769"/>
                  <a:gd name="connsiteY77" fmla="*/ 134874 h 820292"/>
                  <a:gd name="connsiteX78" fmla="*/ 462153 w 1203769"/>
                  <a:gd name="connsiteY78" fmla="*/ 134874 h 82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03769" h="820292">
                    <a:moveTo>
                      <a:pt x="17621" y="706850"/>
                    </a:moveTo>
                    <a:cubicBezTo>
                      <a:pt x="5715" y="683324"/>
                      <a:pt x="0" y="657511"/>
                      <a:pt x="0" y="630174"/>
                    </a:cubicBezTo>
                    <a:lnTo>
                      <a:pt x="0" y="630174"/>
                    </a:lnTo>
                    <a:cubicBezTo>
                      <a:pt x="476" y="473488"/>
                      <a:pt x="184595" y="266700"/>
                      <a:pt x="458343" y="127445"/>
                    </a:cubicBezTo>
                    <a:lnTo>
                      <a:pt x="458343" y="127445"/>
                    </a:lnTo>
                    <a:cubicBezTo>
                      <a:pt x="625031" y="42767"/>
                      <a:pt x="792385" y="0"/>
                      <a:pt x="926401" y="0"/>
                    </a:cubicBezTo>
                    <a:lnTo>
                      <a:pt x="926401" y="0"/>
                    </a:lnTo>
                    <a:cubicBezTo>
                      <a:pt x="1050798" y="0"/>
                      <a:pt x="1147191" y="36957"/>
                      <a:pt x="1186148" y="113348"/>
                    </a:cubicBezTo>
                    <a:lnTo>
                      <a:pt x="1186148" y="113348"/>
                    </a:lnTo>
                    <a:cubicBezTo>
                      <a:pt x="1198055" y="136874"/>
                      <a:pt x="1203770" y="162687"/>
                      <a:pt x="1203770" y="190024"/>
                    </a:cubicBezTo>
                    <a:lnTo>
                      <a:pt x="1203770" y="190024"/>
                    </a:lnTo>
                    <a:cubicBezTo>
                      <a:pt x="1203770" y="276035"/>
                      <a:pt x="1147953" y="376904"/>
                      <a:pt x="1052703" y="473678"/>
                    </a:cubicBezTo>
                    <a:lnTo>
                      <a:pt x="1052703" y="473678"/>
                    </a:lnTo>
                    <a:lnTo>
                      <a:pt x="1051274" y="475107"/>
                    </a:lnTo>
                    <a:lnTo>
                      <a:pt x="1049274" y="474916"/>
                    </a:lnTo>
                    <a:lnTo>
                      <a:pt x="1044607" y="474345"/>
                    </a:lnTo>
                    <a:lnTo>
                      <a:pt x="1045083" y="470154"/>
                    </a:lnTo>
                    <a:lnTo>
                      <a:pt x="1048226" y="473012"/>
                    </a:lnTo>
                    <a:lnTo>
                      <a:pt x="1045083" y="470154"/>
                    </a:lnTo>
                    <a:lnTo>
                      <a:pt x="1044607" y="474345"/>
                    </a:lnTo>
                    <a:lnTo>
                      <a:pt x="1036415" y="473488"/>
                    </a:lnTo>
                    <a:lnTo>
                      <a:pt x="1041940" y="467392"/>
                    </a:lnTo>
                    <a:cubicBezTo>
                      <a:pt x="1109853" y="391859"/>
                      <a:pt x="1148334" y="314992"/>
                      <a:pt x="1148239" y="250603"/>
                    </a:cubicBezTo>
                    <a:lnTo>
                      <a:pt x="1148239" y="250603"/>
                    </a:lnTo>
                    <a:cubicBezTo>
                      <a:pt x="1148239" y="227933"/>
                      <a:pt x="1143572" y="206788"/>
                      <a:pt x="1133761" y="187643"/>
                    </a:cubicBezTo>
                    <a:lnTo>
                      <a:pt x="1133761" y="187643"/>
                    </a:lnTo>
                    <a:cubicBezTo>
                      <a:pt x="1102328" y="125349"/>
                      <a:pt x="1021937" y="93536"/>
                      <a:pt x="915162" y="93536"/>
                    </a:cubicBezTo>
                    <a:lnTo>
                      <a:pt x="915162" y="93536"/>
                    </a:lnTo>
                    <a:cubicBezTo>
                      <a:pt x="800386" y="93536"/>
                      <a:pt x="655987" y="130302"/>
                      <a:pt x="512255" y="203359"/>
                    </a:cubicBezTo>
                    <a:lnTo>
                      <a:pt x="512255" y="203359"/>
                    </a:lnTo>
                    <a:cubicBezTo>
                      <a:pt x="275844" y="323183"/>
                      <a:pt x="118015" y="502920"/>
                      <a:pt x="118491" y="633032"/>
                    </a:cubicBezTo>
                    <a:lnTo>
                      <a:pt x="118491" y="633032"/>
                    </a:lnTo>
                    <a:cubicBezTo>
                      <a:pt x="118491" y="655701"/>
                      <a:pt x="123158" y="676751"/>
                      <a:pt x="132969" y="695992"/>
                    </a:cubicBezTo>
                    <a:lnTo>
                      <a:pt x="132969" y="695992"/>
                    </a:lnTo>
                    <a:cubicBezTo>
                      <a:pt x="164497" y="758190"/>
                      <a:pt x="244793" y="790099"/>
                      <a:pt x="351568" y="790099"/>
                    </a:cubicBezTo>
                    <a:lnTo>
                      <a:pt x="351568" y="790099"/>
                    </a:lnTo>
                    <a:cubicBezTo>
                      <a:pt x="429197" y="790099"/>
                      <a:pt x="520541" y="773240"/>
                      <a:pt x="615982" y="739712"/>
                    </a:cubicBezTo>
                    <a:lnTo>
                      <a:pt x="615982" y="739712"/>
                    </a:lnTo>
                    <a:lnTo>
                      <a:pt x="624840" y="736568"/>
                    </a:lnTo>
                    <a:lnTo>
                      <a:pt x="621221" y="745236"/>
                    </a:lnTo>
                    <a:lnTo>
                      <a:pt x="619697" y="748856"/>
                    </a:lnTo>
                    <a:lnTo>
                      <a:pt x="618077" y="749522"/>
                    </a:lnTo>
                    <a:cubicBezTo>
                      <a:pt x="495395" y="796576"/>
                      <a:pt x="377095" y="820293"/>
                      <a:pt x="277273" y="820293"/>
                    </a:cubicBezTo>
                    <a:lnTo>
                      <a:pt x="277273" y="820293"/>
                    </a:lnTo>
                    <a:cubicBezTo>
                      <a:pt x="152876" y="820293"/>
                      <a:pt x="56388" y="783336"/>
                      <a:pt x="17526" y="706946"/>
                    </a:cubicBezTo>
                    <a:lnTo>
                      <a:pt x="17526" y="706946"/>
                    </a:lnTo>
                    <a:close/>
                    <a:moveTo>
                      <a:pt x="462153" y="134969"/>
                    </a:moveTo>
                    <a:cubicBezTo>
                      <a:pt x="189833" y="272987"/>
                      <a:pt x="8001" y="479965"/>
                      <a:pt x="8382" y="630174"/>
                    </a:cubicBezTo>
                    <a:lnTo>
                      <a:pt x="8382" y="630174"/>
                    </a:lnTo>
                    <a:cubicBezTo>
                      <a:pt x="8382" y="656368"/>
                      <a:pt x="13811" y="680752"/>
                      <a:pt x="25051" y="703040"/>
                    </a:cubicBezTo>
                    <a:lnTo>
                      <a:pt x="25051" y="703040"/>
                    </a:lnTo>
                    <a:cubicBezTo>
                      <a:pt x="61532" y="775049"/>
                      <a:pt x="154210" y="811721"/>
                      <a:pt x="277273" y="811721"/>
                    </a:cubicBezTo>
                    <a:lnTo>
                      <a:pt x="277273" y="811721"/>
                    </a:lnTo>
                    <a:cubicBezTo>
                      <a:pt x="334328" y="811721"/>
                      <a:pt x="397669" y="803815"/>
                      <a:pt x="464534" y="788194"/>
                    </a:cubicBezTo>
                    <a:lnTo>
                      <a:pt x="464534" y="788194"/>
                    </a:lnTo>
                    <a:cubicBezTo>
                      <a:pt x="424720" y="794957"/>
                      <a:pt x="386810" y="798386"/>
                      <a:pt x="351473" y="798386"/>
                    </a:cubicBezTo>
                    <a:lnTo>
                      <a:pt x="351473" y="798386"/>
                    </a:lnTo>
                    <a:cubicBezTo>
                      <a:pt x="243269" y="798386"/>
                      <a:pt x="159353" y="766286"/>
                      <a:pt x="125349" y="699707"/>
                    </a:cubicBezTo>
                    <a:lnTo>
                      <a:pt x="125349" y="699707"/>
                    </a:lnTo>
                    <a:cubicBezTo>
                      <a:pt x="114967" y="679228"/>
                      <a:pt x="110014" y="656654"/>
                      <a:pt x="110014" y="632936"/>
                    </a:cubicBezTo>
                    <a:lnTo>
                      <a:pt x="110014" y="632936"/>
                    </a:lnTo>
                    <a:cubicBezTo>
                      <a:pt x="110490" y="496443"/>
                      <a:pt x="270605" y="316801"/>
                      <a:pt x="508349" y="195834"/>
                    </a:cubicBezTo>
                    <a:lnTo>
                      <a:pt x="508349" y="195834"/>
                    </a:lnTo>
                    <a:cubicBezTo>
                      <a:pt x="653129" y="122301"/>
                      <a:pt x="798576" y="85153"/>
                      <a:pt x="915067" y="85058"/>
                    </a:cubicBezTo>
                    <a:lnTo>
                      <a:pt x="915067" y="85058"/>
                    </a:lnTo>
                    <a:cubicBezTo>
                      <a:pt x="1023176" y="85058"/>
                      <a:pt x="1107186" y="117157"/>
                      <a:pt x="1141190" y="183737"/>
                    </a:cubicBezTo>
                    <a:lnTo>
                      <a:pt x="1141190" y="183737"/>
                    </a:lnTo>
                    <a:cubicBezTo>
                      <a:pt x="1151573" y="204216"/>
                      <a:pt x="1156526" y="226695"/>
                      <a:pt x="1156526" y="250508"/>
                    </a:cubicBezTo>
                    <a:lnTo>
                      <a:pt x="1156526" y="250508"/>
                    </a:lnTo>
                    <a:cubicBezTo>
                      <a:pt x="1156526" y="300895"/>
                      <a:pt x="1134523" y="356902"/>
                      <a:pt x="1095089" y="413766"/>
                    </a:cubicBezTo>
                    <a:lnTo>
                      <a:pt x="1095089" y="413766"/>
                    </a:lnTo>
                    <a:cubicBezTo>
                      <a:pt x="1159288" y="335280"/>
                      <a:pt x="1195197" y="256889"/>
                      <a:pt x="1195197" y="189928"/>
                    </a:cubicBezTo>
                    <a:lnTo>
                      <a:pt x="1195197" y="189928"/>
                    </a:lnTo>
                    <a:cubicBezTo>
                      <a:pt x="1195197" y="163735"/>
                      <a:pt x="1189768" y="139351"/>
                      <a:pt x="1178528" y="117062"/>
                    </a:cubicBezTo>
                    <a:lnTo>
                      <a:pt x="1178528" y="117062"/>
                    </a:lnTo>
                    <a:cubicBezTo>
                      <a:pt x="1142048" y="45053"/>
                      <a:pt x="1049369" y="8382"/>
                      <a:pt x="926306" y="8382"/>
                    </a:cubicBezTo>
                    <a:lnTo>
                      <a:pt x="926306" y="8382"/>
                    </a:lnTo>
                    <a:cubicBezTo>
                      <a:pt x="794099" y="8382"/>
                      <a:pt x="627698" y="50768"/>
                      <a:pt x="462153" y="134874"/>
                    </a:cubicBezTo>
                    <a:lnTo>
                      <a:pt x="462153" y="13487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12" name="Graphic 566">
              <a:extLst>
                <a:ext uri="{FF2B5EF4-FFF2-40B4-BE49-F238E27FC236}">
                  <a16:creationId xmlns:a16="http://schemas.microsoft.com/office/drawing/2014/main" id="{8A472520-53C1-4309-9595-A4E9629F292F}"/>
                </a:ext>
              </a:extLst>
            </p:cNvPr>
            <p:cNvGrpSpPr/>
            <p:nvPr/>
          </p:nvGrpSpPr>
          <p:grpSpPr>
            <a:xfrm>
              <a:off x="8195252" y="4510939"/>
              <a:ext cx="1968150" cy="1339119"/>
              <a:chOff x="8195252" y="4510939"/>
              <a:chExt cx="1968150" cy="1339119"/>
            </a:xfrm>
            <a:solidFill>
              <a:srgbClr val="A1ABB2"/>
            </a:solidFill>
          </p:grpSpPr>
          <p:sp>
            <p:nvSpPr>
              <p:cNvPr id="936" name="Freeform: Shape 935">
                <a:extLst>
                  <a:ext uri="{FF2B5EF4-FFF2-40B4-BE49-F238E27FC236}">
                    <a16:creationId xmlns:a16="http://schemas.microsoft.com/office/drawing/2014/main" id="{6E0972BD-403E-4279-B329-E58446C23563}"/>
                  </a:ext>
                </a:extLst>
              </p:cNvPr>
              <p:cNvSpPr/>
              <p:nvPr/>
            </p:nvSpPr>
            <p:spPr>
              <a:xfrm>
                <a:off x="8199410" y="4515180"/>
                <a:ext cx="1959763" cy="1330731"/>
              </a:xfrm>
              <a:custGeom>
                <a:avLst/>
                <a:gdLst>
                  <a:gd name="connsiteX0" fmla="*/ 1706531 w 1959763"/>
                  <a:gd name="connsiteY0" fmla="*/ 763664 h 1330731"/>
                  <a:gd name="connsiteX1" fmla="*/ 1858074 w 1959763"/>
                  <a:gd name="connsiteY1" fmla="*/ 297320 h 1330731"/>
                  <a:gd name="connsiteX2" fmla="*/ 829850 w 1959763"/>
                  <a:gd name="connsiteY2" fmla="*/ 320085 h 1330731"/>
                  <a:gd name="connsiteX3" fmla="*/ 205010 w 1959763"/>
                  <a:gd name="connsiteY3" fmla="*/ 1136949 h 1330731"/>
                  <a:gd name="connsiteX4" fmla="*/ 1005301 w 1959763"/>
                  <a:gd name="connsiteY4" fmla="*/ 1212006 h 1330731"/>
                  <a:gd name="connsiteX5" fmla="*/ 1003967 w 1959763"/>
                  <a:gd name="connsiteY5" fmla="*/ 1215149 h 1330731"/>
                  <a:gd name="connsiteX6" fmla="*/ 28131 w 1959763"/>
                  <a:gd name="connsiteY6" fmla="*/ 1148760 h 1330731"/>
                  <a:gd name="connsiteX7" fmla="*/ 747745 w 1959763"/>
                  <a:gd name="connsiteY7" fmla="*/ 208166 h 1330731"/>
                  <a:gd name="connsiteX8" fmla="*/ 1931607 w 1959763"/>
                  <a:gd name="connsiteY8" fmla="*/ 181972 h 1330731"/>
                  <a:gd name="connsiteX9" fmla="*/ 1714151 w 1959763"/>
                  <a:gd name="connsiteY9" fmla="*/ 764522 h 1330731"/>
                  <a:gd name="connsiteX10" fmla="*/ 1706531 w 1959763"/>
                  <a:gd name="connsiteY10" fmla="*/ 763664 h 133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9763" h="1330731">
                    <a:moveTo>
                      <a:pt x="1706531" y="763664"/>
                    </a:moveTo>
                    <a:cubicBezTo>
                      <a:pt x="1857788" y="595262"/>
                      <a:pt x="1921606" y="422479"/>
                      <a:pt x="1858074" y="297320"/>
                    </a:cubicBezTo>
                    <a:cubicBezTo>
                      <a:pt x="1746727" y="78055"/>
                      <a:pt x="1286384" y="88246"/>
                      <a:pt x="829850" y="320085"/>
                    </a:cubicBezTo>
                    <a:cubicBezTo>
                      <a:pt x="373412" y="551924"/>
                      <a:pt x="93663" y="917684"/>
                      <a:pt x="205010" y="1136949"/>
                    </a:cubicBezTo>
                    <a:cubicBezTo>
                      <a:pt x="297784" y="1319543"/>
                      <a:pt x="632397" y="1343070"/>
                      <a:pt x="1005301" y="1212006"/>
                    </a:cubicBezTo>
                    <a:lnTo>
                      <a:pt x="1003967" y="1215149"/>
                    </a:lnTo>
                    <a:cubicBezTo>
                      <a:pt x="553149" y="1388028"/>
                      <a:pt x="139383" y="1367835"/>
                      <a:pt x="28131" y="1148760"/>
                    </a:cubicBezTo>
                    <a:cubicBezTo>
                      <a:pt x="-100075" y="896157"/>
                      <a:pt x="222060" y="475057"/>
                      <a:pt x="747745" y="208166"/>
                    </a:cubicBezTo>
                    <a:cubicBezTo>
                      <a:pt x="1273334" y="-58820"/>
                      <a:pt x="1803401" y="-70535"/>
                      <a:pt x="1931607" y="181972"/>
                    </a:cubicBezTo>
                    <a:cubicBezTo>
                      <a:pt x="2010569" y="337420"/>
                      <a:pt x="1918844" y="556686"/>
                      <a:pt x="1714151" y="764522"/>
                    </a:cubicBezTo>
                    <a:lnTo>
                      <a:pt x="1706531" y="76366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37" name="Freeform: Shape 936">
                <a:extLst>
                  <a:ext uri="{FF2B5EF4-FFF2-40B4-BE49-F238E27FC236}">
                    <a16:creationId xmlns:a16="http://schemas.microsoft.com/office/drawing/2014/main" id="{5EA9B526-45B9-4EF1-A99A-F6F55214A25F}"/>
                  </a:ext>
                </a:extLst>
              </p:cNvPr>
              <p:cNvSpPr/>
              <p:nvPr/>
            </p:nvSpPr>
            <p:spPr>
              <a:xfrm>
                <a:off x="8195252" y="4510939"/>
                <a:ext cx="1968150" cy="1339119"/>
              </a:xfrm>
              <a:custGeom>
                <a:avLst/>
                <a:gdLst>
                  <a:gd name="connsiteX0" fmla="*/ 28575 w 1968150"/>
                  <a:gd name="connsiteY0" fmla="*/ 1154811 h 1339119"/>
                  <a:gd name="connsiteX1" fmla="*/ 0 w 1968150"/>
                  <a:gd name="connsiteY1" fmla="*/ 1030415 h 1339119"/>
                  <a:gd name="connsiteX2" fmla="*/ 0 w 1968150"/>
                  <a:gd name="connsiteY2" fmla="*/ 1030415 h 1339119"/>
                  <a:gd name="connsiteX3" fmla="*/ 749999 w 1968150"/>
                  <a:gd name="connsiteY3" fmla="*/ 208598 h 1339119"/>
                  <a:gd name="connsiteX4" fmla="*/ 749999 w 1968150"/>
                  <a:gd name="connsiteY4" fmla="*/ 208598 h 1339119"/>
                  <a:gd name="connsiteX5" fmla="*/ 1516094 w 1968150"/>
                  <a:gd name="connsiteY5" fmla="*/ 0 h 1339119"/>
                  <a:gd name="connsiteX6" fmla="*/ 1516094 w 1968150"/>
                  <a:gd name="connsiteY6" fmla="*/ 0 h 1339119"/>
                  <a:gd name="connsiteX7" fmla="*/ 1939576 w 1968150"/>
                  <a:gd name="connsiteY7" fmla="*/ 184309 h 1339119"/>
                  <a:gd name="connsiteX8" fmla="*/ 1939576 w 1968150"/>
                  <a:gd name="connsiteY8" fmla="*/ 184309 h 1339119"/>
                  <a:gd name="connsiteX9" fmla="*/ 1968151 w 1968150"/>
                  <a:gd name="connsiteY9" fmla="*/ 308705 h 1339119"/>
                  <a:gd name="connsiteX10" fmla="*/ 1968151 w 1968150"/>
                  <a:gd name="connsiteY10" fmla="*/ 308705 h 1339119"/>
                  <a:gd name="connsiteX11" fmla="*/ 1721358 w 1968150"/>
                  <a:gd name="connsiteY11" fmla="*/ 771715 h 1339119"/>
                  <a:gd name="connsiteX12" fmla="*/ 1721358 w 1968150"/>
                  <a:gd name="connsiteY12" fmla="*/ 771715 h 1339119"/>
                  <a:gd name="connsiteX13" fmla="*/ 1719929 w 1968150"/>
                  <a:gd name="connsiteY13" fmla="*/ 773144 h 1339119"/>
                  <a:gd name="connsiteX14" fmla="*/ 1710309 w 1968150"/>
                  <a:gd name="connsiteY14" fmla="*/ 772097 h 1339119"/>
                  <a:gd name="connsiteX15" fmla="*/ 1710785 w 1968150"/>
                  <a:gd name="connsiteY15" fmla="*/ 767906 h 1339119"/>
                  <a:gd name="connsiteX16" fmla="*/ 1713929 w 1968150"/>
                  <a:gd name="connsiteY16" fmla="*/ 770763 h 1339119"/>
                  <a:gd name="connsiteX17" fmla="*/ 1710785 w 1968150"/>
                  <a:gd name="connsiteY17" fmla="*/ 767906 h 1339119"/>
                  <a:gd name="connsiteX18" fmla="*/ 1710309 w 1968150"/>
                  <a:gd name="connsiteY18" fmla="*/ 772097 h 1339119"/>
                  <a:gd name="connsiteX19" fmla="*/ 1702118 w 1968150"/>
                  <a:gd name="connsiteY19" fmla="*/ 771239 h 1339119"/>
                  <a:gd name="connsiteX20" fmla="*/ 1707642 w 1968150"/>
                  <a:gd name="connsiteY20" fmla="*/ 765143 h 1339119"/>
                  <a:gd name="connsiteX21" fmla="*/ 1882521 w 1968150"/>
                  <a:gd name="connsiteY21" fmla="*/ 407956 h 1339119"/>
                  <a:gd name="connsiteX22" fmla="*/ 1882521 w 1968150"/>
                  <a:gd name="connsiteY22" fmla="*/ 407956 h 1339119"/>
                  <a:gd name="connsiteX23" fmla="*/ 1858518 w 1968150"/>
                  <a:gd name="connsiteY23" fmla="*/ 303467 h 1339119"/>
                  <a:gd name="connsiteX24" fmla="*/ 1858518 w 1968150"/>
                  <a:gd name="connsiteY24" fmla="*/ 303467 h 1339119"/>
                  <a:gd name="connsiteX25" fmla="*/ 1497806 w 1968150"/>
                  <a:gd name="connsiteY25" fmla="*/ 147733 h 1339119"/>
                  <a:gd name="connsiteX26" fmla="*/ 1497806 w 1968150"/>
                  <a:gd name="connsiteY26" fmla="*/ 147733 h 1339119"/>
                  <a:gd name="connsiteX27" fmla="*/ 836009 w 1968150"/>
                  <a:gd name="connsiteY27" fmla="*/ 328041 h 1339119"/>
                  <a:gd name="connsiteX28" fmla="*/ 836009 w 1968150"/>
                  <a:gd name="connsiteY28" fmla="*/ 328041 h 1339119"/>
                  <a:gd name="connsiteX29" fmla="*/ 188976 w 1968150"/>
                  <a:gd name="connsiteY29" fmla="*/ 1034796 h 1339119"/>
                  <a:gd name="connsiteX30" fmla="*/ 188976 w 1968150"/>
                  <a:gd name="connsiteY30" fmla="*/ 1034796 h 1339119"/>
                  <a:gd name="connsiteX31" fmla="*/ 212979 w 1968150"/>
                  <a:gd name="connsiteY31" fmla="*/ 1139285 h 1339119"/>
                  <a:gd name="connsiteX32" fmla="*/ 212979 w 1968150"/>
                  <a:gd name="connsiteY32" fmla="*/ 1139285 h 1339119"/>
                  <a:gd name="connsiteX33" fmla="*/ 573691 w 1968150"/>
                  <a:gd name="connsiteY33" fmla="*/ 1295019 h 1339119"/>
                  <a:gd name="connsiteX34" fmla="*/ 573691 w 1968150"/>
                  <a:gd name="connsiteY34" fmla="*/ 1295019 h 1339119"/>
                  <a:gd name="connsiteX35" fmla="*/ 1008126 w 1968150"/>
                  <a:gd name="connsiteY35" fmla="*/ 1212247 h 1339119"/>
                  <a:gd name="connsiteX36" fmla="*/ 1008126 w 1968150"/>
                  <a:gd name="connsiteY36" fmla="*/ 1212247 h 1339119"/>
                  <a:gd name="connsiteX37" fmla="*/ 1016984 w 1968150"/>
                  <a:gd name="connsiteY37" fmla="*/ 1209104 h 1339119"/>
                  <a:gd name="connsiteX38" fmla="*/ 1011365 w 1968150"/>
                  <a:gd name="connsiteY38" fmla="*/ 1222629 h 1339119"/>
                  <a:gd name="connsiteX39" fmla="*/ 1009650 w 1968150"/>
                  <a:gd name="connsiteY39" fmla="*/ 1223296 h 1339119"/>
                  <a:gd name="connsiteX40" fmla="*/ 451961 w 1968150"/>
                  <a:gd name="connsiteY40" fmla="*/ 1339120 h 1339119"/>
                  <a:gd name="connsiteX41" fmla="*/ 451961 w 1968150"/>
                  <a:gd name="connsiteY41" fmla="*/ 1339120 h 1339119"/>
                  <a:gd name="connsiteX42" fmla="*/ 28480 w 1968150"/>
                  <a:gd name="connsiteY42" fmla="*/ 1154811 h 1339119"/>
                  <a:gd name="connsiteX43" fmla="*/ 28480 w 1968150"/>
                  <a:gd name="connsiteY43" fmla="*/ 1154811 h 1339119"/>
                  <a:gd name="connsiteX44" fmla="*/ 753809 w 1968150"/>
                  <a:gd name="connsiteY44" fmla="*/ 216122 h 1339119"/>
                  <a:gd name="connsiteX45" fmla="*/ 8477 w 1968150"/>
                  <a:gd name="connsiteY45" fmla="*/ 1030415 h 1339119"/>
                  <a:gd name="connsiteX46" fmla="*/ 8477 w 1968150"/>
                  <a:gd name="connsiteY46" fmla="*/ 1030415 h 1339119"/>
                  <a:gd name="connsiteX47" fmla="*/ 36195 w 1968150"/>
                  <a:gd name="connsiteY47" fmla="*/ 1151001 h 1339119"/>
                  <a:gd name="connsiteX48" fmla="*/ 36195 w 1968150"/>
                  <a:gd name="connsiteY48" fmla="*/ 1151001 h 1339119"/>
                  <a:gd name="connsiteX49" fmla="*/ 452152 w 1968150"/>
                  <a:gd name="connsiteY49" fmla="*/ 1330643 h 1339119"/>
                  <a:gd name="connsiteX50" fmla="*/ 452152 w 1968150"/>
                  <a:gd name="connsiteY50" fmla="*/ 1330643 h 1339119"/>
                  <a:gd name="connsiteX51" fmla="*/ 857536 w 1968150"/>
                  <a:gd name="connsiteY51" fmla="*/ 1265968 h 1339119"/>
                  <a:gd name="connsiteX52" fmla="*/ 857536 w 1968150"/>
                  <a:gd name="connsiteY52" fmla="*/ 1265968 h 1339119"/>
                  <a:gd name="connsiteX53" fmla="*/ 573786 w 1968150"/>
                  <a:gd name="connsiteY53" fmla="*/ 1303401 h 1339119"/>
                  <a:gd name="connsiteX54" fmla="*/ 573786 w 1968150"/>
                  <a:gd name="connsiteY54" fmla="*/ 1303401 h 1339119"/>
                  <a:gd name="connsiteX55" fmla="*/ 205550 w 1968150"/>
                  <a:gd name="connsiteY55" fmla="*/ 1143095 h 1339119"/>
                  <a:gd name="connsiteX56" fmla="*/ 205550 w 1968150"/>
                  <a:gd name="connsiteY56" fmla="*/ 1143095 h 1339119"/>
                  <a:gd name="connsiteX57" fmla="*/ 180594 w 1968150"/>
                  <a:gd name="connsiteY57" fmla="*/ 1034796 h 1339119"/>
                  <a:gd name="connsiteX58" fmla="*/ 180594 w 1968150"/>
                  <a:gd name="connsiteY58" fmla="*/ 1034796 h 1339119"/>
                  <a:gd name="connsiteX59" fmla="*/ 832199 w 1968150"/>
                  <a:gd name="connsiteY59" fmla="*/ 320612 h 1339119"/>
                  <a:gd name="connsiteX60" fmla="*/ 832199 w 1968150"/>
                  <a:gd name="connsiteY60" fmla="*/ 320612 h 1339119"/>
                  <a:gd name="connsiteX61" fmla="*/ 1497806 w 1968150"/>
                  <a:gd name="connsiteY61" fmla="*/ 139351 h 1339119"/>
                  <a:gd name="connsiteX62" fmla="*/ 1497806 w 1968150"/>
                  <a:gd name="connsiteY62" fmla="*/ 139351 h 1339119"/>
                  <a:gd name="connsiteX63" fmla="*/ 1866043 w 1968150"/>
                  <a:gd name="connsiteY63" fmla="*/ 299657 h 1339119"/>
                  <a:gd name="connsiteX64" fmla="*/ 1866043 w 1968150"/>
                  <a:gd name="connsiteY64" fmla="*/ 299657 h 1339119"/>
                  <a:gd name="connsiteX65" fmla="*/ 1890998 w 1968150"/>
                  <a:gd name="connsiteY65" fmla="*/ 407956 h 1339119"/>
                  <a:gd name="connsiteX66" fmla="*/ 1890998 w 1968150"/>
                  <a:gd name="connsiteY66" fmla="*/ 407956 h 1339119"/>
                  <a:gd name="connsiteX67" fmla="*/ 1743170 w 1968150"/>
                  <a:gd name="connsiteY67" fmla="*/ 736854 h 1339119"/>
                  <a:gd name="connsiteX68" fmla="*/ 1743170 w 1968150"/>
                  <a:gd name="connsiteY68" fmla="*/ 736854 h 1339119"/>
                  <a:gd name="connsiteX69" fmla="*/ 1959769 w 1968150"/>
                  <a:gd name="connsiteY69" fmla="*/ 308705 h 1339119"/>
                  <a:gd name="connsiteX70" fmla="*/ 1959769 w 1968150"/>
                  <a:gd name="connsiteY70" fmla="*/ 308705 h 1339119"/>
                  <a:gd name="connsiteX71" fmla="*/ 1932146 w 1968150"/>
                  <a:gd name="connsiteY71" fmla="*/ 188119 h 1339119"/>
                  <a:gd name="connsiteX72" fmla="*/ 1932146 w 1968150"/>
                  <a:gd name="connsiteY72" fmla="*/ 188119 h 1339119"/>
                  <a:gd name="connsiteX73" fmla="*/ 1516094 w 1968150"/>
                  <a:gd name="connsiteY73" fmla="*/ 8382 h 1339119"/>
                  <a:gd name="connsiteX74" fmla="*/ 1516094 w 1968150"/>
                  <a:gd name="connsiteY74" fmla="*/ 8382 h 1339119"/>
                  <a:gd name="connsiteX75" fmla="*/ 753904 w 1968150"/>
                  <a:gd name="connsiteY75" fmla="*/ 216027 h 1339119"/>
                  <a:gd name="connsiteX76" fmla="*/ 753904 w 1968150"/>
                  <a:gd name="connsiteY76" fmla="*/ 216027 h 133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68150" h="1339119">
                    <a:moveTo>
                      <a:pt x="28575" y="1154811"/>
                    </a:moveTo>
                    <a:cubicBezTo>
                      <a:pt x="9239" y="1116711"/>
                      <a:pt x="0" y="1074801"/>
                      <a:pt x="0" y="1030415"/>
                    </a:cubicBezTo>
                    <a:lnTo>
                      <a:pt x="0" y="1030415"/>
                    </a:lnTo>
                    <a:cubicBezTo>
                      <a:pt x="476" y="775621"/>
                      <a:pt x="301657" y="436531"/>
                      <a:pt x="749999" y="208598"/>
                    </a:cubicBezTo>
                    <a:lnTo>
                      <a:pt x="749999" y="208598"/>
                    </a:lnTo>
                    <a:cubicBezTo>
                      <a:pt x="1022795" y="70009"/>
                      <a:pt x="1296924" y="0"/>
                      <a:pt x="1516094" y="0"/>
                    </a:cubicBezTo>
                    <a:lnTo>
                      <a:pt x="1516094" y="0"/>
                    </a:lnTo>
                    <a:cubicBezTo>
                      <a:pt x="1719643" y="0"/>
                      <a:pt x="1876520" y="60389"/>
                      <a:pt x="1939576" y="184309"/>
                    </a:cubicBezTo>
                    <a:lnTo>
                      <a:pt x="1939576" y="184309"/>
                    </a:lnTo>
                    <a:cubicBezTo>
                      <a:pt x="1958912" y="222409"/>
                      <a:pt x="1968151" y="264319"/>
                      <a:pt x="1968151" y="308705"/>
                    </a:cubicBezTo>
                    <a:lnTo>
                      <a:pt x="1968151" y="308705"/>
                    </a:lnTo>
                    <a:cubicBezTo>
                      <a:pt x="1968056" y="448532"/>
                      <a:pt x="1877092" y="613505"/>
                      <a:pt x="1721358" y="771715"/>
                    </a:cubicBezTo>
                    <a:lnTo>
                      <a:pt x="1721358" y="771715"/>
                    </a:lnTo>
                    <a:lnTo>
                      <a:pt x="1719929" y="773144"/>
                    </a:lnTo>
                    <a:lnTo>
                      <a:pt x="1710309" y="772097"/>
                    </a:lnTo>
                    <a:lnTo>
                      <a:pt x="1710785" y="767906"/>
                    </a:lnTo>
                    <a:lnTo>
                      <a:pt x="1713929" y="770763"/>
                    </a:lnTo>
                    <a:lnTo>
                      <a:pt x="1710785" y="767906"/>
                    </a:lnTo>
                    <a:lnTo>
                      <a:pt x="1710309" y="772097"/>
                    </a:lnTo>
                    <a:lnTo>
                      <a:pt x="1702118" y="771239"/>
                    </a:lnTo>
                    <a:lnTo>
                      <a:pt x="1707642" y="765143"/>
                    </a:lnTo>
                    <a:cubicBezTo>
                      <a:pt x="1819180" y="641033"/>
                      <a:pt x="1882616" y="514636"/>
                      <a:pt x="1882521" y="407956"/>
                    </a:cubicBezTo>
                    <a:lnTo>
                      <a:pt x="1882521" y="407956"/>
                    </a:lnTo>
                    <a:cubicBezTo>
                      <a:pt x="1882521" y="370427"/>
                      <a:pt x="1874711" y="335375"/>
                      <a:pt x="1858518" y="303467"/>
                    </a:cubicBezTo>
                    <a:lnTo>
                      <a:pt x="1858518" y="303467"/>
                    </a:lnTo>
                    <a:cubicBezTo>
                      <a:pt x="1806131" y="200025"/>
                      <a:pt x="1673257" y="147733"/>
                      <a:pt x="1497806" y="147733"/>
                    </a:cubicBezTo>
                    <a:lnTo>
                      <a:pt x="1497806" y="147733"/>
                    </a:lnTo>
                    <a:cubicBezTo>
                      <a:pt x="1309211" y="147733"/>
                      <a:pt x="1072039" y="208121"/>
                      <a:pt x="836009" y="328041"/>
                    </a:cubicBezTo>
                    <a:lnTo>
                      <a:pt x="836009" y="328041"/>
                    </a:lnTo>
                    <a:cubicBezTo>
                      <a:pt x="447961" y="524923"/>
                      <a:pt x="188500" y="819531"/>
                      <a:pt x="188976" y="1034796"/>
                    </a:cubicBezTo>
                    <a:lnTo>
                      <a:pt x="188976" y="1034796"/>
                    </a:lnTo>
                    <a:cubicBezTo>
                      <a:pt x="188976" y="1072325"/>
                      <a:pt x="196787" y="1107377"/>
                      <a:pt x="212979" y="1139285"/>
                    </a:cubicBezTo>
                    <a:lnTo>
                      <a:pt x="212979" y="1139285"/>
                    </a:lnTo>
                    <a:cubicBezTo>
                      <a:pt x="265367" y="1242727"/>
                      <a:pt x="398240" y="1295019"/>
                      <a:pt x="573691" y="1295019"/>
                    </a:cubicBezTo>
                    <a:lnTo>
                      <a:pt x="573691" y="1295019"/>
                    </a:lnTo>
                    <a:cubicBezTo>
                      <a:pt x="701421" y="1295019"/>
                      <a:pt x="851345" y="1267301"/>
                      <a:pt x="1008126" y="1212247"/>
                    </a:cubicBezTo>
                    <a:lnTo>
                      <a:pt x="1008126" y="1212247"/>
                    </a:lnTo>
                    <a:lnTo>
                      <a:pt x="1016984" y="1209104"/>
                    </a:lnTo>
                    <a:lnTo>
                      <a:pt x="1011365" y="1222629"/>
                    </a:lnTo>
                    <a:lnTo>
                      <a:pt x="1009650" y="1223296"/>
                    </a:lnTo>
                    <a:cubicBezTo>
                      <a:pt x="808673" y="1300353"/>
                      <a:pt x="615125" y="1339120"/>
                      <a:pt x="451961" y="1339120"/>
                    </a:cubicBezTo>
                    <a:lnTo>
                      <a:pt x="451961" y="1339120"/>
                    </a:lnTo>
                    <a:cubicBezTo>
                      <a:pt x="248412" y="1339120"/>
                      <a:pt x="91535" y="1278636"/>
                      <a:pt x="28480" y="1154811"/>
                    </a:cubicBezTo>
                    <a:lnTo>
                      <a:pt x="28480" y="1154811"/>
                    </a:lnTo>
                    <a:close/>
                    <a:moveTo>
                      <a:pt x="753809" y="216122"/>
                    </a:moveTo>
                    <a:cubicBezTo>
                      <a:pt x="306896" y="442817"/>
                      <a:pt x="8001" y="782003"/>
                      <a:pt x="8477" y="1030415"/>
                    </a:cubicBezTo>
                    <a:lnTo>
                      <a:pt x="8477" y="1030415"/>
                    </a:lnTo>
                    <a:cubicBezTo>
                      <a:pt x="8477" y="1073658"/>
                      <a:pt x="17431" y="1114139"/>
                      <a:pt x="36195" y="1151001"/>
                    </a:cubicBezTo>
                    <a:lnTo>
                      <a:pt x="36195" y="1151001"/>
                    </a:lnTo>
                    <a:cubicBezTo>
                      <a:pt x="96679" y="1270445"/>
                      <a:pt x="249936" y="1330643"/>
                      <a:pt x="452152" y="1330643"/>
                    </a:cubicBezTo>
                    <a:lnTo>
                      <a:pt x="452152" y="1330643"/>
                    </a:lnTo>
                    <a:cubicBezTo>
                      <a:pt x="573310" y="1330643"/>
                      <a:pt x="711708" y="1309021"/>
                      <a:pt x="857536" y="1265968"/>
                    </a:cubicBezTo>
                    <a:lnTo>
                      <a:pt x="857536" y="1265968"/>
                    </a:lnTo>
                    <a:cubicBezTo>
                      <a:pt x="756190" y="1290828"/>
                      <a:pt x="660083" y="1303401"/>
                      <a:pt x="573786" y="1303401"/>
                    </a:cubicBezTo>
                    <a:lnTo>
                      <a:pt x="573786" y="1303401"/>
                    </a:lnTo>
                    <a:cubicBezTo>
                      <a:pt x="396907" y="1303401"/>
                      <a:pt x="260414" y="1250918"/>
                      <a:pt x="205550" y="1143095"/>
                    </a:cubicBezTo>
                    <a:lnTo>
                      <a:pt x="205550" y="1143095"/>
                    </a:lnTo>
                    <a:cubicBezTo>
                      <a:pt x="188690" y="1109948"/>
                      <a:pt x="180594" y="1073468"/>
                      <a:pt x="180594" y="1034796"/>
                    </a:cubicBezTo>
                    <a:lnTo>
                      <a:pt x="180594" y="1034796"/>
                    </a:lnTo>
                    <a:cubicBezTo>
                      <a:pt x="181070" y="813054"/>
                      <a:pt x="442817" y="518636"/>
                      <a:pt x="832199" y="320612"/>
                    </a:cubicBezTo>
                    <a:lnTo>
                      <a:pt x="832199" y="320612"/>
                    </a:lnTo>
                    <a:cubicBezTo>
                      <a:pt x="1069277" y="200216"/>
                      <a:pt x="1307402" y="139351"/>
                      <a:pt x="1497806" y="139351"/>
                    </a:cubicBezTo>
                    <a:lnTo>
                      <a:pt x="1497806" y="139351"/>
                    </a:lnTo>
                    <a:cubicBezTo>
                      <a:pt x="1674686" y="139351"/>
                      <a:pt x="1811179" y="191834"/>
                      <a:pt x="1866043" y="299657"/>
                    </a:cubicBezTo>
                    <a:lnTo>
                      <a:pt x="1866043" y="299657"/>
                    </a:lnTo>
                    <a:cubicBezTo>
                      <a:pt x="1882902" y="332804"/>
                      <a:pt x="1890998" y="369284"/>
                      <a:pt x="1890998" y="407956"/>
                    </a:cubicBezTo>
                    <a:lnTo>
                      <a:pt x="1890998" y="407956"/>
                    </a:lnTo>
                    <a:cubicBezTo>
                      <a:pt x="1890998" y="508064"/>
                      <a:pt x="1837373" y="622745"/>
                      <a:pt x="1743170" y="736854"/>
                    </a:cubicBezTo>
                    <a:lnTo>
                      <a:pt x="1743170" y="736854"/>
                    </a:lnTo>
                    <a:cubicBezTo>
                      <a:pt x="1880997" y="588550"/>
                      <a:pt x="1959864" y="436436"/>
                      <a:pt x="1959769" y="308705"/>
                    </a:cubicBezTo>
                    <a:lnTo>
                      <a:pt x="1959769" y="308705"/>
                    </a:lnTo>
                    <a:cubicBezTo>
                      <a:pt x="1959769" y="265462"/>
                      <a:pt x="1950815" y="224981"/>
                      <a:pt x="1932146" y="188119"/>
                    </a:cubicBezTo>
                    <a:lnTo>
                      <a:pt x="1932146" y="188119"/>
                    </a:lnTo>
                    <a:cubicBezTo>
                      <a:pt x="1871472" y="68675"/>
                      <a:pt x="1718215" y="8382"/>
                      <a:pt x="1516094" y="8382"/>
                    </a:cubicBezTo>
                    <a:lnTo>
                      <a:pt x="1516094" y="8382"/>
                    </a:lnTo>
                    <a:cubicBezTo>
                      <a:pt x="1298734" y="8382"/>
                      <a:pt x="1025747" y="78010"/>
                      <a:pt x="753904" y="216027"/>
                    </a:cubicBezTo>
                    <a:lnTo>
                      <a:pt x="753904" y="2160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13" name="Graphic 566">
              <a:extLst>
                <a:ext uri="{FF2B5EF4-FFF2-40B4-BE49-F238E27FC236}">
                  <a16:creationId xmlns:a16="http://schemas.microsoft.com/office/drawing/2014/main" id="{6E7E2D2D-2A80-4A66-9CDF-C7BA9EDAF5AF}"/>
                </a:ext>
              </a:extLst>
            </p:cNvPr>
            <p:cNvGrpSpPr/>
            <p:nvPr/>
          </p:nvGrpSpPr>
          <p:grpSpPr>
            <a:xfrm>
              <a:off x="8209825" y="5518874"/>
              <a:ext cx="2887217" cy="599122"/>
              <a:chOff x="8209825" y="5518874"/>
              <a:chExt cx="2887217" cy="599122"/>
            </a:xfrm>
            <a:solidFill>
              <a:srgbClr val="A1ABB2"/>
            </a:solidFill>
          </p:grpSpPr>
          <p:grpSp>
            <p:nvGrpSpPr>
              <p:cNvPr id="918" name="Graphic 566">
                <a:extLst>
                  <a:ext uri="{FF2B5EF4-FFF2-40B4-BE49-F238E27FC236}">
                    <a16:creationId xmlns:a16="http://schemas.microsoft.com/office/drawing/2014/main" id="{39607868-F9D9-4CD9-B36F-3B987B59588C}"/>
                  </a:ext>
                </a:extLst>
              </p:cNvPr>
              <p:cNvGrpSpPr/>
              <p:nvPr/>
            </p:nvGrpSpPr>
            <p:grpSpPr>
              <a:xfrm>
                <a:off x="8209825" y="5723376"/>
                <a:ext cx="398525" cy="385952"/>
                <a:chOff x="8209825" y="5723376"/>
                <a:chExt cx="398525" cy="385952"/>
              </a:xfrm>
              <a:solidFill>
                <a:srgbClr val="A1ABB2"/>
              </a:solidFill>
            </p:grpSpPr>
            <p:sp>
              <p:nvSpPr>
                <p:cNvPr id="934" name="Freeform: Shape 933">
                  <a:extLst>
                    <a:ext uri="{FF2B5EF4-FFF2-40B4-BE49-F238E27FC236}">
                      <a16:creationId xmlns:a16="http://schemas.microsoft.com/office/drawing/2014/main" id="{539A619E-241E-4E1E-9E66-86F5A7C7C9A7}"/>
                    </a:ext>
                  </a:extLst>
                </p:cNvPr>
                <p:cNvSpPr/>
                <p:nvPr/>
              </p:nvSpPr>
              <p:spPr>
                <a:xfrm>
                  <a:off x="8214016" y="5727757"/>
                  <a:ext cx="390048" cy="377380"/>
                </a:xfrm>
                <a:custGeom>
                  <a:avLst/>
                  <a:gdLst>
                    <a:gd name="connsiteX0" fmla="*/ 389954 w 390048"/>
                    <a:gd name="connsiteY0" fmla="*/ 377285 h 377380"/>
                    <a:gd name="connsiteX1" fmla="*/ 242602 w 390048"/>
                    <a:gd name="connsiteY1" fmla="*/ 377285 h 377380"/>
                    <a:gd name="connsiteX2" fmla="*/ 242602 w 390048"/>
                    <a:gd name="connsiteY2" fmla="*/ 174688 h 377380"/>
                    <a:gd name="connsiteX3" fmla="*/ 231077 w 390048"/>
                    <a:gd name="connsiteY3" fmla="*/ 129445 h 377380"/>
                    <a:gd name="connsiteX4" fmla="*/ 198882 w 390048"/>
                    <a:gd name="connsiteY4" fmla="*/ 116776 h 377380"/>
                    <a:gd name="connsiteX5" fmla="*/ 161354 w 390048"/>
                    <a:gd name="connsiteY5" fmla="*/ 134303 h 377380"/>
                    <a:gd name="connsiteX6" fmla="*/ 146685 w 390048"/>
                    <a:gd name="connsiteY6" fmla="*/ 199930 h 377380"/>
                    <a:gd name="connsiteX7" fmla="*/ 146685 w 390048"/>
                    <a:gd name="connsiteY7" fmla="*/ 377380 h 377380"/>
                    <a:gd name="connsiteX8" fmla="*/ 0 w 390048"/>
                    <a:gd name="connsiteY8" fmla="*/ 377380 h 377380"/>
                    <a:gd name="connsiteX9" fmla="*/ 0 w 390048"/>
                    <a:gd name="connsiteY9" fmla="*/ 8192 h 377380"/>
                    <a:gd name="connsiteX10" fmla="*/ 137160 w 390048"/>
                    <a:gd name="connsiteY10" fmla="*/ 8192 h 377380"/>
                    <a:gd name="connsiteX11" fmla="*/ 137160 w 390048"/>
                    <a:gd name="connsiteY11" fmla="*/ 59531 h 377380"/>
                    <a:gd name="connsiteX12" fmla="*/ 189452 w 390048"/>
                    <a:gd name="connsiteY12" fmla="*/ 15907 h 377380"/>
                    <a:gd name="connsiteX13" fmla="*/ 263462 w 390048"/>
                    <a:gd name="connsiteY13" fmla="*/ 0 h 377380"/>
                    <a:gd name="connsiteX14" fmla="*/ 356426 w 390048"/>
                    <a:gd name="connsiteY14" fmla="*/ 35433 h 377380"/>
                    <a:gd name="connsiteX15" fmla="*/ 390049 w 390048"/>
                    <a:gd name="connsiteY15" fmla="*/ 143828 h 377380"/>
                    <a:gd name="connsiteX16" fmla="*/ 390049 w 390048"/>
                    <a:gd name="connsiteY16" fmla="*/ 377380 h 377380"/>
                    <a:gd name="connsiteX17" fmla="*/ 390049 w 390048"/>
                    <a:gd name="connsiteY17" fmla="*/ 377380 h 37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048" h="377380">
                      <a:moveTo>
                        <a:pt x="389954" y="377285"/>
                      </a:moveTo>
                      <a:lnTo>
                        <a:pt x="242602" y="377285"/>
                      </a:lnTo>
                      <a:lnTo>
                        <a:pt x="242602" y="174688"/>
                      </a:lnTo>
                      <a:cubicBezTo>
                        <a:pt x="242602" y="153257"/>
                        <a:pt x="238697" y="138017"/>
                        <a:pt x="231077" y="129445"/>
                      </a:cubicBezTo>
                      <a:cubicBezTo>
                        <a:pt x="223457" y="120872"/>
                        <a:pt x="212884" y="116776"/>
                        <a:pt x="198882" y="116776"/>
                      </a:cubicBezTo>
                      <a:cubicBezTo>
                        <a:pt x="183261" y="116776"/>
                        <a:pt x="171069" y="122492"/>
                        <a:pt x="161354" y="134303"/>
                      </a:cubicBezTo>
                      <a:cubicBezTo>
                        <a:pt x="151638" y="146113"/>
                        <a:pt x="146685" y="168212"/>
                        <a:pt x="146685" y="199930"/>
                      </a:cubicBezTo>
                      <a:lnTo>
                        <a:pt x="146685" y="377380"/>
                      </a:lnTo>
                      <a:lnTo>
                        <a:pt x="0" y="377380"/>
                      </a:lnTo>
                      <a:lnTo>
                        <a:pt x="0" y="8192"/>
                      </a:lnTo>
                      <a:lnTo>
                        <a:pt x="137160" y="8192"/>
                      </a:lnTo>
                      <a:lnTo>
                        <a:pt x="137160" y="59531"/>
                      </a:lnTo>
                      <a:cubicBezTo>
                        <a:pt x="154305" y="39719"/>
                        <a:pt x="171831" y="25146"/>
                        <a:pt x="189452" y="15907"/>
                      </a:cubicBezTo>
                      <a:cubicBezTo>
                        <a:pt x="209645" y="5334"/>
                        <a:pt x="234601" y="0"/>
                        <a:pt x="263462" y="0"/>
                      </a:cubicBezTo>
                      <a:cubicBezTo>
                        <a:pt x="302800" y="0"/>
                        <a:pt x="334042" y="11906"/>
                        <a:pt x="356426" y="35433"/>
                      </a:cubicBezTo>
                      <a:cubicBezTo>
                        <a:pt x="378714" y="58864"/>
                        <a:pt x="390049" y="95345"/>
                        <a:pt x="390049" y="143828"/>
                      </a:cubicBezTo>
                      <a:lnTo>
                        <a:pt x="390049" y="377380"/>
                      </a:lnTo>
                      <a:lnTo>
                        <a:pt x="390049" y="37738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35" name="Freeform: Shape 934">
                  <a:extLst>
                    <a:ext uri="{FF2B5EF4-FFF2-40B4-BE49-F238E27FC236}">
                      <a16:creationId xmlns:a16="http://schemas.microsoft.com/office/drawing/2014/main" id="{414B9617-7868-4B45-8C81-F017ABC4C2D1}"/>
                    </a:ext>
                  </a:extLst>
                </p:cNvPr>
                <p:cNvSpPr/>
                <p:nvPr/>
              </p:nvSpPr>
              <p:spPr>
                <a:xfrm>
                  <a:off x="8209825" y="5723376"/>
                  <a:ext cx="398525" cy="385952"/>
                </a:xfrm>
                <a:custGeom>
                  <a:avLst/>
                  <a:gdLst>
                    <a:gd name="connsiteX0" fmla="*/ 267653 w 398525"/>
                    <a:gd name="connsiteY0" fmla="*/ 8573 h 385952"/>
                    <a:gd name="connsiteX1" fmla="*/ 357569 w 398525"/>
                    <a:gd name="connsiteY1" fmla="*/ 42672 h 385952"/>
                    <a:gd name="connsiteX2" fmla="*/ 390049 w 398525"/>
                    <a:gd name="connsiteY2" fmla="*/ 148114 h 385952"/>
                    <a:gd name="connsiteX3" fmla="*/ 390049 w 398525"/>
                    <a:gd name="connsiteY3" fmla="*/ 377381 h 385952"/>
                    <a:gd name="connsiteX4" fmla="*/ 251079 w 398525"/>
                    <a:gd name="connsiteY4" fmla="*/ 377381 h 385952"/>
                    <a:gd name="connsiteX5" fmla="*/ 251079 w 398525"/>
                    <a:gd name="connsiteY5" fmla="*/ 178975 h 385952"/>
                    <a:gd name="connsiteX6" fmla="*/ 238506 w 398525"/>
                    <a:gd name="connsiteY6" fmla="*/ 130873 h 385952"/>
                    <a:gd name="connsiteX7" fmla="*/ 203168 w 398525"/>
                    <a:gd name="connsiteY7" fmla="*/ 116777 h 385952"/>
                    <a:gd name="connsiteX8" fmla="*/ 162401 w 398525"/>
                    <a:gd name="connsiteY8" fmla="*/ 135827 h 385952"/>
                    <a:gd name="connsiteX9" fmla="*/ 146780 w 398525"/>
                    <a:gd name="connsiteY9" fmla="*/ 204121 h 385952"/>
                    <a:gd name="connsiteX10" fmla="*/ 146780 w 398525"/>
                    <a:gd name="connsiteY10" fmla="*/ 377381 h 385952"/>
                    <a:gd name="connsiteX11" fmla="*/ 8477 w 398525"/>
                    <a:gd name="connsiteY11" fmla="*/ 377381 h 385952"/>
                    <a:gd name="connsiteX12" fmla="*/ 8477 w 398525"/>
                    <a:gd name="connsiteY12" fmla="*/ 16573 h 385952"/>
                    <a:gd name="connsiteX13" fmla="*/ 137255 w 398525"/>
                    <a:gd name="connsiteY13" fmla="*/ 16573 h 385952"/>
                    <a:gd name="connsiteX14" fmla="*/ 137255 w 398525"/>
                    <a:gd name="connsiteY14" fmla="*/ 75343 h 385952"/>
                    <a:gd name="connsiteX15" fmla="*/ 195644 w 398525"/>
                    <a:gd name="connsiteY15" fmla="*/ 23908 h 385952"/>
                    <a:gd name="connsiteX16" fmla="*/ 267653 w 398525"/>
                    <a:gd name="connsiteY16" fmla="*/ 8477 h 385952"/>
                    <a:gd name="connsiteX17" fmla="*/ 267653 w 398525"/>
                    <a:gd name="connsiteY17" fmla="*/ 0 h 385952"/>
                    <a:gd name="connsiteX18" fmla="*/ 191738 w 398525"/>
                    <a:gd name="connsiteY18" fmla="*/ 16383 h 385952"/>
                    <a:gd name="connsiteX19" fmla="*/ 145637 w 398525"/>
                    <a:gd name="connsiteY19" fmla="*/ 52769 h 385952"/>
                    <a:gd name="connsiteX20" fmla="*/ 145637 w 398525"/>
                    <a:gd name="connsiteY20" fmla="*/ 8191 h 385952"/>
                    <a:gd name="connsiteX21" fmla="*/ 0 w 398525"/>
                    <a:gd name="connsiteY21" fmla="*/ 8191 h 385952"/>
                    <a:gd name="connsiteX22" fmla="*/ 0 w 398525"/>
                    <a:gd name="connsiteY22" fmla="*/ 385858 h 385952"/>
                    <a:gd name="connsiteX23" fmla="*/ 155162 w 398525"/>
                    <a:gd name="connsiteY23" fmla="*/ 385858 h 385952"/>
                    <a:gd name="connsiteX24" fmla="*/ 155162 w 398525"/>
                    <a:gd name="connsiteY24" fmla="*/ 204216 h 385952"/>
                    <a:gd name="connsiteX25" fmla="*/ 168878 w 398525"/>
                    <a:gd name="connsiteY25" fmla="*/ 141256 h 385952"/>
                    <a:gd name="connsiteX26" fmla="*/ 203168 w 398525"/>
                    <a:gd name="connsiteY26" fmla="*/ 125349 h 385952"/>
                    <a:gd name="connsiteX27" fmla="*/ 232220 w 398525"/>
                    <a:gd name="connsiteY27" fmla="*/ 136684 h 385952"/>
                    <a:gd name="connsiteX28" fmla="*/ 242697 w 398525"/>
                    <a:gd name="connsiteY28" fmla="*/ 179165 h 385952"/>
                    <a:gd name="connsiteX29" fmla="*/ 242697 w 398525"/>
                    <a:gd name="connsiteY29" fmla="*/ 385953 h 385952"/>
                    <a:gd name="connsiteX30" fmla="*/ 398526 w 398525"/>
                    <a:gd name="connsiteY30" fmla="*/ 385953 h 385952"/>
                    <a:gd name="connsiteX31" fmla="*/ 398526 w 398525"/>
                    <a:gd name="connsiteY31" fmla="*/ 148209 h 385952"/>
                    <a:gd name="connsiteX32" fmla="*/ 363760 w 398525"/>
                    <a:gd name="connsiteY32" fmla="*/ 36957 h 385952"/>
                    <a:gd name="connsiteX33" fmla="*/ 267748 w 398525"/>
                    <a:gd name="connsiteY33" fmla="*/ 190 h 385952"/>
                    <a:gd name="connsiteX34" fmla="*/ 267748 w 398525"/>
                    <a:gd name="connsiteY34" fmla="*/ 190 h 38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8525" h="385952">
                      <a:moveTo>
                        <a:pt x="267653" y="8573"/>
                      </a:moveTo>
                      <a:cubicBezTo>
                        <a:pt x="305943" y="8573"/>
                        <a:pt x="335852" y="20002"/>
                        <a:pt x="357569" y="42672"/>
                      </a:cubicBezTo>
                      <a:cubicBezTo>
                        <a:pt x="379190" y="65437"/>
                        <a:pt x="390049" y="100584"/>
                        <a:pt x="390049" y="148114"/>
                      </a:cubicBezTo>
                      <a:lnTo>
                        <a:pt x="390049" y="377381"/>
                      </a:lnTo>
                      <a:lnTo>
                        <a:pt x="251079" y="377381"/>
                      </a:lnTo>
                      <a:lnTo>
                        <a:pt x="251079" y="178975"/>
                      </a:lnTo>
                      <a:cubicBezTo>
                        <a:pt x="251079" y="156305"/>
                        <a:pt x="246888" y="140303"/>
                        <a:pt x="238506" y="130873"/>
                      </a:cubicBezTo>
                      <a:cubicBezTo>
                        <a:pt x="230124" y="121539"/>
                        <a:pt x="218313" y="116777"/>
                        <a:pt x="203168" y="116777"/>
                      </a:cubicBezTo>
                      <a:cubicBezTo>
                        <a:pt x="186404" y="116777"/>
                        <a:pt x="172784" y="123063"/>
                        <a:pt x="162401" y="135827"/>
                      </a:cubicBezTo>
                      <a:cubicBezTo>
                        <a:pt x="152019" y="148495"/>
                        <a:pt x="146780" y="171260"/>
                        <a:pt x="146780" y="204121"/>
                      </a:cubicBezTo>
                      <a:lnTo>
                        <a:pt x="146780" y="377381"/>
                      </a:lnTo>
                      <a:lnTo>
                        <a:pt x="8477" y="377381"/>
                      </a:lnTo>
                      <a:lnTo>
                        <a:pt x="8477" y="16573"/>
                      </a:lnTo>
                      <a:lnTo>
                        <a:pt x="137255" y="16573"/>
                      </a:lnTo>
                      <a:lnTo>
                        <a:pt x="137255" y="75343"/>
                      </a:lnTo>
                      <a:cubicBezTo>
                        <a:pt x="156496" y="51340"/>
                        <a:pt x="175927" y="34195"/>
                        <a:pt x="195644" y="23908"/>
                      </a:cubicBezTo>
                      <a:cubicBezTo>
                        <a:pt x="215360" y="13621"/>
                        <a:pt x="239363" y="8477"/>
                        <a:pt x="267653" y="8477"/>
                      </a:cubicBezTo>
                      <a:moveTo>
                        <a:pt x="267653" y="0"/>
                      </a:moveTo>
                      <a:cubicBezTo>
                        <a:pt x="238125" y="0"/>
                        <a:pt x="212598" y="5525"/>
                        <a:pt x="191738" y="16383"/>
                      </a:cubicBezTo>
                      <a:cubicBezTo>
                        <a:pt x="176213" y="24479"/>
                        <a:pt x="160782" y="36671"/>
                        <a:pt x="145637" y="52769"/>
                      </a:cubicBezTo>
                      <a:lnTo>
                        <a:pt x="145637" y="8191"/>
                      </a:lnTo>
                      <a:lnTo>
                        <a:pt x="0" y="8191"/>
                      </a:lnTo>
                      <a:lnTo>
                        <a:pt x="0" y="385858"/>
                      </a:lnTo>
                      <a:lnTo>
                        <a:pt x="155162" y="385858"/>
                      </a:lnTo>
                      <a:lnTo>
                        <a:pt x="155162" y="204216"/>
                      </a:lnTo>
                      <a:cubicBezTo>
                        <a:pt x="155162" y="173545"/>
                        <a:pt x="159734" y="152305"/>
                        <a:pt x="168878" y="141256"/>
                      </a:cubicBezTo>
                      <a:cubicBezTo>
                        <a:pt x="177641" y="130493"/>
                        <a:pt x="188881" y="125349"/>
                        <a:pt x="203168" y="125349"/>
                      </a:cubicBezTo>
                      <a:cubicBezTo>
                        <a:pt x="215932" y="125349"/>
                        <a:pt x="225457" y="129064"/>
                        <a:pt x="232220" y="136684"/>
                      </a:cubicBezTo>
                      <a:cubicBezTo>
                        <a:pt x="239173" y="144399"/>
                        <a:pt x="242697" y="158782"/>
                        <a:pt x="242697" y="179165"/>
                      </a:cubicBezTo>
                      <a:lnTo>
                        <a:pt x="242697" y="385953"/>
                      </a:lnTo>
                      <a:lnTo>
                        <a:pt x="398526" y="385953"/>
                      </a:lnTo>
                      <a:lnTo>
                        <a:pt x="398526" y="148209"/>
                      </a:lnTo>
                      <a:cubicBezTo>
                        <a:pt x="398526" y="98679"/>
                        <a:pt x="386810" y="61151"/>
                        <a:pt x="363760" y="36957"/>
                      </a:cubicBezTo>
                      <a:cubicBezTo>
                        <a:pt x="340614" y="12573"/>
                        <a:pt x="308324" y="190"/>
                        <a:pt x="267748" y="190"/>
                      </a:cubicBezTo>
                      <a:lnTo>
                        <a:pt x="267748" y="1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19" name="Graphic 566">
                <a:extLst>
                  <a:ext uri="{FF2B5EF4-FFF2-40B4-BE49-F238E27FC236}">
                    <a16:creationId xmlns:a16="http://schemas.microsoft.com/office/drawing/2014/main" id="{2BE8D33E-41CF-4B0E-8ACB-8D54E84AF635}"/>
                  </a:ext>
                </a:extLst>
              </p:cNvPr>
              <p:cNvGrpSpPr/>
              <p:nvPr/>
            </p:nvGrpSpPr>
            <p:grpSpPr>
              <a:xfrm>
                <a:off x="8690837" y="5518874"/>
                <a:ext cx="470630" cy="590359"/>
                <a:chOff x="8690837" y="5518874"/>
                <a:chExt cx="470630" cy="590359"/>
              </a:xfrm>
              <a:solidFill>
                <a:srgbClr val="A1ABB2"/>
              </a:solidFill>
            </p:grpSpPr>
            <p:sp>
              <p:nvSpPr>
                <p:cNvPr id="932" name="Freeform: Shape 931">
                  <a:extLst>
                    <a:ext uri="{FF2B5EF4-FFF2-40B4-BE49-F238E27FC236}">
                      <a16:creationId xmlns:a16="http://schemas.microsoft.com/office/drawing/2014/main" id="{3F46DF52-98CE-4A93-93F1-A51C48E82065}"/>
                    </a:ext>
                  </a:extLst>
                </p:cNvPr>
                <p:cNvSpPr/>
                <p:nvPr/>
              </p:nvSpPr>
              <p:spPr>
                <a:xfrm>
                  <a:off x="8695028" y="5523160"/>
                  <a:ext cx="462248" cy="581882"/>
                </a:xfrm>
                <a:custGeom>
                  <a:avLst/>
                  <a:gdLst>
                    <a:gd name="connsiteX0" fmla="*/ 462248 w 462248"/>
                    <a:gd name="connsiteY0" fmla="*/ 581882 h 581882"/>
                    <a:gd name="connsiteX1" fmla="*/ 458057 w 462248"/>
                    <a:gd name="connsiteY1" fmla="*/ 581882 h 581882"/>
                    <a:gd name="connsiteX2" fmla="*/ 4191 w 462248"/>
                    <a:gd name="connsiteY2" fmla="*/ 581882 h 581882"/>
                    <a:gd name="connsiteX3" fmla="*/ 0 w 462248"/>
                    <a:gd name="connsiteY3" fmla="*/ 581882 h 581882"/>
                    <a:gd name="connsiteX4" fmla="*/ 0 w 462248"/>
                    <a:gd name="connsiteY4" fmla="*/ 577691 h 581882"/>
                    <a:gd name="connsiteX5" fmla="*/ 0 w 462248"/>
                    <a:gd name="connsiteY5" fmla="*/ 4191 h 581882"/>
                    <a:gd name="connsiteX6" fmla="*/ 0 w 462248"/>
                    <a:gd name="connsiteY6" fmla="*/ 0 h 581882"/>
                    <a:gd name="connsiteX7" fmla="*/ 4191 w 462248"/>
                    <a:gd name="connsiteY7" fmla="*/ 0 h 581882"/>
                    <a:gd name="connsiteX8" fmla="*/ 181451 w 462248"/>
                    <a:gd name="connsiteY8" fmla="*/ 0 h 581882"/>
                    <a:gd name="connsiteX9" fmla="*/ 185642 w 462248"/>
                    <a:gd name="connsiteY9" fmla="*/ 0 h 581882"/>
                    <a:gd name="connsiteX10" fmla="*/ 185642 w 462248"/>
                    <a:gd name="connsiteY10" fmla="*/ 4191 h 581882"/>
                    <a:gd name="connsiteX11" fmla="*/ 185642 w 462248"/>
                    <a:gd name="connsiteY11" fmla="*/ 432244 h 581882"/>
                    <a:gd name="connsiteX12" fmla="*/ 458057 w 462248"/>
                    <a:gd name="connsiteY12" fmla="*/ 432244 h 581882"/>
                    <a:gd name="connsiteX13" fmla="*/ 462248 w 462248"/>
                    <a:gd name="connsiteY13" fmla="*/ 432244 h 581882"/>
                    <a:gd name="connsiteX14" fmla="*/ 462248 w 462248"/>
                    <a:gd name="connsiteY14" fmla="*/ 436436 h 581882"/>
                    <a:gd name="connsiteX15" fmla="*/ 462248 w 462248"/>
                    <a:gd name="connsiteY15" fmla="*/ 577691 h 581882"/>
                    <a:gd name="connsiteX16" fmla="*/ 462248 w 462248"/>
                    <a:gd name="connsiteY16" fmla="*/ 581882 h 581882"/>
                    <a:gd name="connsiteX17" fmla="*/ 462248 w 462248"/>
                    <a:gd name="connsiteY17" fmla="*/ 581882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2248" h="581882">
                      <a:moveTo>
                        <a:pt x="462248" y="581882"/>
                      </a:moveTo>
                      <a:lnTo>
                        <a:pt x="458057" y="581882"/>
                      </a:lnTo>
                      <a:lnTo>
                        <a:pt x="4191" y="581882"/>
                      </a:lnTo>
                      <a:lnTo>
                        <a:pt x="0" y="581882"/>
                      </a:lnTo>
                      <a:lnTo>
                        <a:pt x="0" y="577691"/>
                      </a:lnTo>
                      <a:lnTo>
                        <a:pt x="0" y="4191"/>
                      </a:lnTo>
                      <a:lnTo>
                        <a:pt x="0" y="0"/>
                      </a:lnTo>
                      <a:lnTo>
                        <a:pt x="4191" y="0"/>
                      </a:lnTo>
                      <a:lnTo>
                        <a:pt x="181451" y="0"/>
                      </a:lnTo>
                      <a:lnTo>
                        <a:pt x="185642" y="0"/>
                      </a:lnTo>
                      <a:lnTo>
                        <a:pt x="185642" y="4191"/>
                      </a:lnTo>
                      <a:lnTo>
                        <a:pt x="185642" y="432244"/>
                      </a:lnTo>
                      <a:lnTo>
                        <a:pt x="458057" y="432244"/>
                      </a:lnTo>
                      <a:lnTo>
                        <a:pt x="462248" y="432244"/>
                      </a:lnTo>
                      <a:lnTo>
                        <a:pt x="462248" y="436436"/>
                      </a:lnTo>
                      <a:lnTo>
                        <a:pt x="462248" y="577691"/>
                      </a:lnTo>
                      <a:lnTo>
                        <a:pt x="462248" y="581882"/>
                      </a:lnTo>
                      <a:lnTo>
                        <a:pt x="462248" y="58188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33" name="Freeform: Shape 932">
                  <a:extLst>
                    <a:ext uri="{FF2B5EF4-FFF2-40B4-BE49-F238E27FC236}">
                      <a16:creationId xmlns:a16="http://schemas.microsoft.com/office/drawing/2014/main" id="{8B9E1DFC-AC27-43E0-954D-AC650410F781}"/>
                    </a:ext>
                  </a:extLst>
                </p:cNvPr>
                <p:cNvSpPr/>
                <p:nvPr/>
              </p:nvSpPr>
              <p:spPr>
                <a:xfrm>
                  <a:off x="8690837" y="5518874"/>
                  <a:ext cx="470630" cy="590359"/>
                </a:xfrm>
                <a:custGeom>
                  <a:avLst/>
                  <a:gdLst>
                    <a:gd name="connsiteX0" fmla="*/ 185642 w 470630"/>
                    <a:gd name="connsiteY0" fmla="*/ 8477 h 590359"/>
                    <a:gd name="connsiteX1" fmla="*/ 185642 w 470630"/>
                    <a:gd name="connsiteY1" fmla="*/ 440722 h 590359"/>
                    <a:gd name="connsiteX2" fmla="*/ 462248 w 470630"/>
                    <a:gd name="connsiteY2" fmla="*/ 440722 h 590359"/>
                    <a:gd name="connsiteX3" fmla="*/ 462248 w 470630"/>
                    <a:gd name="connsiteY3" fmla="*/ 581978 h 590359"/>
                    <a:gd name="connsiteX4" fmla="*/ 8382 w 470630"/>
                    <a:gd name="connsiteY4" fmla="*/ 581978 h 590359"/>
                    <a:gd name="connsiteX5" fmla="*/ 8382 w 470630"/>
                    <a:gd name="connsiteY5" fmla="*/ 8477 h 590359"/>
                    <a:gd name="connsiteX6" fmla="*/ 185642 w 470630"/>
                    <a:gd name="connsiteY6" fmla="*/ 8477 h 590359"/>
                    <a:gd name="connsiteX7" fmla="*/ 194120 w 470630"/>
                    <a:gd name="connsiteY7" fmla="*/ 0 h 590359"/>
                    <a:gd name="connsiteX8" fmla="*/ 0 w 470630"/>
                    <a:gd name="connsiteY8" fmla="*/ 0 h 590359"/>
                    <a:gd name="connsiteX9" fmla="*/ 0 w 470630"/>
                    <a:gd name="connsiteY9" fmla="*/ 590360 h 590359"/>
                    <a:gd name="connsiteX10" fmla="*/ 470630 w 470630"/>
                    <a:gd name="connsiteY10" fmla="*/ 590360 h 590359"/>
                    <a:gd name="connsiteX11" fmla="*/ 470630 w 470630"/>
                    <a:gd name="connsiteY11" fmla="*/ 432340 h 590359"/>
                    <a:gd name="connsiteX12" fmla="*/ 194024 w 470630"/>
                    <a:gd name="connsiteY12" fmla="*/ 432340 h 590359"/>
                    <a:gd name="connsiteX13" fmla="*/ 194024 w 470630"/>
                    <a:gd name="connsiteY13" fmla="*/ 0 h 590359"/>
                    <a:gd name="connsiteX14" fmla="*/ 194024 w 470630"/>
                    <a:gd name="connsiteY14" fmla="*/ 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0630" h="590359">
                      <a:moveTo>
                        <a:pt x="185642" y="8477"/>
                      </a:moveTo>
                      <a:lnTo>
                        <a:pt x="185642" y="440722"/>
                      </a:lnTo>
                      <a:lnTo>
                        <a:pt x="462248" y="440722"/>
                      </a:lnTo>
                      <a:lnTo>
                        <a:pt x="462248" y="581978"/>
                      </a:lnTo>
                      <a:lnTo>
                        <a:pt x="8382" y="581978"/>
                      </a:lnTo>
                      <a:lnTo>
                        <a:pt x="8382" y="8477"/>
                      </a:lnTo>
                      <a:lnTo>
                        <a:pt x="185642" y="8477"/>
                      </a:lnTo>
                      <a:moveTo>
                        <a:pt x="194120" y="0"/>
                      </a:moveTo>
                      <a:lnTo>
                        <a:pt x="0" y="0"/>
                      </a:lnTo>
                      <a:lnTo>
                        <a:pt x="0" y="590360"/>
                      </a:lnTo>
                      <a:lnTo>
                        <a:pt x="470630" y="590360"/>
                      </a:lnTo>
                      <a:lnTo>
                        <a:pt x="470630" y="432340"/>
                      </a:lnTo>
                      <a:lnTo>
                        <a:pt x="194024" y="432340"/>
                      </a:lnTo>
                      <a:lnTo>
                        <a:pt x="194024" y="0"/>
                      </a:lnTo>
                      <a:lnTo>
                        <a:pt x="194024"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20" name="Graphic 566">
                <a:extLst>
                  <a:ext uri="{FF2B5EF4-FFF2-40B4-BE49-F238E27FC236}">
                    <a16:creationId xmlns:a16="http://schemas.microsoft.com/office/drawing/2014/main" id="{706C20CE-1343-46A6-9FE8-A80CAF941AFD}"/>
                  </a:ext>
                </a:extLst>
              </p:cNvPr>
              <p:cNvGrpSpPr/>
              <p:nvPr/>
            </p:nvGrpSpPr>
            <p:grpSpPr>
              <a:xfrm>
                <a:off x="9223666" y="5594407"/>
                <a:ext cx="171068" cy="514921"/>
                <a:chOff x="9223666" y="5594407"/>
                <a:chExt cx="171068" cy="514921"/>
              </a:xfrm>
              <a:solidFill>
                <a:srgbClr val="A1ABB2"/>
              </a:solidFill>
            </p:grpSpPr>
            <p:sp>
              <p:nvSpPr>
                <p:cNvPr id="930" name="Freeform: Shape 929">
                  <a:extLst>
                    <a:ext uri="{FF2B5EF4-FFF2-40B4-BE49-F238E27FC236}">
                      <a16:creationId xmlns:a16="http://schemas.microsoft.com/office/drawing/2014/main" id="{93B61380-0310-46A5-834D-DD64EED626E7}"/>
                    </a:ext>
                  </a:extLst>
                </p:cNvPr>
                <p:cNvSpPr/>
                <p:nvPr/>
              </p:nvSpPr>
              <p:spPr>
                <a:xfrm>
                  <a:off x="9227762" y="5598598"/>
                  <a:ext cx="162687" cy="506444"/>
                </a:xfrm>
                <a:custGeom>
                  <a:avLst/>
                  <a:gdLst>
                    <a:gd name="connsiteX0" fmla="*/ 162687 w 162687"/>
                    <a:gd name="connsiteY0" fmla="*/ 506444 h 506444"/>
                    <a:gd name="connsiteX1" fmla="*/ 158496 w 162687"/>
                    <a:gd name="connsiteY1" fmla="*/ 506444 h 506444"/>
                    <a:gd name="connsiteX2" fmla="*/ 4286 w 162687"/>
                    <a:gd name="connsiteY2" fmla="*/ 506444 h 506444"/>
                    <a:gd name="connsiteX3" fmla="*/ 0 w 162687"/>
                    <a:gd name="connsiteY3" fmla="*/ 506444 h 506444"/>
                    <a:gd name="connsiteX4" fmla="*/ 0 w 162687"/>
                    <a:gd name="connsiteY4" fmla="*/ 502253 h 506444"/>
                    <a:gd name="connsiteX5" fmla="*/ 0 w 162687"/>
                    <a:gd name="connsiteY5" fmla="*/ 4191 h 506444"/>
                    <a:gd name="connsiteX6" fmla="*/ 0 w 162687"/>
                    <a:gd name="connsiteY6" fmla="*/ 0 h 506444"/>
                    <a:gd name="connsiteX7" fmla="*/ 4286 w 162687"/>
                    <a:gd name="connsiteY7" fmla="*/ 0 h 506444"/>
                    <a:gd name="connsiteX8" fmla="*/ 158496 w 162687"/>
                    <a:gd name="connsiteY8" fmla="*/ 0 h 506444"/>
                    <a:gd name="connsiteX9" fmla="*/ 162687 w 162687"/>
                    <a:gd name="connsiteY9" fmla="*/ 0 h 506444"/>
                    <a:gd name="connsiteX10" fmla="*/ 162687 w 162687"/>
                    <a:gd name="connsiteY10" fmla="*/ 4191 h 506444"/>
                    <a:gd name="connsiteX11" fmla="*/ 162687 w 162687"/>
                    <a:gd name="connsiteY11" fmla="*/ 502253 h 506444"/>
                    <a:gd name="connsiteX12" fmla="*/ 162687 w 162687"/>
                    <a:gd name="connsiteY12" fmla="*/ 506444 h 506444"/>
                    <a:gd name="connsiteX13" fmla="*/ 162687 w 162687"/>
                    <a:gd name="connsiteY13"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687" h="506444">
                      <a:moveTo>
                        <a:pt x="162687" y="506444"/>
                      </a:moveTo>
                      <a:lnTo>
                        <a:pt x="158496" y="506444"/>
                      </a:lnTo>
                      <a:lnTo>
                        <a:pt x="4286" y="506444"/>
                      </a:lnTo>
                      <a:lnTo>
                        <a:pt x="0" y="506444"/>
                      </a:lnTo>
                      <a:lnTo>
                        <a:pt x="0" y="502253"/>
                      </a:lnTo>
                      <a:lnTo>
                        <a:pt x="0" y="4191"/>
                      </a:lnTo>
                      <a:lnTo>
                        <a:pt x="0" y="0"/>
                      </a:lnTo>
                      <a:lnTo>
                        <a:pt x="4286" y="0"/>
                      </a:lnTo>
                      <a:lnTo>
                        <a:pt x="158496" y="0"/>
                      </a:lnTo>
                      <a:lnTo>
                        <a:pt x="162687" y="0"/>
                      </a:lnTo>
                      <a:lnTo>
                        <a:pt x="162687" y="4191"/>
                      </a:lnTo>
                      <a:lnTo>
                        <a:pt x="162687" y="502253"/>
                      </a:lnTo>
                      <a:lnTo>
                        <a:pt x="162687" y="506444"/>
                      </a:lnTo>
                      <a:lnTo>
                        <a:pt x="162687"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31" name="Freeform: Shape 930">
                  <a:extLst>
                    <a:ext uri="{FF2B5EF4-FFF2-40B4-BE49-F238E27FC236}">
                      <a16:creationId xmlns:a16="http://schemas.microsoft.com/office/drawing/2014/main" id="{37C7AD63-FA6B-4009-B44B-D98DC1D9D57A}"/>
                    </a:ext>
                  </a:extLst>
                </p:cNvPr>
                <p:cNvSpPr/>
                <p:nvPr/>
              </p:nvSpPr>
              <p:spPr>
                <a:xfrm>
                  <a:off x="9223666" y="5594407"/>
                  <a:ext cx="171068" cy="514921"/>
                </a:xfrm>
                <a:custGeom>
                  <a:avLst/>
                  <a:gdLst>
                    <a:gd name="connsiteX0" fmla="*/ 162592 w 171068"/>
                    <a:gd name="connsiteY0" fmla="*/ 8382 h 514921"/>
                    <a:gd name="connsiteX1" fmla="*/ 162592 w 171068"/>
                    <a:gd name="connsiteY1" fmla="*/ 506444 h 514921"/>
                    <a:gd name="connsiteX2" fmla="*/ 8382 w 171068"/>
                    <a:gd name="connsiteY2" fmla="*/ 506444 h 514921"/>
                    <a:gd name="connsiteX3" fmla="*/ 8382 w 171068"/>
                    <a:gd name="connsiteY3" fmla="*/ 8382 h 514921"/>
                    <a:gd name="connsiteX4" fmla="*/ 162592 w 171068"/>
                    <a:gd name="connsiteY4" fmla="*/ 8382 h 514921"/>
                    <a:gd name="connsiteX5" fmla="*/ 171069 w 171068"/>
                    <a:gd name="connsiteY5" fmla="*/ 0 h 514921"/>
                    <a:gd name="connsiteX6" fmla="*/ 0 w 171068"/>
                    <a:gd name="connsiteY6" fmla="*/ 0 h 514921"/>
                    <a:gd name="connsiteX7" fmla="*/ 0 w 171068"/>
                    <a:gd name="connsiteY7" fmla="*/ 514921 h 514921"/>
                    <a:gd name="connsiteX8" fmla="*/ 171069 w 171068"/>
                    <a:gd name="connsiteY8" fmla="*/ 514921 h 514921"/>
                    <a:gd name="connsiteX9" fmla="*/ 171069 w 171068"/>
                    <a:gd name="connsiteY9" fmla="*/ 0 h 514921"/>
                    <a:gd name="connsiteX10" fmla="*/ 171069 w 171068"/>
                    <a:gd name="connsiteY10"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068" h="514921">
                      <a:moveTo>
                        <a:pt x="162592" y="8382"/>
                      </a:moveTo>
                      <a:lnTo>
                        <a:pt x="162592" y="506444"/>
                      </a:lnTo>
                      <a:lnTo>
                        <a:pt x="8382" y="506444"/>
                      </a:lnTo>
                      <a:lnTo>
                        <a:pt x="8382" y="8382"/>
                      </a:lnTo>
                      <a:lnTo>
                        <a:pt x="162592" y="8382"/>
                      </a:lnTo>
                      <a:moveTo>
                        <a:pt x="171069" y="0"/>
                      </a:moveTo>
                      <a:lnTo>
                        <a:pt x="0" y="0"/>
                      </a:lnTo>
                      <a:lnTo>
                        <a:pt x="0" y="514921"/>
                      </a:lnTo>
                      <a:lnTo>
                        <a:pt x="171069" y="514921"/>
                      </a:lnTo>
                      <a:lnTo>
                        <a:pt x="171069" y="0"/>
                      </a:lnTo>
                      <a:lnTo>
                        <a:pt x="17106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21" name="Graphic 566">
                <a:extLst>
                  <a:ext uri="{FF2B5EF4-FFF2-40B4-BE49-F238E27FC236}">
                    <a16:creationId xmlns:a16="http://schemas.microsoft.com/office/drawing/2014/main" id="{2ABBCA9F-EBA0-4875-988E-F77A0A24FB33}"/>
                  </a:ext>
                </a:extLst>
              </p:cNvPr>
              <p:cNvGrpSpPr/>
              <p:nvPr/>
            </p:nvGrpSpPr>
            <p:grpSpPr>
              <a:xfrm>
                <a:off x="9469030" y="5586025"/>
                <a:ext cx="524065" cy="531971"/>
                <a:chOff x="9469030" y="5586025"/>
                <a:chExt cx="524065" cy="531971"/>
              </a:xfrm>
              <a:solidFill>
                <a:srgbClr val="A1ABB2"/>
              </a:solidFill>
            </p:grpSpPr>
            <p:sp>
              <p:nvSpPr>
                <p:cNvPr id="928" name="Freeform: Shape 927">
                  <a:extLst>
                    <a:ext uri="{FF2B5EF4-FFF2-40B4-BE49-F238E27FC236}">
                      <a16:creationId xmlns:a16="http://schemas.microsoft.com/office/drawing/2014/main" id="{F6222572-1DD1-40FF-86B5-AE0F26F2C54E}"/>
                    </a:ext>
                  </a:extLst>
                </p:cNvPr>
                <p:cNvSpPr/>
                <p:nvPr/>
              </p:nvSpPr>
              <p:spPr>
                <a:xfrm>
                  <a:off x="9473316" y="5590026"/>
                  <a:ext cx="515683" cy="523589"/>
                </a:xfrm>
                <a:custGeom>
                  <a:avLst/>
                  <a:gdLst>
                    <a:gd name="connsiteX0" fmla="*/ 266224 w 515683"/>
                    <a:gd name="connsiteY0" fmla="*/ 523494 h 523589"/>
                    <a:gd name="connsiteX1" fmla="*/ 119634 w 515683"/>
                    <a:gd name="connsiteY1" fmla="*/ 492728 h 523589"/>
                    <a:gd name="connsiteX2" fmla="*/ 31242 w 515683"/>
                    <a:gd name="connsiteY2" fmla="*/ 400907 h 523589"/>
                    <a:gd name="connsiteX3" fmla="*/ 0 w 515683"/>
                    <a:gd name="connsiteY3" fmla="*/ 261652 h 523589"/>
                    <a:gd name="connsiteX4" fmla="*/ 34195 w 515683"/>
                    <a:gd name="connsiteY4" fmla="*/ 117824 h 523589"/>
                    <a:gd name="connsiteX5" fmla="*/ 134588 w 515683"/>
                    <a:gd name="connsiteY5" fmla="*/ 24479 h 523589"/>
                    <a:gd name="connsiteX6" fmla="*/ 272606 w 515683"/>
                    <a:gd name="connsiteY6" fmla="*/ 0 h 523589"/>
                    <a:gd name="connsiteX7" fmla="*/ 397574 w 515683"/>
                    <a:gd name="connsiteY7" fmla="*/ 15240 h 523589"/>
                    <a:gd name="connsiteX8" fmla="*/ 467297 w 515683"/>
                    <a:gd name="connsiteY8" fmla="*/ 62770 h 523589"/>
                    <a:gd name="connsiteX9" fmla="*/ 508730 w 515683"/>
                    <a:gd name="connsiteY9" fmla="*/ 144113 h 523589"/>
                    <a:gd name="connsiteX10" fmla="*/ 509969 w 515683"/>
                    <a:gd name="connsiteY10" fmla="*/ 148590 h 523589"/>
                    <a:gd name="connsiteX11" fmla="*/ 505397 w 515683"/>
                    <a:gd name="connsiteY11" fmla="*/ 149447 h 523589"/>
                    <a:gd name="connsiteX12" fmla="*/ 356997 w 515683"/>
                    <a:gd name="connsiteY12" fmla="*/ 175927 h 523589"/>
                    <a:gd name="connsiteX13" fmla="*/ 353378 w 515683"/>
                    <a:gd name="connsiteY13" fmla="*/ 176594 h 523589"/>
                    <a:gd name="connsiteX14" fmla="*/ 352235 w 515683"/>
                    <a:gd name="connsiteY14" fmla="*/ 173069 h 523589"/>
                    <a:gd name="connsiteX15" fmla="*/ 322802 w 515683"/>
                    <a:gd name="connsiteY15" fmla="*/ 132112 h 523589"/>
                    <a:gd name="connsiteX16" fmla="*/ 269272 w 515683"/>
                    <a:gd name="connsiteY16" fmla="*/ 117919 h 523589"/>
                    <a:gd name="connsiteX17" fmla="*/ 191738 w 515683"/>
                    <a:gd name="connsiteY17" fmla="*/ 151638 h 523589"/>
                    <a:gd name="connsiteX18" fmla="*/ 162687 w 515683"/>
                    <a:gd name="connsiteY18" fmla="*/ 260128 h 523589"/>
                    <a:gd name="connsiteX19" fmla="*/ 192024 w 515683"/>
                    <a:gd name="connsiteY19" fmla="*/ 372808 h 523589"/>
                    <a:gd name="connsiteX20" fmla="*/ 273653 w 515683"/>
                    <a:gd name="connsiteY20" fmla="*/ 406051 h 523589"/>
                    <a:gd name="connsiteX21" fmla="*/ 321659 w 515683"/>
                    <a:gd name="connsiteY21" fmla="*/ 398812 h 523589"/>
                    <a:gd name="connsiteX22" fmla="*/ 372428 w 515683"/>
                    <a:gd name="connsiteY22" fmla="*/ 374999 h 523589"/>
                    <a:gd name="connsiteX23" fmla="*/ 372428 w 515683"/>
                    <a:gd name="connsiteY23" fmla="*/ 334708 h 523589"/>
                    <a:gd name="connsiteX24" fmla="*/ 269462 w 515683"/>
                    <a:gd name="connsiteY24" fmla="*/ 334708 h 523589"/>
                    <a:gd name="connsiteX25" fmla="*/ 269462 w 515683"/>
                    <a:gd name="connsiteY25" fmla="*/ 222694 h 523589"/>
                    <a:gd name="connsiteX26" fmla="*/ 515684 w 515683"/>
                    <a:gd name="connsiteY26" fmla="*/ 222694 h 523589"/>
                    <a:gd name="connsiteX27" fmla="*/ 515684 w 515683"/>
                    <a:gd name="connsiteY27" fmla="*/ 441484 h 523589"/>
                    <a:gd name="connsiteX28" fmla="*/ 513874 w 515683"/>
                    <a:gd name="connsiteY28" fmla="*/ 442722 h 523589"/>
                    <a:gd name="connsiteX29" fmla="*/ 392049 w 515683"/>
                    <a:gd name="connsiteY29" fmla="*/ 506635 h 523589"/>
                    <a:gd name="connsiteX30" fmla="*/ 266224 w 515683"/>
                    <a:gd name="connsiteY30" fmla="*/ 523589 h 523589"/>
                    <a:gd name="connsiteX31" fmla="*/ 266224 w 515683"/>
                    <a:gd name="connsiteY31" fmla="*/ 523589 h 5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5683" h="523589">
                      <a:moveTo>
                        <a:pt x="266224" y="523494"/>
                      </a:moveTo>
                      <a:cubicBezTo>
                        <a:pt x="206693" y="523494"/>
                        <a:pt x="157353" y="513207"/>
                        <a:pt x="119634" y="492728"/>
                      </a:cubicBezTo>
                      <a:cubicBezTo>
                        <a:pt x="81820" y="472249"/>
                        <a:pt x="52007" y="441389"/>
                        <a:pt x="31242" y="400907"/>
                      </a:cubicBezTo>
                      <a:cubicBezTo>
                        <a:pt x="10478" y="360616"/>
                        <a:pt x="0" y="313753"/>
                        <a:pt x="0" y="261652"/>
                      </a:cubicBezTo>
                      <a:cubicBezTo>
                        <a:pt x="0" y="206883"/>
                        <a:pt x="11525" y="158401"/>
                        <a:pt x="34195" y="117824"/>
                      </a:cubicBezTo>
                      <a:cubicBezTo>
                        <a:pt x="56960" y="77057"/>
                        <a:pt x="90678" y="45625"/>
                        <a:pt x="134588" y="24479"/>
                      </a:cubicBezTo>
                      <a:cubicBezTo>
                        <a:pt x="168783" y="8192"/>
                        <a:pt x="215170" y="0"/>
                        <a:pt x="272606" y="0"/>
                      </a:cubicBezTo>
                      <a:cubicBezTo>
                        <a:pt x="330041" y="0"/>
                        <a:pt x="369856" y="5144"/>
                        <a:pt x="397574" y="15240"/>
                      </a:cubicBezTo>
                      <a:cubicBezTo>
                        <a:pt x="425387" y="25432"/>
                        <a:pt x="448818" y="41434"/>
                        <a:pt x="467297" y="62770"/>
                      </a:cubicBezTo>
                      <a:cubicBezTo>
                        <a:pt x="485585" y="84106"/>
                        <a:pt x="499586" y="111442"/>
                        <a:pt x="508730" y="144113"/>
                      </a:cubicBezTo>
                      <a:lnTo>
                        <a:pt x="509969" y="148590"/>
                      </a:lnTo>
                      <a:lnTo>
                        <a:pt x="505397" y="149447"/>
                      </a:lnTo>
                      <a:lnTo>
                        <a:pt x="356997" y="175927"/>
                      </a:lnTo>
                      <a:lnTo>
                        <a:pt x="353378" y="176594"/>
                      </a:lnTo>
                      <a:lnTo>
                        <a:pt x="352235" y="173069"/>
                      </a:lnTo>
                      <a:cubicBezTo>
                        <a:pt x="346424" y="155257"/>
                        <a:pt x="336518" y="141446"/>
                        <a:pt x="322802" y="132112"/>
                      </a:cubicBezTo>
                      <a:cubicBezTo>
                        <a:pt x="308991" y="122682"/>
                        <a:pt x="290989" y="117919"/>
                        <a:pt x="269272" y="117919"/>
                      </a:cubicBezTo>
                      <a:cubicBezTo>
                        <a:pt x="236982" y="117919"/>
                        <a:pt x="210884" y="129254"/>
                        <a:pt x="191738" y="151638"/>
                      </a:cubicBezTo>
                      <a:cubicBezTo>
                        <a:pt x="172498" y="174212"/>
                        <a:pt x="162687" y="210693"/>
                        <a:pt x="162687" y="260128"/>
                      </a:cubicBezTo>
                      <a:cubicBezTo>
                        <a:pt x="162687" y="312706"/>
                        <a:pt x="172593" y="350615"/>
                        <a:pt x="192024" y="372808"/>
                      </a:cubicBezTo>
                      <a:cubicBezTo>
                        <a:pt x="211360" y="394907"/>
                        <a:pt x="238792" y="406051"/>
                        <a:pt x="273653" y="406051"/>
                      </a:cubicBezTo>
                      <a:cubicBezTo>
                        <a:pt x="290322" y="406051"/>
                        <a:pt x="306515" y="403574"/>
                        <a:pt x="321659" y="398812"/>
                      </a:cubicBezTo>
                      <a:cubicBezTo>
                        <a:pt x="336423" y="394049"/>
                        <a:pt x="353378" y="386048"/>
                        <a:pt x="372428" y="374999"/>
                      </a:cubicBezTo>
                      <a:lnTo>
                        <a:pt x="372428" y="334708"/>
                      </a:lnTo>
                      <a:lnTo>
                        <a:pt x="269462" y="334708"/>
                      </a:lnTo>
                      <a:lnTo>
                        <a:pt x="269462" y="222694"/>
                      </a:lnTo>
                      <a:lnTo>
                        <a:pt x="515684" y="222694"/>
                      </a:lnTo>
                      <a:lnTo>
                        <a:pt x="515684" y="441484"/>
                      </a:lnTo>
                      <a:lnTo>
                        <a:pt x="513874" y="442722"/>
                      </a:lnTo>
                      <a:cubicBezTo>
                        <a:pt x="468249" y="473869"/>
                        <a:pt x="427196" y="495300"/>
                        <a:pt x="392049" y="506635"/>
                      </a:cubicBezTo>
                      <a:cubicBezTo>
                        <a:pt x="356807" y="517874"/>
                        <a:pt x="314516" y="523589"/>
                        <a:pt x="266224" y="523589"/>
                      </a:cubicBezTo>
                      <a:lnTo>
                        <a:pt x="266224" y="5235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29" name="Freeform: Shape 928">
                  <a:extLst>
                    <a:ext uri="{FF2B5EF4-FFF2-40B4-BE49-F238E27FC236}">
                      <a16:creationId xmlns:a16="http://schemas.microsoft.com/office/drawing/2014/main" id="{BA7F847A-43F6-4C84-9119-D67FE6E1E4C3}"/>
                    </a:ext>
                  </a:extLst>
                </p:cNvPr>
                <p:cNvSpPr/>
                <p:nvPr/>
              </p:nvSpPr>
              <p:spPr>
                <a:xfrm>
                  <a:off x="9469030" y="5586025"/>
                  <a:ext cx="524065" cy="531971"/>
                </a:xfrm>
                <a:custGeom>
                  <a:avLst/>
                  <a:gdLst>
                    <a:gd name="connsiteX0" fmla="*/ 276987 w 524065"/>
                    <a:gd name="connsiteY0" fmla="*/ 8287 h 531971"/>
                    <a:gd name="connsiteX1" fmla="*/ 400431 w 524065"/>
                    <a:gd name="connsiteY1" fmla="*/ 23241 h 531971"/>
                    <a:gd name="connsiteX2" fmla="*/ 468344 w 524065"/>
                    <a:gd name="connsiteY2" fmla="*/ 69628 h 531971"/>
                    <a:gd name="connsiteX3" fmla="*/ 508921 w 524065"/>
                    <a:gd name="connsiteY3" fmla="*/ 149257 h 531971"/>
                    <a:gd name="connsiteX4" fmla="*/ 360521 w 524065"/>
                    <a:gd name="connsiteY4" fmla="*/ 175736 h 531971"/>
                    <a:gd name="connsiteX5" fmla="*/ 329470 w 524065"/>
                    <a:gd name="connsiteY5" fmla="*/ 132588 h 531971"/>
                    <a:gd name="connsiteX6" fmla="*/ 273558 w 524065"/>
                    <a:gd name="connsiteY6" fmla="*/ 117634 h 531971"/>
                    <a:gd name="connsiteX7" fmla="*/ 192881 w 524065"/>
                    <a:gd name="connsiteY7" fmla="*/ 152781 h 531971"/>
                    <a:gd name="connsiteX8" fmla="*/ 162782 w 524065"/>
                    <a:gd name="connsiteY8" fmla="*/ 264033 h 531971"/>
                    <a:gd name="connsiteX9" fmla="*/ 193167 w 524065"/>
                    <a:gd name="connsiteY9" fmla="*/ 379571 h 531971"/>
                    <a:gd name="connsiteX10" fmla="*/ 277940 w 524065"/>
                    <a:gd name="connsiteY10" fmla="*/ 414242 h 531971"/>
                    <a:gd name="connsiteX11" fmla="*/ 327184 w 524065"/>
                    <a:gd name="connsiteY11" fmla="*/ 406813 h 531971"/>
                    <a:gd name="connsiteX12" fmla="*/ 380810 w 524065"/>
                    <a:gd name="connsiteY12" fmla="*/ 381381 h 531971"/>
                    <a:gd name="connsiteX13" fmla="*/ 380810 w 524065"/>
                    <a:gd name="connsiteY13" fmla="*/ 334518 h 531971"/>
                    <a:gd name="connsiteX14" fmla="*/ 277844 w 524065"/>
                    <a:gd name="connsiteY14" fmla="*/ 334518 h 531971"/>
                    <a:gd name="connsiteX15" fmla="*/ 277844 w 524065"/>
                    <a:gd name="connsiteY15" fmla="*/ 230886 h 531971"/>
                    <a:gd name="connsiteX16" fmla="*/ 515684 w 524065"/>
                    <a:gd name="connsiteY16" fmla="*/ 230886 h 531971"/>
                    <a:gd name="connsiteX17" fmla="*/ 515684 w 524065"/>
                    <a:gd name="connsiteY17" fmla="*/ 443198 h 531971"/>
                    <a:gd name="connsiteX18" fmla="*/ 394907 w 524065"/>
                    <a:gd name="connsiteY18" fmla="*/ 506540 h 531971"/>
                    <a:gd name="connsiteX19" fmla="*/ 270415 w 524065"/>
                    <a:gd name="connsiteY19" fmla="*/ 523303 h 531971"/>
                    <a:gd name="connsiteX20" fmla="*/ 125825 w 524065"/>
                    <a:gd name="connsiteY20" fmla="*/ 493109 h 531971"/>
                    <a:gd name="connsiteX21" fmla="*/ 39243 w 524065"/>
                    <a:gd name="connsiteY21" fmla="*/ 403098 h 531971"/>
                    <a:gd name="connsiteX22" fmla="*/ 8477 w 524065"/>
                    <a:gd name="connsiteY22" fmla="*/ 265843 h 531971"/>
                    <a:gd name="connsiteX23" fmla="*/ 42100 w 524065"/>
                    <a:gd name="connsiteY23" fmla="*/ 124015 h 531971"/>
                    <a:gd name="connsiteX24" fmla="*/ 140589 w 524065"/>
                    <a:gd name="connsiteY24" fmla="*/ 32480 h 531971"/>
                    <a:gd name="connsiteX25" fmla="*/ 276796 w 524065"/>
                    <a:gd name="connsiteY25" fmla="*/ 8382 h 531971"/>
                    <a:gd name="connsiteX26" fmla="*/ 276796 w 524065"/>
                    <a:gd name="connsiteY26" fmla="*/ 0 h 531971"/>
                    <a:gd name="connsiteX27" fmla="*/ 136874 w 524065"/>
                    <a:gd name="connsiteY27" fmla="*/ 24955 h 531971"/>
                    <a:gd name="connsiteX28" fmla="*/ 34671 w 524065"/>
                    <a:gd name="connsiteY28" fmla="*/ 120015 h 531971"/>
                    <a:gd name="connsiteX29" fmla="*/ 0 w 524065"/>
                    <a:gd name="connsiteY29" fmla="*/ 265938 h 531971"/>
                    <a:gd name="connsiteX30" fmla="*/ 31623 w 524065"/>
                    <a:gd name="connsiteY30" fmla="*/ 407098 h 531971"/>
                    <a:gd name="connsiteX31" fmla="*/ 121729 w 524065"/>
                    <a:gd name="connsiteY31" fmla="*/ 500729 h 531971"/>
                    <a:gd name="connsiteX32" fmla="*/ 270320 w 524065"/>
                    <a:gd name="connsiteY32" fmla="*/ 531971 h 531971"/>
                    <a:gd name="connsiteX33" fmla="*/ 397383 w 524065"/>
                    <a:gd name="connsiteY33" fmla="*/ 514731 h 531971"/>
                    <a:gd name="connsiteX34" fmla="*/ 520351 w 524065"/>
                    <a:gd name="connsiteY34" fmla="*/ 450342 h 531971"/>
                    <a:gd name="connsiteX35" fmla="*/ 524066 w 524065"/>
                    <a:gd name="connsiteY35" fmla="*/ 447770 h 531971"/>
                    <a:gd name="connsiteX36" fmla="*/ 524066 w 524065"/>
                    <a:gd name="connsiteY36" fmla="*/ 222599 h 531971"/>
                    <a:gd name="connsiteX37" fmla="*/ 269367 w 524065"/>
                    <a:gd name="connsiteY37" fmla="*/ 222599 h 531971"/>
                    <a:gd name="connsiteX38" fmla="*/ 269367 w 524065"/>
                    <a:gd name="connsiteY38" fmla="*/ 343090 h 531971"/>
                    <a:gd name="connsiteX39" fmla="*/ 372332 w 524065"/>
                    <a:gd name="connsiteY39" fmla="*/ 343090 h 531971"/>
                    <a:gd name="connsiteX40" fmla="*/ 372332 w 524065"/>
                    <a:gd name="connsiteY40" fmla="*/ 376714 h 531971"/>
                    <a:gd name="connsiteX41" fmla="*/ 324517 w 524065"/>
                    <a:gd name="connsiteY41" fmla="*/ 399002 h 531971"/>
                    <a:gd name="connsiteX42" fmla="*/ 277844 w 524065"/>
                    <a:gd name="connsiteY42" fmla="*/ 406051 h 531971"/>
                    <a:gd name="connsiteX43" fmla="*/ 199454 w 524065"/>
                    <a:gd name="connsiteY43" fmla="*/ 374237 h 531971"/>
                    <a:gd name="connsiteX44" fmla="*/ 171164 w 524065"/>
                    <a:gd name="connsiteY44" fmla="*/ 264319 h 531971"/>
                    <a:gd name="connsiteX45" fmla="*/ 199168 w 524065"/>
                    <a:gd name="connsiteY45" fmla="*/ 158496 h 531971"/>
                    <a:gd name="connsiteX46" fmla="*/ 273463 w 524065"/>
                    <a:gd name="connsiteY46" fmla="*/ 126301 h 531971"/>
                    <a:gd name="connsiteX47" fmla="*/ 324612 w 524065"/>
                    <a:gd name="connsiteY47" fmla="*/ 139732 h 531971"/>
                    <a:gd name="connsiteX48" fmla="*/ 352425 w 524065"/>
                    <a:gd name="connsiteY48" fmla="*/ 178498 h 531971"/>
                    <a:gd name="connsiteX49" fmla="*/ 354711 w 524065"/>
                    <a:gd name="connsiteY49" fmla="*/ 185547 h 531971"/>
                    <a:gd name="connsiteX50" fmla="*/ 361950 w 524065"/>
                    <a:gd name="connsiteY50" fmla="*/ 184214 h 531971"/>
                    <a:gd name="connsiteX51" fmla="*/ 510445 w 524065"/>
                    <a:gd name="connsiteY51" fmla="*/ 157734 h 531971"/>
                    <a:gd name="connsiteX52" fmla="*/ 519589 w 524065"/>
                    <a:gd name="connsiteY52" fmla="*/ 156115 h 531971"/>
                    <a:gd name="connsiteX53" fmla="*/ 517112 w 524065"/>
                    <a:gd name="connsiteY53" fmla="*/ 147161 h 531971"/>
                    <a:gd name="connsiteX54" fmla="*/ 474821 w 524065"/>
                    <a:gd name="connsiteY54" fmla="*/ 64294 h 531971"/>
                    <a:gd name="connsiteX55" fmla="*/ 403384 w 524065"/>
                    <a:gd name="connsiteY55" fmla="*/ 15526 h 531971"/>
                    <a:gd name="connsiteX56" fmla="*/ 276987 w 524065"/>
                    <a:gd name="connsiteY56" fmla="*/ 95 h 531971"/>
                    <a:gd name="connsiteX57" fmla="*/ 276987 w 524065"/>
                    <a:gd name="connsiteY57" fmla="*/ 95 h 53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24065" h="531971">
                      <a:moveTo>
                        <a:pt x="276987" y="8287"/>
                      </a:moveTo>
                      <a:cubicBezTo>
                        <a:pt x="332042" y="8287"/>
                        <a:pt x="373190" y="13240"/>
                        <a:pt x="400431" y="23241"/>
                      </a:cubicBezTo>
                      <a:cubicBezTo>
                        <a:pt x="427768" y="33242"/>
                        <a:pt x="450437" y="48673"/>
                        <a:pt x="468344" y="69628"/>
                      </a:cubicBezTo>
                      <a:cubicBezTo>
                        <a:pt x="486346" y="90583"/>
                        <a:pt x="499872" y="117157"/>
                        <a:pt x="508921" y="149257"/>
                      </a:cubicBezTo>
                      <a:lnTo>
                        <a:pt x="360521" y="175736"/>
                      </a:lnTo>
                      <a:cubicBezTo>
                        <a:pt x="354330" y="156972"/>
                        <a:pt x="344043" y="142589"/>
                        <a:pt x="329470" y="132588"/>
                      </a:cubicBezTo>
                      <a:cubicBezTo>
                        <a:pt x="314801" y="122682"/>
                        <a:pt x="296228" y="117634"/>
                        <a:pt x="273558" y="117634"/>
                      </a:cubicBezTo>
                      <a:cubicBezTo>
                        <a:pt x="239744" y="117634"/>
                        <a:pt x="212884" y="129349"/>
                        <a:pt x="192881" y="152781"/>
                      </a:cubicBezTo>
                      <a:cubicBezTo>
                        <a:pt x="172879" y="176212"/>
                        <a:pt x="162782" y="213360"/>
                        <a:pt x="162782" y="264033"/>
                      </a:cubicBezTo>
                      <a:cubicBezTo>
                        <a:pt x="162782" y="317944"/>
                        <a:pt x="172879" y="356425"/>
                        <a:pt x="193167" y="379571"/>
                      </a:cubicBezTo>
                      <a:cubicBezTo>
                        <a:pt x="213455" y="402717"/>
                        <a:pt x="241649" y="414242"/>
                        <a:pt x="277940" y="414242"/>
                      </a:cubicBezTo>
                      <a:cubicBezTo>
                        <a:pt x="295180" y="414242"/>
                        <a:pt x="311563" y="411766"/>
                        <a:pt x="327184" y="406813"/>
                      </a:cubicBezTo>
                      <a:cubicBezTo>
                        <a:pt x="342805" y="401860"/>
                        <a:pt x="360712" y="393287"/>
                        <a:pt x="380810" y="381381"/>
                      </a:cubicBezTo>
                      <a:lnTo>
                        <a:pt x="380810" y="334518"/>
                      </a:lnTo>
                      <a:lnTo>
                        <a:pt x="277844" y="334518"/>
                      </a:lnTo>
                      <a:lnTo>
                        <a:pt x="277844" y="230886"/>
                      </a:lnTo>
                      <a:lnTo>
                        <a:pt x="515684" y="230886"/>
                      </a:lnTo>
                      <a:lnTo>
                        <a:pt x="515684" y="443198"/>
                      </a:lnTo>
                      <a:cubicBezTo>
                        <a:pt x="470154" y="474250"/>
                        <a:pt x="429863" y="495300"/>
                        <a:pt x="394907" y="506540"/>
                      </a:cubicBezTo>
                      <a:cubicBezTo>
                        <a:pt x="359950" y="517779"/>
                        <a:pt x="318421" y="523303"/>
                        <a:pt x="270415" y="523303"/>
                      </a:cubicBezTo>
                      <a:cubicBezTo>
                        <a:pt x="211265" y="523303"/>
                        <a:pt x="163163" y="513302"/>
                        <a:pt x="125825" y="493109"/>
                      </a:cubicBezTo>
                      <a:cubicBezTo>
                        <a:pt x="88583" y="472916"/>
                        <a:pt x="59722" y="442912"/>
                        <a:pt x="39243" y="403098"/>
                      </a:cubicBezTo>
                      <a:cubicBezTo>
                        <a:pt x="18764" y="363283"/>
                        <a:pt x="8477" y="317468"/>
                        <a:pt x="8477" y="265843"/>
                      </a:cubicBezTo>
                      <a:cubicBezTo>
                        <a:pt x="8477" y="211550"/>
                        <a:pt x="19717" y="164211"/>
                        <a:pt x="42100" y="124015"/>
                      </a:cubicBezTo>
                      <a:cubicBezTo>
                        <a:pt x="64484" y="83820"/>
                        <a:pt x="97346" y="53340"/>
                        <a:pt x="140589" y="32480"/>
                      </a:cubicBezTo>
                      <a:cubicBezTo>
                        <a:pt x="174308" y="16383"/>
                        <a:pt x="219742" y="8382"/>
                        <a:pt x="276796" y="8382"/>
                      </a:cubicBezTo>
                      <a:moveTo>
                        <a:pt x="276796" y="0"/>
                      </a:moveTo>
                      <a:cubicBezTo>
                        <a:pt x="218694" y="0"/>
                        <a:pt x="171641" y="8382"/>
                        <a:pt x="136874" y="24955"/>
                      </a:cubicBezTo>
                      <a:cubicBezTo>
                        <a:pt x="92202" y="46482"/>
                        <a:pt x="57817" y="78486"/>
                        <a:pt x="34671" y="120015"/>
                      </a:cubicBezTo>
                      <a:cubicBezTo>
                        <a:pt x="11621" y="161353"/>
                        <a:pt x="0" y="210407"/>
                        <a:pt x="0" y="265938"/>
                      </a:cubicBezTo>
                      <a:cubicBezTo>
                        <a:pt x="0" y="321469"/>
                        <a:pt x="10668" y="366236"/>
                        <a:pt x="31623" y="407098"/>
                      </a:cubicBezTo>
                      <a:cubicBezTo>
                        <a:pt x="52864" y="448342"/>
                        <a:pt x="83153" y="479774"/>
                        <a:pt x="121729" y="500729"/>
                      </a:cubicBezTo>
                      <a:cubicBezTo>
                        <a:pt x="160020" y="521494"/>
                        <a:pt x="210026" y="531971"/>
                        <a:pt x="270320" y="531971"/>
                      </a:cubicBezTo>
                      <a:cubicBezTo>
                        <a:pt x="318992" y="531971"/>
                        <a:pt x="361760" y="526161"/>
                        <a:pt x="397383" y="514731"/>
                      </a:cubicBezTo>
                      <a:cubicBezTo>
                        <a:pt x="433007" y="503301"/>
                        <a:pt x="474345" y="481679"/>
                        <a:pt x="520351" y="450342"/>
                      </a:cubicBezTo>
                      <a:lnTo>
                        <a:pt x="524066" y="447770"/>
                      </a:lnTo>
                      <a:lnTo>
                        <a:pt x="524066" y="222599"/>
                      </a:lnTo>
                      <a:lnTo>
                        <a:pt x="269367" y="222599"/>
                      </a:lnTo>
                      <a:lnTo>
                        <a:pt x="269367" y="343090"/>
                      </a:lnTo>
                      <a:lnTo>
                        <a:pt x="372332" y="343090"/>
                      </a:lnTo>
                      <a:lnTo>
                        <a:pt x="372332" y="376714"/>
                      </a:lnTo>
                      <a:cubicBezTo>
                        <a:pt x="354521" y="387001"/>
                        <a:pt x="338423" y="394525"/>
                        <a:pt x="324517" y="399002"/>
                      </a:cubicBezTo>
                      <a:cubicBezTo>
                        <a:pt x="309848" y="403669"/>
                        <a:pt x="294132" y="406051"/>
                        <a:pt x="277844" y="406051"/>
                      </a:cubicBezTo>
                      <a:cubicBezTo>
                        <a:pt x="243840" y="406051"/>
                        <a:pt x="218218" y="395669"/>
                        <a:pt x="199454" y="374237"/>
                      </a:cubicBezTo>
                      <a:cubicBezTo>
                        <a:pt x="180689" y="352806"/>
                        <a:pt x="171164" y="315849"/>
                        <a:pt x="171164" y="264319"/>
                      </a:cubicBezTo>
                      <a:cubicBezTo>
                        <a:pt x="171164" y="215932"/>
                        <a:pt x="180594" y="180308"/>
                        <a:pt x="199168" y="158496"/>
                      </a:cubicBezTo>
                      <a:cubicBezTo>
                        <a:pt x="217742" y="136779"/>
                        <a:pt x="242030" y="126301"/>
                        <a:pt x="273463" y="126301"/>
                      </a:cubicBezTo>
                      <a:cubicBezTo>
                        <a:pt x="294227" y="126301"/>
                        <a:pt x="311467" y="130778"/>
                        <a:pt x="324612" y="139732"/>
                      </a:cubicBezTo>
                      <a:cubicBezTo>
                        <a:pt x="337757" y="148685"/>
                        <a:pt x="346805" y="161353"/>
                        <a:pt x="352425" y="178498"/>
                      </a:cubicBezTo>
                      <a:lnTo>
                        <a:pt x="354711" y="185547"/>
                      </a:lnTo>
                      <a:lnTo>
                        <a:pt x="361950" y="184214"/>
                      </a:lnTo>
                      <a:lnTo>
                        <a:pt x="510445" y="157734"/>
                      </a:lnTo>
                      <a:lnTo>
                        <a:pt x="519589" y="156115"/>
                      </a:lnTo>
                      <a:lnTo>
                        <a:pt x="517112" y="147161"/>
                      </a:lnTo>
                      <a:cubicBezTo>
                        <a:pt x="507778" y="114014"/>
                        <a:pt x="493490" y="86011"/>
                        <a:pt x="474821" y="64294"/>
                      </a:cubicBezTo>
                      <a:cubicBezTo>
                        <a:pt x="455962" y="42291"/>
                        <a:pt x="431864" y="25908"/>
                        <a:pt x="403384" y="15526"/>
                      </a:cubicBezTo>
                      <a:cubicBezTo>
                        <a:pt x="375285" y="5239"/>
                        <a:pt x="332804" y="95"/>
                        <a:pt x="276987" y="95"/>
                      </a:cubicBezTo>
                      <a:lnTo>
                        <a:pt x="276987" y="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22" name="Graphic 566">
                <a:extLst>
                  <a:ext uri="{FF2B5EF4-FFF2-40B4-BE49-F238E27FC236}">
                    <a16:creationId xmlns:a16="http://schemas.microsoft.com/office/drawing/2014/main" id="{C71E6A94-9C38-4181-9F6A-A8FEB4F16EFF}"/>
                  </a:ext>
                </a:extLst>
              </p:cNvPr>
              <p:cNvGrpSpPr/>
              <p:nvPr/>
            </p:nvGrpSpPr>
            <p:grpSpPr>
              <a:xfrm>
                <a:off x="10068533" y="5594407"/>
                <a:ext cx="493490" cy="514921"/>
                <a:chOff x="10068533" y="5594407"/>
                <a:chExt cx="493490" cy="514921"/>
              </a:xfrm>
              <a:solidFill>
                <a:srgbClr val="A1ABB2"/>
              </a:solidFill>
            </p:grpSpPr>
            <p:sp>
              <p:nvSpPr>
                <p:cNvPr id="926" name="Freeform: Shape 925">
                  <a:extLst>
                    <a:ext uri="{FF2B5EF4-FFF2-40B4-BE49-F238E27FC236}">
                      <a16:creationId xmlns:a16="http://schemas.microsoft.com/office/drawing/2014/main" id="{B2ED2596-66F6-467F-A0AE-D440577CB6AA}"/>
                    </a:ext>
                  </a:extLst>
                </p:cNvPr>
                <p:cNvSpPr/>
                <p:nvPr/>
              </p:nvSpPr>
              <p:spPr>
                <a:xfrm>
                  <a:off x="10072724" y="5598598"/>
                  <a:ext cx="485108" cy="506444"/>
                </a:xfrm>
                <a:custGeom>
                  <a:avLst/>
                  <a:gdLst>
                    <a:gd name="connsiteX0" fmla="*/ 485108 w 485108"/>
                    <a:gd name="connsiteY0" fmla="*/ 506444 h 506444"/>
                    <a:gd name="connsiteX1" fmla="*/ 480822 w 485108"/>
                    <a:gd name="connsiteY1" fmla="*/ 506444 h 506444"/>
                    <a:gd name="connsiteX2" fmla="*/ 326231 w 485108"/>
                    <a:gd name="connsiteY2" fmla="*/ 506444 h 506444"/>
                    <a:gd name="connsiteX3" fmla="*/ 322040 w 485108"/>
                    <a:gd name="connsiteY3" fmla="*/ 506444 h 506444"/>
                    <a:gd name="connsiteX4" fmla="*/ 322040 w 485108"/>
                    <a:gd name="connsiteY4" fmla="*/ 502253 h 506444"/>
                    <a:gd name="connsiteX5" fmla="*/ 322040 w 485108"/>
                    <a:gd name="connsiteY5" fmla="*/ 304991 h 506444"/>
                    <a:gd name="connsiteX6" fmla="*/ 162306 w 485108"/>
                    <a:gd name="connsiteY6" fmla="*/ 304991 h 506444"/>
                    <a:gd name="connsiteX7" fmla="*/ 162306 w 485108"/>
                    <a:gd name="connsiteY7" fmla="*/ 502253 h 506444"/>
                    <a:gd name="connsiteX8" fmla="*/ 162306 w 485108"/>
                    <a:gd name="connsiteY8" fmla="*/ 506444 h 506444"/>
                    <a:gd name="connsiteX9" fmla="*/ 158115 w 485108"/>
                    <a:gd name="connsiteY9" fmla="*/ 506444 h 506444"/>
                    <a:gd name="connsiteX10" fmla="*/ 4191 w 485108"/>
                    <a:gd name="connsiteY10" fmla="*/ 506444 h 506444"/>
                    <a:gd name="connsiteX11" fmla="*/ 0 w 485108"/>
                    <a:gd name="connsiteY11" fmla="*/ 506444 h 506444"/>
                    <a:gd name="connsiteX12" fmla="*/ 0 w 485108"/>
                    <a:gd name="connsiteY12" fmla="*/ 502253 h 506444"/>
                    <a:gd name="connsiteX13" fmla="*/ 0 w 485108"/>
                    <a:gd name="connsiteY13" fmla="*/ 4191 h 506444"/>
                    <a:gd name="connsiteX14" fmla="*/ 0 w 485108"/>
                    <a:gd name="connsiteY14" fmla="*/ 0 h 506444"/>
                    <a:gd name="connsiteX15" fmla="*/ 4191 w 485108"/>
                    <a:gd name="connsiteY15" fmla="*/ 0 h 506444"/>
                    <a:gd name="connsiteX16" fmla="*/ 158115 w 485108"/>
                    <a:gd name="connsiteY16" fmla="*/ 0 h 506444"/>
                    <a:gd name="connsiteX17" fmla="*/ 162306 w 485108"/>
                    <a:gd name="connsiteY17" fmla="*/ 0 h 506444"/>
                    <a:gd name="connsiteX18" fmla="*/ 162306 w 485108"/>
                    <a:gd name="connsiteY18" fmla="*/ 4191 h 506444"/>
                    <a:gd name="connsiteX19" fmla="*/ 162306 w 485108"/>
                    <a:gd name="connsiteY19" fmla="*/ 174308 h 506444"/>
                    <a:gd name="connsiteX20" fmla="*/ 322040 w 485108"/>
                    <a:gd name="connsiteY20" fmla="*/ 174308 h 506444"/>
                    <a:gd name="connsiteX21" fmla="*/ 322040 w 485108"/>
                    <a:gd name="connsiteY21" fmla="*/ 4191 h 506444"/>
                    <a:gd name="connsiteX22" fmla="*/ 322040 w 485108"/>
                    <a:gd name="connsiteY22" fmla="*/ 0 h 506444"/>
                    <a:gd name="connsiteX23" fmla="*/ 326231 w 485108"/>
                    <a:gd name="connsiteY23" fmla="*/ 0 h 506444"/>
                    <a:gd name="connsiteX24" fmla="*/ 480822 w 485108"/>
                    <a:gd name="connsiteY24" fmla="*/ 0 h 506444"/>
                    <a:gd name="connsiteX25" fmla="*/ 485108 w 485108"/>
                    <a:gd name="connsiteY25" fmla="*/ 0 h 506444"/>
                    <a:gd name="connsiteX26" fmla="*/ 485108 w 485108"/>
                    <a:gd name="connsiteY26" fmla="*/ 4191 h 506444"/>
                    <a:gd name="connsiteX27" fmla="*/ 485108 w 485108"/>
                    <a:gd name="connsiteY27" fmla="*/ 502253 h 506444"/>
                    <a:gd name="connsiteX28" fmla="*/ 485108 w 485108"/>
                    <a:gd name="connsiteY28" fmla="*/ 506444 h 506444"/>
                    <a:gd name="connsiteX29" fmla="*/ 485108 w 485108"/>
                    <a:gd name="connsiteY29"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5108" h="506444">
                      <a:moveTo>
                        <a:pt x="485108" y="506444"/>
                      </a:moveTo>
                      <a:lnTo>
                        <a:pt x="480822" y="506444"/>
                      </a:lnTo>
                      <a:lnTo>
                        <a:pt x="326231" y="506444"/>
                      </a:lnTo>
                      <a:lnTo>
                        <a:pt x="322040" y="506444"/>
                      </a:lnTo>
                      <a:lnTo>
                        <a:pt x="322040" y="502253"/>
                      </a:lnTo>
                      <a:lnTo>
                        <a:pt x="322040" y="304991"/>
                      </a:lnTo>
                      <a:lnTo>
                        <a:pt x="162306" y="304991"/>
                      </a:lnTo>
                      <a:lnTo>
                        <a:pt x="162306" y="502253"/>
                      </a:lnTo>
                      <a:lnTo>
                        <a:pt x="162306" y="506444"/>
                      </a:lnTo>
                      <a:lnTo>
                        <a:pt x="158115" y="506444"/>
                      </a:lnTo>
                      <a:lnTo>
                        <a:pt x="4191" y="506444"/>
                      </a:lnTo>
                      <a:lnTo>
                        <a:pt x="0" y="506444"/>
                      </a:lnTo>
                      <a:lnTo>
                        <a:pt x="0" y="502253"/>
                      </a:lnTo>
                      <a:lnTo>
                        <a:pt x="0" y="4191"/>
                      </a:lnTo>
                      <a:lnTo>
                        <a:pt x="0" y="0"/>
                      </a:lnTo>
                      <a:lnTo>
                        <a:pt x="4191" y="0"/>
                      </a:lnTo>
                      <a:lnTo>
                        <a:pt x="158115" y="0"/>
                      </a:lnTo>
                      <a:lnTo>
                        <a:pt x="162306" y="0"/>
                      </a:lnTo>
                      <a:lnTo>
                        <a:pt x="162306" y="4191"/>
                      </a:lnTo>
                      <a:lnTo>
                        <a:pt x="162306" y="174308"/>
                      </a:lnTo>
                      <a:lnTo>
                        <a:pt x="322040" y="174308"/>
                      </a:lnTo>
                      <a:lnTo>
                        <a:pt x="322040" y="4191"/>
                      </a:lnTo>
                      <a:lnTo>
                        <a:pt x="322040" y="0"/>
                      </a:lnTo>
                      <a:lnTo>
                        <a:pt x="326231" y="0"/>
                      </a:lnTo>
                      <a:lnTo>
                        <a:pt x="480822" y="0"/>
                      </a:lnTo>
                      <a:lnTo>
                        <a:pt x="485108" y="0"/>
                      </a:lnTo>
                      <a:lnTo>
                        <a:pt x="485108" y="4191"/>
                      </a:lnTo>
                      <a:lnTo>
                        <a:pt x="485108" y="502253"/>
                      </a:lnTo>
                      <a:lnTo>
                        <a:pt x="485108" y="506444"/>
                      </a:lnTo>
                      <a:lnTo>
                        <a:pt x="485108"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27" name="Freeform: Shape 926">
                  <a:extLst>
                    <a:ext uri="{FF2B5EF4-FFF2-40B4-BE49-F238E27FC236}">
                      <a16:creationId xmlns:a16="http://schemas.microsoft.com/office/drawing/2014/main" id="{D4F706AF-EB48-44EB-8015-8D1AB94A571E}"/>
                    </a:ext>
                  </a:extLst>
                </p:cNvPr>
                <p:cNvSpPr/>
                <p:nvPr/>
              </p:nvSpPr>
              <p:spPr>
                <a:xfrm>
                  <a:off x="10068533" y="5594407"/>
                  <a:ext cx="493490" cy="514921"/>
                </a:xfrm>
                <a:custGeom>
                  <a:avLst/>
                  <a:gdLst>
                    <a:gd name="connsiteX0" fmla="*/ 485013 w 493490"/>
                    <a:gd name="connsiteY0" fmla="*/ 8382 h 514921"/>
                    <a:gd name="connsiteX1" fmla="*/ 485013 w 493490"/>
                    <a:gd name="connsiteY1" fmla="*/ 506444 h 514921"/>
                    <a:gd name="connsiteX2" fmla="*/ 330422 w 493490"/>
                    <a:gd name="connsiteY2" fmla="*/ 506444 h 514921"/>
                    <a:gd name="connsiteX3" fmla="*/ 330422 w 493490"/>
                    <a:gd name="connsiteY3" fmla="*/ 304991 h 514921"/>
                    <a:gd name="connsiteX4" fmla="*/ 162306 w 493490"/>
                    <a:gd name="connsiteY4" fmla="*/ 304991 h 514921"/>
                    <a:gd name="connsiteX5" fmla="*/ 162306 w 493490"/>
                    <a:gd name="connsiteY5" fmla="*/ 506444 h 514921"/>
                    <a:gd name="connsiteX6" fmla="*/ 8382 w 493490"/>
                    <a:gd name="connsiteY6" fmla="*/ 506444 h 514921"/>
                    <a:gd name="connsiteX7" fmla="*/ 8382 w 493490"/>
                    <a:gd name="connsiteY7" fmla="*/ 8382 h 514921"/>
                    <a:gd name="connsiteX8" fmla="*/ 162306 w 493490"/>
                    <a:gd name="connsiteY8" fmla="*/ 8382 h 514921"/>
                    <a:gd name="connsiteX9" fmla="*/ 162306 w 493490"/>
                    <a:gd name="connsiteY9" fmla="*/ 182689 h 514921"/>
                    <a:gd name="connsiteX10" fmla="*/ 330422 w 493490"/>
                    <a:gd name="connsiteY10" fmla="*/ 182689 h 514921"/>
                    <a:gd name="connsiteX11" fmla="*/ 330422 w 493490"/>
                    <a:gd name="connsiteY11" fmla="*/ 8382 h 514921"/>
                    <a:gd name="connsiteX12" fmla="*/ 485013 w 493490"/>
                    <a:gd name="connsiteY12" fmla="*/ 8382 h 514921"/>
                    <a:gd name="connsiteX13" fmla="*/ 493490 w 493490"/>
                    <a:gd name="connsiteY13" fmla="*/ 0 h 514921"/>
                    <a:gd name="connsiteX14" fmla="*/ 322040 w 493490"/>
                    <a:gd name="connsiteY14" fmla="*/ 0 h 514921"/>
                    <a:gd name="connsiteX15" fmla="*/ 322040 w 493490"/>
                    <a:gd name="connsiteY15" fmla="*/ 174308 h 514921"/>
                    <a:gd name="connsiteX16" fmla="*/ 170783 w 493490"/>
                    <a:gd name="connsiteY16" fmla="*/ 174308 h 514921"/>
                    <a:gd name="connsiteX17" fmla="*/ 170783 w 493490"/>
                    <a:gd name="connsiteY17" fmla="*/ 0 h 514921"/>
                    <a:gd name="connsiteX18" fmla="*/ 0 w 493490"/>
                    <a:gd name="connsiteY18" fmla="*/ 0 h 514921"/>
                    <a:gd name="connsiteX19" fmla="*/ 0 w 493490"/>
                    <a:gd name="connsiteY19" fmla="*/ 514921 h 514921"/>
                    <a:gd name="connsiteX20" fmla="*/ 170783 w 493490"/>
                    <a:gd name="connsiteY20" fmla="*/ 514921 h 514921"/>
                    <a:gd name="connsiteX21" fmla="*/ 170783 w 493490"/>
                    <a:gd name="connsiteY21" fmla="*/ 313468 h 514921"/>
                    <a:gd name="connsiteX22" fmla="*/ 322040 w 493490"/>
                    <a:gd name="connsiteY22" fmla="*/ 313468 h 514921"/>
                    <a:gd name="connsiteX23" fmla="*/ 322040 w 493490"/>
                    <a:gd name="connsiteY23" fmla="*/ 514921 h 514921"/>
                    <a:gd name="connsiteX24" fmla="*/ 493490 w 493490"/>
                    <a:gd name="connsiteY24" fmla="*/ 514921 h 514921"/>
                    <a:gd name="connsiteX25" fmla="*/ 493490 w 493490"/>
                    <a:gd name="connsiteY25" fmla="*/ 0 h 514921"/>
                    <a:gd name="connsiteX26" fmla="*/ 493490 w 493490"/>
                    <a:gd name="connsiteY26"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3490" h="514921">
                      <a:moveTo>
                        <a:pt x="485013" y="8382"/>
                      </a:moveTo>
                      <a:lnTo>
                        <a:pt x="485013" y="506444"/>
                      </a:lnTo>
                      <a:lnTo>
                        <a:pt x="330422" y="506444"/>
                      </a:lnTo>
                      <a:lnTo>
                        <a:pt x="330422" y="304991"/>
                      </a:lnTo>
                      <a:lnTo>
                        <a:pt x="162306" y="304991"/>
                      </a:lnTo>
                      <a:lnTo>
                        <a:pt x="162306" y="506444"/>
                      </a:lnTo>
                      <a:lnTo>
                        <a:pt x="8382" y="506444"/>
                      </a:lnTo>
                      <a:lnTo>
                        <a:pt x="8382" y="8382"/>
                      </a:lnTo>
                      <a:lnTo>
                        <a:pt x="162306" y="8382"/>
                      </a:lnTo>
                      <a:lnTo>
                        <a:pt x="162306" y="182689"/>
                      </a:lnTo>
                      <a:lnTo>
                        <a:pt x="330422" y="182689"/>
                      </a:lnTo>
                      <a:lnTo>
                        <a:pt x="330422" y="8382"/>
                      </a:lnTo>
                      <a:lnTo>
                        <a:pt x="485013" y="8382"/>
                      </a:lnTo>
                      <a:moveTo>
                        <a:pt x="493490" y="0"/>
                      </a:moveTo>
                      <a:lnTo>
                        <a:pt x="322040" y="0"/>
                      </a:lnTo>
                      <a:lnTo>
                        <a:pt x="322040" y="174308"/>
                      </a:lnTo>
                      <a:lnTo>
                        <a:pt x="170783" y="174308"/>
                      </a:lnTo>
                      <a:lnTo>
                        <a:pt x="170783" y="0"/>
                      </a:lnTo>
                      <a:lnTo>
                        <a:pt x="0" y="0"/>
                      </a:lnTo>
                      <a:lnTo>
                        <a:pt x="0" y="514921"/>
                      </a:lnTo>
                      <a:lnTo>
                        <a:pt x="170783" y="514921"/>
                      </a:lnTo>
                      <a:lnTo>
                        <a:pt x="170783" y="313468"/>
                      </a:lnTo>
                      <a:lnTo>
                        <a:pt x="322040" y="313468"/>
                      </a:lnTo>
                      <a:lnTo>
                        <a:pt x="322040" y="514921"/>
                      </a:lnTo>
                      <a:lnTo>
                        <a:pt x="493490" y="514921"/>
                      </a:lnTo>
                      <a:lnTo>
                        <a:pt x="493490" y="0"/>
                      </a:lnTo>
                      <a:lnTo>
                        <a:pt x="49349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23" name="Graphic 566">
                <a:extLst>
                  <a:ext uri="{FF2B5EF4-FFF2-40B4-BE49-F238E27FC236}">
                    <a16:creationId xmlns:a16="http://schemas.microsoft.com/office/drawing/2014/main" id="{D63FE419-42C9-4D8D-8A07-5273B0ED4AEC}"/>
                  </a:ext>
                </a:extLst>
              </p:cNvPr>
              <p:cNvGrpSpPr/>
              <p:nvPr/>
            </p:nvGrpSpPr>
            <p:grpSpPr>
              <a:xfrm>
                <a:off x="10612411" y="5594407"/>
                <a:ext cx="484631" cy="514921"/>
                <a:chOff x="10612411" y="5594407"/>
                <a:chExt cx="484631" cy="514921"/>
              </a:xfrm>
              <a:solidFill>
                <a:srgbClr val="A1ABB2"/>
              </a:solidFill>
            </p:grpSpPr>
            <p:sp>
              <p:nvSpPr>
                <p:cNvPr id="924" name="Freeform: Shape 923">
                  <a:extLst>
                    <a:ext uri="{FF2B5EF4-FFF2-40B4-BE49-F238E27FC236}">
                      <a16:creationId xmlns:a16="http://schemas.microsoft.com/office/drawing/2014/main" id="{758E1EB9-BC21-47DE-91E9-3AD10AA73432}"/>
                    </a:ext>
                  </a:extLst>
                </p:cNvPr>
                <p:cNvSpPr/>
                <p:nvPr/>
              </p:nvSpPr>
              <p:spPr>
                <a:xfrm>
                  <a:off x="10616602" y="5598598"/>
                  <a:ext cx="476249" cy="506444"/>
                </a:xfrm>
                <a:custGeom>
                  <a:avLst/>
                  <a:gdLst>
                    <a:gd name="connsiteX0" fmla="*/ 319278 w 476249"/>
                    <a:gd name="connsiteY0" fmla="*/ 506444 h 506444"/>
                    <a:gd name="connsiteX1" fmla="*/ 315087 w 476249"/>
                    <a:gd name="connsiteY1" fmla="*/ 506444 h 506444"/>
                    <a:gd name="connsiteX2" fmla="*/ 161163 w 476249"/>
                    <a:gd name="connsiteY2" fmla="*/ 506444 h 506444"/>
                    <a:gd name="connsiteX3" fmla="*/ 156972 w 476249"/>
                    <a:gd name="connsiteY3" fmla="*/ 506444 h 506444"/>
                    <a:gd name="connsiteX4" fmla="*/ 156972 w 476249"/>
                    <a:gd name="connsiteY4" fmla="*/ 502253 h 506444"/>
                    <a:gd name="connsiteX5" fmla="*/ 156972 w 476249"/>
                    <a:gd name="connsiteY5" fmla="*/ 131445 h 506444"/>
                    <a:gd name="connsiteX6" fmla="*/ 4191 w 476249"/>
                    <a:gd name="connsiteY6" fmla="*/ 131445 h 506444"/>
                    <a:gd name="connsiteX7" fmla="*/ 0 w 476249"/>
                    <a:gd name="connsiteY7" fmla="*/ 131445 h 506444"/>
                    <a:gd name="connsiteX8" fmla="*/ 0 w 476249"/>
                    <a:gd name="connsiteY8" fmla="*/ 127159 h 506444"/>
                    <a:gd name="connsiteX9" fmla="*/ 0 w 476249"/>
                    <a:gd name="connsiteY9" fmla="*/ 4191 h 506444"/>
                    <a:gd name="connsiteX10" fmla="*/ 0 w 476249"/>
                    <a:gd name="connsiteY10" fmla="*/ 0 h 506444"/>
                    <a:gd name="connsiteX11" fmla="*/ 4191 w 476249"/>
                    <a:gd name="connsiteY11" fmla="*/ 0 h 506444"/>
                    <a:gd name="connsiteX12" fmla="*/ 472059 w 476249"/>
                    <a:gd name="connsiteY12" fmla="*/ 0 h 506444"/>
                    <a:gd name="connsiteX13" fmla="*/ 476250 w 476249"/>
                    <a:gd name="connsiteY13" fmla="*/ 0 h 506444"/>
                    <a:gd name="connsiteX14" fmla="*/ 476250 w 476249"/>
                    <a:gd name="connsiteY14" fmla="*/ 4191 h 506444"/>
                    <a:gd name="connsiteX15" fmla="*/ 476250 w 476249"/>
                    <a:gd name="connsiteY15" fmla="*/ 127159 h 506444"/>
                    <a:gd name="connsiteX16" fmla="*/ 476250 w 476249"/>
                    <a:gd name="connsiteY16" fmla="*/ 131445 h 506444"/>
                    <a:gd name="connsiteX17" fmla="*/ 472059 w 476249"/>
                    <a:gd name="connsiteY17" fmla="*/ 131445 h 506444"/>
                    <a:gd name="connsiteX18" fmla="*/ 319278 w 476249"/>
                    <a:gd name="connsiteY18" fmla="*/ 131445 h 506444"/>
                    <a:gd name="connsiteX19" fmla="*/ 319278 w 476249"/>
                    <a:gd name="connsiteY19" fmla="*/ 502253 h 506444"/>
                    <a:gd name="connsiteX20" fmla="*/ 319278 w 476249"/>
                    <a:gd name="connsiteY20" fmla="*/ 506444 h 506444"/>
                    <a:gd name="connsiteX21" fmla="*/ 319278 w 476249"/>
                    <a:gd name="connsiteY21"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6249" h="506444">
                      <a:moveTo>
                        <a:pt x="319278" y="506444"/>
                      </a:moveTo>
                      <a:lnTo>
                        <a:pt x="315087" y="506444"/>
                      </a:lnTo>
                      <a:lnTo>
                        <a:pt x="161163" y="506444"/>
                      </a:lnTo>
                      <a:lnTo>
                        <a:pt x="156972" y="506444"/>
                      </a:lnTo>
                      <a:lnTo>
                        <a:pt x="156972" y="502253"/>
                      </a:lnTo>
                      <a:lnTo>
                        <a:pt x="156972" y="131445"/>
                      </a:lnTo>
                      <a:lnTo>
                        <a:pt x="4191" y="131445"/>
                      </a:lnTo>
                      <a:lnTo>
                        <a:pt x="0" y="131445"/>
                      </a:lnTo>
                      <a:lnTo>
                        <a:pt x="0" y="127159"/>
                      </a:lnTo>
                      <a:lnTo>
                        <a:pt x="0" y="4191"/>
                      </a:lnTo>
                      <a:lnTo>
                        <a:pt x="0" y="0"/>
                      </a:lnTo>
                      <a:lnTo>
                        <a:pt x="4191" y="0"/>
                      </a:lnTo>
                      <a:lnTo>
                        <a:pt x="472059" y="0"/>
                      </a:lnTo>
                      <a:lnTo>
                        <a:pt x="476250" y="0"/>
                      </a:lnTo>
                      <a:lnTo>
                        <a:pt x="476250" y="4191"/>
                      </a:lnTo>
                      <a:lnTo>
                        <a:pt x="476250" y="127159"/>
                      </a:lnTo>
                      <a:lnTo>
                        <a:pt x="476250" y="131445"/>
                      </a:lnTo>
                      <a:lnTo>
                        <a:pt x="472059" y="131445"/>
                      </a:lnTo>
                      <a:lnTo>
                        <a:pt x="319278" y="131445"/>
                      </a:lnTo>
                      <a:lnTo>
                        <a:pt x="319278" y="502253"/>
                      </a:lnTo>
                      <a:lnTo>
                        <a:pt x="319278" y="506444"/>
                      </a:lnTo>
                      <a:lnTo>
                        <a:pt x="319278"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25" name="Freeform: Shape 924">
                  <a:extLst>
                    <a:ext uri="{FF2B5EF4-FFF2-40B4-BE49-F238E27FC236}">
                      <a16:creationId xmlns:a16="http://schemas.microsoft.com/office/drawing/2014/main" id="{891FFD16-31D1-45E4-9FE1-41E8703E2BBA}"/>
                    </a:ext>
                  </a:extLst>
                </p:cNvPr>
                <p:cNvSpPr/>
                <p:nvPr/>
              </p:nvSpPr>
              <p:spPr>
                <a:xfrm>
                  <a:off x="10612411" y="5594407"/>
                  <a:ext cx="484631" cy="514921"/>
                </a:xfrm>
                <a:custGeom>
                  <a:avLst/>
                  <a:gdLst>
                    <a:gd name="connsiteX0" fmla="*/ 476155 w 484631"/>
                    <a:gd name="connsiteY0" fmla="*/ 8382 h 514921"/>
                    <a:gd name="connsiteX1" fmla="*/ 476155 w 484631"/>
                    <a:gd name="connsiteY1" fmla="*/ 131350 h 514921"/>
                    <a:gd name="connsiteX2" fmla="*/ 319278 w 484631"/>
                    <a:gd name="connsiteY2" fmla="*/ 131350 h 514921"/>
                    <a:gd name="connsiteX3" fmla="*/ 319278 w 484631"/>
                    <a:gd name="connsiteY3" fmla="*/ 506444 h 514921"/>
                    <a:gd name="connsiteX4" fmla="*/ 165354 w 484631"/>
                    <a:gd name="connsiteY4" fmla="*/ 506444 h 514921"/>
                    <a:gd name="connsiteX5" fmla="*/ 165354 w 484631"/>
                    <a:gd name="connsiteY5" fmla="*/ 131350 h 514921"/>
                    <a:gd name="connsiteX6" fmla="*/ 8382 w 484631"/>
                    <a:gd name="connsiteY6" fmla="*/ 131350 h 514921"/>
                    <a:gd name="connsiteX7" fmla="*/ 8382 w 484631"/>
                    <a:gd name="connsiteY7" fmla="*/ 8382 h 514921"/>
                    <a:gd name="connsiteX8" fmla="*/ 476155 w 484631"/>
                    <a:gd name="connsiteY8" fmla="*/ 8382 h 514921"/>
                    <a:gd name="connsiteX9" fmla="*/ 484632 w 484631"/>
                    <a:gd name="connsiteY9" fmla="*/ 0 h 514921"/>
                    <a:gd name="connsiteX10" fmla="*/ 0 w 484631"/>
                    <a:gd name="connsiteY10" fmla="*/ 0 h 514921"/>
                    <a:gd name="connsiteX11" fmla="*/ 0 w 484631"/>
                    <a:gd name="connsiteY11" fmla="*/ 139827 h 514921"/>
                    <a:gd name="connsiteX12" fmla="*/ 156972 w 484631"/>
                    <a:gd name="connsiteY12" fmla="*/ 139827 h 514921"/>
                    <a:gd name="connsiteX13" fmla="*/ 156972 w 484631"/>
                    <a:gd name="connsiteY13" fmla="*/ 514921 h 514921"/>
                    <a:gd name="connsiteX14" fmla="*/ 327755 w 484631"/>
                    <a:gd name="connsiteY14" fmla="*/ 514921 h 514921"/>
                    <a:gd name="connsiteX15" fmla="*/ 327755 w 484631"/>
                    <a:gd name="connsiteY15" fmla="*/ 139827 h 514921"/>
                    <a:gd name="connsiteX16" fmla="*/ 484632 w 484631"/>
                    <a:gd name="connsiteY16" fmla="*/ 139827 h 514921"/>
                    <a:gd name="connsiteX17" fmla="*/ 484632 w 484631"/>
                    <a:gd name="connsiteY17" fmla="*/ 0 h 514921"/>
                    <a:gd name="connsiteX18" fmla="*/ 484632 w 484631"/>
                    <a:gd name="connsiteY18"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4631" h="514921">
                      <a:moveTo>
                        <a:pt x="476155" y="8382"/>
                      </a:moveTo>
                      <a:lnTo>
                        <a:pt x="476155" y="131350"/>
                      </a:lnTo>
                      <a:lnTo>
                        <a:pt x="319278" y="131350"/>
                      </a:lnTo>
                      <a:lnTo>
                        <a:pt x="319278" y="506444"/>
                      </a:lnTo>
                      <a:lnTo>
                        <a:pt x="165354" y="506444"/>
                      </a:lnTo>
                      <a:lnTo>
                        <a:pt x="165354" y="131350"/>
                      </a:lnTo>
                      <a:lnTo>
                        <a:pt x="8382" y="131350"/>
                      </a:lnTo>
                      <a:lnTo>
                        <a:pt x="8382" y="8382"/>
                      </a:lnTo>
                      <a:lnTo>
                        <a:pt x="476155" y="8382"/>
                      </a:lnTo>
                      <a:moveTo>
                        <a:pt x="484632" y="0"/>
                      </a:moveTo>
                      <a:lnTo>
                        <a:pt x="0" y="0"/>
                      </a:lnTo>
                      <a:lnTo>
                        <a:pt x="0" y="139827"/>
                      </a:lnTo>
                      <a:lnTo>
                        <a:pt x="156972" y="139827"/>
                      </a:lnTo>
                      <a:lnTo>
                        <a:pt x="156972" y="514921"/>
                      </a:lnTo>
                      <a:lnTo>
                        <a:pt x="327755" y="514921"/>
                      </a:lnTo>
                      <a:lnTo>
                        <a:pt x="327755" y="139827"/>
                      </a:lnTo>
                      <a:lnTo>
                        <a:pt x="484632" y="139827"/>
                      </a:lnTo>
                      <a:lnTo>
                        <a:pt x="484632" y="0"/>
                      </a:lnTo>
                      <a:lnTo>
                        <a:pt x="484632"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914" name="Graphic 566">
              <a:extLst>
                <a:ext uri="{FF2B5EF4-FFF2-40B4-BE49-F238E27FC236}">
                  <a16:creationId xmlns:a16="http://schemas.microsoft.com/office/drawing/2014/main" id="{CE4311B1-2C45-4A74-BDA9-5AF6AD218355}"/>
                </a:ext>
              </a:extLst>
            </p:cNvPr>
            <p:cNvGrpSpPr/>
            <p:nvPr/>
          </p:nvGrpSpPr>
          <p:grpSpPr>
            <a:xfrm>
              <a:off x="9217093" y="5324564"/>
              <a:ext cx="183070" cy="183070"/>
              <a:chOff x="9217093" y="5324564"/>
              <a:chExt cx="183070" cy="183070"/>
            </a:xfrm>
            <a:solidFill>
              <a:srgbClr val="A1ABB2"/>
            </a:solidFill>
          </p:grpSpPr>
          <p:sp>
            <p:nvSpPr>
              <p:cNvPr id="916" name="Freeform: Shape 915">
                <a:extLst>
                  <a:ext uri="{FF2B5EF4-FFF2-40B4-BE49-F238E27FC236}">
                    <a16:creationId xmlns:a16="http://schemas.microsoft.com/office/drawing/2014/main" id="{3C434E2D-EB38-40A0-AF67-52700E9B98DE}"/>
                  </a:ext>
                </a:extLst>
              </p:cNvPr>
              <p:cNvSpPr/>
              <p:nvPr/>
            </p:nvSpPr>
            <p:spPr>
              <a:xfrm>
                <a:off x="9222237" y="5329612"/>
                <a:ext cx="172878" cy="172974"/>
              </a:xfrm>
              <a:custGeom>
                <a:avLst/>
                <a:gdLst>
                  <a:gd name="connsiteX0" fmla="*/ 172879 w 172878"/>
                  <a:gd name="connsiteY0" fmla="*/ 86487 h 172974"/>
                  <a:gd name="connsiteX1" fmla="*/ 86392 w 172878"/>
                  <a:gd name="connsiteY1" fmla="*/ 172974 h 172974"/>
                  <a:gd name="connsiteX2" fmla="*/ 0 w 172878"/>
                  <a:gd name="connsiteY2" fmla="*/ 86487 h 172974"/>
                  <a:gd name="connsiteX3" fmla="*/ 86392 w 172878"/>
                  <a:gd name="connsiteY3" fmla="*/ 0 h 172974"/>
                  <a:gd name="connsiteX4" fmla="*/ 172879 w 172878"/>
                  <a:gd name="connsiteY4" fmla="*/ 86487 h 172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78" h="172974">
                    <a:moveTo>
                      <a:pt x="172879" y="86487"/>
                    </a:moveTo>
                    <a:cubicBezTo>
                      <a:pt x="172879" y="134207"/>
                      <a:pt x="134207" y="172974"/>
                      <a:pt x="86392" y="172974"/>
                    </a:cubicBezTo>
                    <a:cubicBezTo>
                      <a:pt x="38576" y="172974"/>
                      <a:pt x="0" y="134303"/>
                      <a:pt x="0" y="86487"/>
                    </a:cubicBezTo>
                    <a:cubicBezTo>
                      <a:pt x="0" y="38672"/>
                      <a:pt x="38671" y="0"/>
                      <a:pt x="86392" y="0"/>
                    </a:cubicBezTo>
                    <a:cubicBezTo>
                      <a:pt x="134112" y="0"/>
                      <a:pt x="172879" y="38672"/>
                      <a:pt x="172879" y="8648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17" name="Freeform: Shape 916">
                <a:extLst>
                  <a:ext uri="{FF2B5EF4-FFF2-40B4-BE49-F238E27FC236}">
                    <a16:creationId xmlns:a16="http://schemas.microsoft.com/office/drawing/2014/main" id="{CBDB4E73-E121-4CB6-8442-BC30A88B7B59}"/>
                  </a:ext>
                </a:extLst>
              </p:cNvPr>
              <p:cNvSpPr/>
              <p:nvPr/>
            </p:nvSpPr>
            <p:spPr>
              <a:xfrm>
                <a:off x="9217093" y="5324564"/>
                <a:ext cx="183070" cy="183070"/>
              </a:xfrm>
              <a:custGeom>
                <a:avLst/>
                <a:gdLst>
                  <a:gd name="connsiteX0" fmla="*/ 0 w 183070"/>
                  <a:gd name="connsiteY0" fmla="*/ 91535 h 183070"/>
                  <a:gd name="connsiteX1" fmla="*/ 91535 w 183070"/>
                  <a:gd name="connsiteY1" fmla="*/ 0 h 183070"/>
                  <a:gd name="connsiteX2" fmla="*/ 91535 w 183070"/>
                  <a:gd name="connsiteY2" fmla="*/ 0 h 183070"/>
                  <a:gd name="connsiteX3" fmla="*/ 183071 w 183070"/>
                  <a:gd name="connsiteY3" fmla="*/ 91535 h 183070"/>
                  <a:gd name="connsiteX4" fmla="*/ 183071 w 183070"/>
                  <a:gd name="connsiteY4" fmla="*/ 91535 h 183070"/>
                  <a:gd name="connsiteX5" fmla="*/ 91535 w 183070"/>
                  <a:gd name="connsiteY5" fmla="*/ 183071 h 183070"/>
                  <a:gd name="connsiteX6" fmla="*/ 91535 w 183070"/>
                  <a:gd name="connsiteY6" fmla="*/ 183071 h 183070"/>
                  <a:gd name="connsiteX7" fmla="*/ 0 w 183070"/>
                  <a:gd name="connsiteY7" fmla="*/ 91535 h 183070"/>
                  <a:gd name="connsiteX8" fmla="*/ 0 w 183070"/>
                  <a:gd name="connsiteY8" fmla="*/ 91535 h 183070"/>
                  <a:gd name="connsiteX9" fmla="*/ 10287 w 183070"/>
                  <a:gd name="connsiteY9" fmla="*/ 91535 h 183070"/>
                  <a:gd name="connsiteX10" fmla="*/ 91631 w 183070"/>
                  <a:gd name="connsiteY10" fmla="*/ 172879 h 183070"/>
                  <a:gd name="connsiteX11" fmla="*/ 91631 w 183070"/>
                  <a:gd name="connsiteY11" fmla="*/ 172879 h 183070"/>
                  <a:gd name="connsiteX12" fmla="*/ 172974 w 183070"/>
                  <a:gd name="connsiteY12" fmla="*/ 91535 h 183070"/>
                  <a:gd name="connsiteX13" fmla="*/ 172974 w 183070"/>
                  <a:gd name="connsiteY13" fmla="*/ 91535 h 183070"/>
                  <a:gd name="connsiteX14" fmla="*/ 91631 w 183070"/>
                  <a:gd name="connsiteY14" fmla="*/ 10192 h 183070"/>
                  <a:gd name="connsiteX15" fmla="*/ 91631 w 183070"/>
                  <a:gd name="connsiteY15" fmla="*/ 10192 h 183070"/>
                  <a:gd name="connsiteX16" fmla="*/ 10287 w 183070"/>
                  <a:gd name="connsiteY16" fmla="*/ 91535 h 183070"/>
                  <a:gd name="connsiteX17" fmla="*/ 10287 w 183070"/>
                  <a:gd name="connsiteY17" fmla="*/ 91535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070" h="183070">
                    <a:moveTo>
                      <a:pt x="0" y="91535"/>
                    </a:moveTo>
                    <a:cubicBezTo>
                      <a:pt x="0" y="40958"/>
                      <a:pt x="40958" y="0"/>
                      <a:pt x="91535" y="0"/>
                    </a:cubicBezTo>
                    <a:lnTo>
                      <a:pt x="91535" y="0"/>
                    </a:lnTo>
                    <a:cubicBezTo>
                      <a:pt x="142113" y="0"/>
                      <a:pt x="183071" y="40958"/>
                      <a:pt x="183071" y="91535"/>
                    </a:cubicBezTo>
                    <a:lnTo>
                      <a:pt x="183071" y="91535"/>
                    </a:lnTo>
                    <a:cubicBezTo>
                      <a:pt x="183071" y="142113"/>
                      <a:pt x="142113" y="183071"/>
                      <a:pt x="91535" y="183071"/>
                    </a:cubicBezTo>
                    <a:lnTo>
                      <a:pt x="91535" y="183071"/>
                    </a:lnTo>
                    <a:cubicBezTo>
                      <a:pt x="40958" y="183071"/>
                      <a:pt x="0" y="142113"/>
                      <a:pt x="0" y="91535"/>
                    </a:cubicBezTo>
                    <a:lnTo>
                      <a:pt x="0" y="91535"/>
                    </a:lnTo>
                    <a:close/>
                    <a:moveTo>
                      <a:pt x="10287" y="91535"/>
                    </a:moveTo>
                    <a:cubicBezTo>
                      <a:pt x="10287" y="136398"/>
                      <a:pt x="46673" y="172784"/>
                      <a:pt x="91631" y="172879"/>
                    </a:cubicBezTo>
                    <a:lnTo>
                      <a:pt x="91631" y="172879"/>
                    </a:lnTo>
                    <a:cubicBezTo>
                      <a:pt x="136589" y="172879"/>
                      <a:pt x="172879" y="136493"/>
                      <a:pt x="172974" y="91535"/>
                    </a:cubicBezTo>
                    <a:lnTo>
                      <a:pt x="172974" y="91535"/>
                    </a:lnTo>
                    <a:cubicBezTo>
                      <a:pt x="172879" y="46577"/>
                      <a:pt x="136589" y="10287"/>
                      <a:pt x="91631" y="10192"/>
                    </a:cubicBezTo>
                    <a:lnTo>
                      <a:pt x="91631" y="10192"/>
                    </a:lnTo>
                    <a:cubicBezTo>
                      <a:pt x="46768" y="10192"/>
                      <a:pt x="10382" y="46577"/>
                      <a:pt x="10287" y="91535"/>
                    </a:cubicBezTo>
                    <a:lnTo>
                      <a:pt x="10287" y="915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915" name="Freeform: Shape 914">
              <a:extLst>
                <a:ext uri="{FF2B5EF4-FFF2-40B4-BE49-F238E27FC236}">
                  <a16:creationId xmlns:a16="http://schemas.microsoft.com/office/drawing/2014/main" id="{F3D8441E-6C29-4F80-8BE5-83DEF821E13F}"/>
                </a:ext>
              </a:extLst>
            </p:cNvPr>
            <p:cNvSpPr/>
            <p:nvPr/>
          </p:nvSpPr>
          <p:spPr>
            <a:xfrm>
              <a:off x="11111902" y="5594503"/>
              <a:ext cx="56292" cy="56006"/>
            </a:xfrm>
            <a:custGeom>
              <a:avLst/>
              <a:gdLst>
                <a:gd name="connsiteX0" fmla="*/ 56293 w 56292"/>
                <a:gd name="connsiteY0" fmla="*/ 28003 h 56006"/>
                <a:gd name="connsiteX1" fmla="*/ 52483 w 56292"/>
                <a:gd name="connsiteY1" fmla="*/ 42005 h 56006"/>
                <a:gd name="connsiteX2" fmla="*/ 42196 w 56292"/>
                <a:gd name="connsiteY2" fmla="*/ 52292 h 56006"/>
                <a:gd name="connsiteX3" fmla="*/ 28099 w 56292"/>
                <a:gd name="connsiteY3" fmla="*/ 56007 h 56006"/>
                <a:gd name="connsiteX4" fmla="*/ 14097 w 56292"/>
                <a:gd name="connsiteY4" fmla="*/ 52292 h 56006"/>
                <a:gd name="connsiteX5" fmla="*/ 3810 w 56292"/>
                <a:gd name="connsiteY5" fmla="*/ 42005 h 56006"/>
                <a:gd name="connsiteX6" fmla="*/ 0 w 56292"/>
                <a:gd name="connsiteY6" fmla="*/ 28003 h 56006"/>
                <a:gd name="connsiteX7" fmla="*/ 3810 w 56292"/>
                <a:gd name="connsiteY7" fmla="*/ 14002 h 56006"/>
                <a:gd name="connsiteX8" fmla="*/ 14097 w 56292"/>
                <a:gd name="connsiteY8" fmla="*/ 3715 h 56006"/>
                <a:gd name="connsiteX9" fmla="*/ 28099 w 56292"/>
                <a:gd name="connsiteY9" fmla="*/ 0 h 56006"/>
                <a:gd name="connsiteX10" fmla="*/ 42196 w 56292"/>
                <a:gd name="connsiteY10" fmla="*/ 3715 h 56006"/>
                <a:gd name="connsiteX11" fmla="*/ 52483 w 56292"/>
                <a:gd name="connsiteY11" fmla="*/ 14002 h 56006"/>
                <a:gd name="connsiteX12" fmla="*/ 56293 w 56292"/>
                <a:gd name="connsiteY12" fmla="*/ 28003 h 56006"/>
                <a:gd name="connsiteX13" fmla="*/ 50863 w 56292"/>
                <a:gd name="connsiteY13" fmla="*/ 28003 h 56006"/>
                <a:gd name="connsiteX14" fmla="*/ 44196 w 56292"/>
                <a:gd name="connsiteY14" fmla="*/ 11906 h 56006"/>
                <a:gd name="connsiteX15" fmla="*/ 28194 w 56292"/>
                <a:gd name="connsiteY15" fmla="*/ 5239 h 56006"/>
                <a:gd name="connsiteX16" fmla="*/ 12192 w 56292"/>
                <a:gd name="connsiteY16" fmla="*/ 11906 h 56006"/>
                <a:gd name="connsiteX17" fmla="*/ 5525 w 56292"/>
                <a:gd name="connsiteY17" fmla="*/ 28003 h 56006"/>
                <a:gd name="connsiteX18" fmla="*/ 12192 w 56292"/>
                <a:gd name="connsiteY18" fmla="*/ 44005 h 56006"/>
                <a:gd name="connsiteX19" fmla="*/ 28194 w 56292"/>
                <a:gd name="connsiteY19" fmla="*/ 50673 h 56006"/>
                <a:gd name="connsiteX20" fmla="*/ 44196 w 56292"/>
                <a:gd name="connsiteY20" fmla="*/ 44005 h 56006"/>
                <a:gd name="connsiteX21" fmla="*/ 50863 w 56292"/>
                <a:gd name="connsiteY21" fmla="*/ 28003 h 56006"/>
                <a:gd name="connsiteX22" fmla="*/ 15430 w 56292"/>
                <a:gd name="connsiteY22" fmla="*/ 12954 h 56006"/>
                <a:gd name="connsiteX23" fmla="*/ 28956 w 56292"/>
                <a:gd name="connsiteY23" fmla="*/ 12954 h 56006"/>
                <a:gd name="connsiteX24" fmla="*/ 37147 w 56292"/>
                <a:gd name="connsiteY24" fmla="*/ 15240 h 56006"/>
                <a:gd name="connsiteX25" fmla="*/ 39719 w 56292"/>
                <a:gd name="connsiteY25" fmla="*/ 21431 h 56006"/>
                <a:gd name="connsiteX26" fmla="*/ 37814 w 56292"/>
                <a:gd name="connsiteY26" fmla="*/ 26670 h 56006"/>
                <a:gd name="connsiteX27" fmla="*/ 31623 w 56292"/>
                <a:gd name="connsiteY27" fmla="*/ 29908 h 56006"/>
                <a:gd name="connsiteX28" fmla="*/ 34195 w 56292"/>
                <a:gd name="connsiteY28" fmla="*/ 31337 h 56006"/>
                <a:gd name="connsiteX29" fmla="*/ 36576 w 56292"/>
                <a:gd name="connsiteY29" fmla="*/ 34385 h 56006"/>
                <a:gd name="connsiteX30" fmla="*/ 41434 w 56292"/>
                <a:gd name="connsiteY30" fmla="*/ 43053 h 56006"/>
                <a:gd name="connsiteX31" fmla="*/ 32576 w 56292"/>
                <a:gd name="connsiteY31" fmla="*/ 43053 h 56006"/>
                <a:gd name="connsiteX32" fmla="*/ 26765 w 56292"/>
                <a:gd name="connsiteY32" fmla="*/ 32766 h 56006"/>
                <a:gd name="connsiteX33" fmla="*/ 23813 w 56292"/>
                <a:gd name="connsiteY33" fmla="*/ 31147 h 56006"/>
                <a:gd name="connsiteX34" fmla="*/ 22860 w 56292"/>
                <a:gd name="connsiteY34" fmla="*/ 31242 h 56006"/>
                <a:gd name="connsiteX35" fmla="*/ 22860 w 56292"/>
                <a:gd name="connsiteY35" fmla="*/ 43053 h 56006"/>
                <a:gd name="connsiteX36" fmla="*/ 15335 w 56292"/>
                <a:gd name="connsiteY36" fmla="*/ 43053 h 56006"/>
                <a:gd name="connsiteX37" fmla="*/ 15335 w 56292"/>
                <a:gd name="connsiteY37" fmla="*/ 12954 h 56006"/>
                <a:gd name="connsiteX38" fmla="*/ 22955 w 56292"/>
                <a:gd name="connsiteY38" fmla="*/ 25717 h 56006"/>
                <a:gd name="connsiteX39" fmla="*/ 26194 w 56292"/>
                <a:gd name="connsiteY39" fmla="*/ 25717 h 56006"/>
                <a:gd name="connsiteX40" fmla="*/ 30766 w 56292"/>
                <a:gd name="connsiteY40" fmla="*/ 24670 h 56006"/>
                <a:gd name="connsiteX41" fmla="*/ 32099 w 56292"/>
                <a:gd name="connsiteY41" fmla="*/ 22003 h 56006"/>
                <a:gd name="connsiteX42" fmla="*/ 30861 w 56292"/>
                <a:gd name="connsiteY42" fmla="*/ 19336 h 56006"/>
                <a:gd name="connsiteX43" fmla="*/ 26575 w 56292"/>
                <a:gd name="connsiteY43" fmla="*/ 18288 h 56006"/>
                <a:gd name="connsiteX44" fmla="*/ 23051 w 56292"/>
                <a:gd name="connsiteY44" fmla="*/ 18288 h 56006"/>
                <a:gd name="connsiteX45" fmla="*/ 23051 w 56292"/>
                <a:gd name="connsiteY45" fmla="*/ 25813 h 5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6292" h="56006">
                  <a:moveTo>
                    <a:pt x="56293" y="28003"/>
                  </a:moveTo>
                  <a:cubicBezTo>
                    <a:pt x="56293" y="33052"/>
                    <a:pt x="55054" y="37719"/>
                    <a:pt x="52483" y="42005"/>
                  </a:cubicBezTo>
                  <a:cubicBezTo>
                    <a:pt x="50006" y="46387"/>
                    <a:pt x="46577" y="49816"/>
                    <a:pt x="42196" y="52292"/>
                  </a:cubicBezTo>
                  <a:cubicBezTo>
                    <a:pt x="37814" y="54769"/>
                    <a:pt x="33147" y="56007"/>
                    <a:pt x="28099" y="56007"/>
                  </a:cubicBezTo>
                  <a:cubicBezTo>
                    <a:pt x="23051" y="56007"/>
                    <a:pt x="18383" y="54769"/>
                    <a:pt x="14097" y="52292"/>
                  </a:cubicBezTo>
                  <a:cubicBezTo>
                    <a:pt x="9716" y="49816"/>
                    <a:pt x="6287" y="46387"/>
                    <a:pt x="3810" y="42005"/>
                  </a:cubicBezTo>
                  <a:cubicBezTo>
                    <a:pt x="1334" y="37624"/>
                    <a:pt x="0" y="32956"/>
                    <a:pt x="0" y="28003"/>
                  </a:cubicBezTo>
                  <a:cubicBezTo>
                    <a:pt x="0" y="23050"/>
                    <a:pt x="1238" y="18288"/>
                    <a:pt x="3810" y="14002"/>
                  </a:cubicBezTo>
                  <a:cubicBezTo>
                    <a:pt x="6287" y="9620"/>
                    <a:pt x="9716" y="6191"/>
                    <a:pt x="14097" y="3715"/>
                  </a:cubicBezTo>
                  <a:cubicBezTo>
                    <a:pt x="18383" y="1238"/>
                    <a:pt x="23146" y="0"/>
                    <a:pt x="28099" y="0"/>
                  </a:cubicBezTo>
                  <a:cubicBezTo>
                    <a:pt x="33052" y="0"/>
                    <a:pt x="37814" y="1238"/>
                    <a:pt x="42196" y="3715"/>
                  </a:cubicBezTo>
                  <a:cubicBezTo>
                    <a:pt x="46482" y="6191"/>
                    <a:pt x="50006" y="9620"/>
                    <a:pt x="52483" y="14002"/>
                  </a:cubicBezTo>
                  <a:cubicBezTo>
                    <a:pt x="55054" y="18383"/>
                    <a:pt x="56293" y="23050"/>
                    <a:pt x="56293" y="28003"/>
                  </a:cubicBezTo>
                  <a:close/>
                  <a:moveTo>
                    <a:pt x="50863" y="28003"/>
                  </a:moveTo>
                  <a:cubicBezTo>
                    <a:pt x="50863" y="21717"/>
                    <a:pt x="48673" y="16383"/>
                    <a:pt x="44196" y="11906"/>
                  </a:cubicBezTo>
                  <a:cubicBezTo>
                    <a:pt x="39815" y="7525"/>
                    <a:pt x="34385" y="5239"/>
                    <a:pt x="28194" y="5239"/>
                  </a:cubicBezTo>
                  <a:cubicBezTo>
                    <a:pt x="22003" y="5239"/>
                    <a:pt x="16574" y="7429"/>
                    <a:pt x="12192" y="11906"/>
                  </a:cubicBezTo>
                  <a:cubicBezTo>
                    <a:pt x="7811" y="16383"/>
                    <a:pt x="5525" y="21717"/>
                    <a:pt x="5525" y="28003"/>
                  </a:cubicBezTo>
                  <a:cubicBezTo>
                    <a:pt x="5525" y="34290"/>
                    <a:pt x="7715" y="39624"/>
                    <a:pt x="12192" y="44005"/>
                  </a:cubicBezTo>
                  <a:cubicBezTo>
                    <a:pt x="16669" y="48482"/>
                    <a:pt x="22003" y="50673"/>
                    <a:pt x="28194" y="50673"/>
                  </a:cubicBezTo>
                  <a:cubicBezTo>
                    <a:pt x="34385" y="50673"/>
                    <a:pt x="39815" y="48482"/>
                    <a:pt x="44196" y="44005"/>
                  </a:cubicBezTo>
                  <a:cubicBezTo>
                    <a:pt x="48673" y="39624"/>
                    <a:pt x="50863" y="34195"/>
                    <a:pt x="50863" y="28003"/>
                  </a:cubicBezTo>
                  <a:close/>
                  <a:moveTo>
                    <a:pt x="15430" y="12954"/>
                  </a:moveTo>
                  <a:lnTo>
                    <a:pt x="28956" y="12954"/>
                  </a:lnTo>
                  <a:cubicBezTo>
                    <a:pt x="32766" y="12954"/>
                    <a:pt x="35433" y="13716"/>
                    <a:pt x="37147" y="15240"/>
                  </a:cubicBezTo>
                  <a:cubicBezTo>
                    <a:pt x="38862" y="16764"/>
                    <a:pt x="39719" y="18859"/>
                    <a:pt x="39719" y="21431"/>
                  </a:cubicBezTo>
                  <a:cubicBezTo>
                    <a:pt x="39719" y="23431"/>
                    <a:pt x="39053" y="25146"/>
                    <a:pt x="37814" y="26670"/>
                  </a:cubicBezTo>
                  <a:cubicBezTo>
                    <a:pt x="36481" y="28194"/>
                    <a:pt x="34480" y="29242"/>
                    <a:pt x="31623" y="29908"/>
                  </a:cubicBezTo>
                  <a:cubicBezTo>
                    <a:pt x="32766" y="30385"/>
                    <a:pt x="33623" y="30766"/>
                    <a:pt x="34195" y="31337"/>
                  </a:cubicBezTo>
                  <a:cubicBezTo>
                    <a:pt x="34957" y="32004"/>
                    <a:pt x="35719" y="33052"/>
                    <a:pt x="36576" y="34385"/>
                  </a:cubicBezTo>
                  <a:cubicBezTo>
                    <a:pt x="36576" y="34385"/>
                    <a:pt x="38291" y="37338"/>
                    <a:pt x="41434" y="43053"/>
                  </a:cubicBezTo>
                  <a:lnTo>
                    <a:pt x="32576" y="43053"/>
                  </a:lnTo>
                  <a:cubicBezTo>
                    <a:pt x="29623" y="37338"/>
                    <a:pt x="27718" y="33909"/>
                    <a:pt x="26765" y="32766"/>
                  </a:cubicBezTo>
                  <a:cubicBezTo>
                    <a:pt x="25813" y="31623"/>
                    <a:pt x="24860" y="31147"/>
                    <a:pt x="23813" y="31147"/>
                  </a:cubicBezTo>
                  <a:cubicBezTo>
                    <a:pt x="23622" y="31147"/>
                    <a:pt x="23336" y="31147"/>
                    <a:pt x="22860" y="31242"/>
                  </a:cubicBezTo>
                  <a:lnTo>
                    <a:pt x="22860" y="43053"/>
                  </a:lnTo>
                  <a:lnTo>
                    <a:pt x="15335" y="43053"/>
                  </a:lnTo>
                  <a:lnTo>
                    <a:pt x="15335" y="12954"/>
                  </a:lnTo>
                  <a:close/>
                  <a:moveTo>
                    <a:pt x="22955" y="25717"/>
                  </a:moveTo>
                  <a:lnTo>
                    <a:pt x="26194" y="25717"/>
                  </a:lnTo>
                  <a:cubicBezTo>
                    <a:pt x="28385" y="25717"/>
                    <a:pt x="29909" y="25336"/>
                    <a:pt x="30766" y="24670"/>
                  </a:cubicBezTo>
                  <a:cubicBezTo>
                    <a:pt x="31623" y="24003"/>
                    <a:pt x="32099" y="23050"/>
                    <a:pt x="32099" y="22003"/>
                  </a:cubicBezTo>
                  <a:cubicBezTo>
                    <a:pt x="32099" y="20955"/>
                    <a:pt x="31718" y="20002"/>
                    <a:pt x="30861" y="19336"/>
                  </a:cubicBezTo>
                  <a:cubicBezTo>
                    <a:pt x="30004" y="18669"/>
                    <a:pt x="28575" y="18288"/>
                    <a:pt x="26575" y="18288"/>
                  </a:cubicBezTo>
                  <a:lnTo>
                    <a:pt x="23051" y="18288"/>
                  </a:lnTo>
                  <a:lnTo>
                    <a:pt x="23051" y="2581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40" name="Group 939">
            <a:extLst>
              <a:ext uri="{FF2B5EF4-FFF2-40B4-BE49-F238E27FC236}">
                <a16:creationId xmlns:a16="http://schemas.microsoft.com/office/drawing/2014/main" id="{3E6B23F2-297D-42D0-B7B1-7DFA4CF213B2}"/>
              </a:ext>
            </a:extLst>
          </p:cNvPr>
          <p:cNvGrpSpPr/>
          <p:nvPr userDrawn="1"/>
        </p:nvGrpSpPr>
        <p:grpSpPr>
          <a:xfrm>
            <a:off x="10114580" y="3573923"/>
            <a:ext cx="970898" cy="246803"/>
            <a:chOff x="7620807" y="5499310"/>
            <a:chExt cx="2743199" cy="697324"/>
          </a:xfrm>
        </p:grpSpPr>
        <p:sp>
          <p:nvSpPr>
            <p:cNvPr id="941" name="Freeform: Shape 940">
              <a:extLst>
                <a:ext uri="{FF2B5EF4-FFF2-40B4-BE49-F238E27FC236}">
                  <a16:creationId xmlns:a16="http://schemas.microsoft.com/office/drawing/2014/main" id="{BE9531F6-1C1A-400E-8A15-6AF271DEFC05}"/>
                </a:ext>
              </a:extLst>
            </p:cNvPr>
            <p:cNvSpPr/>
            <p:nvPr/>
          </p:nvSpPr>
          <p:spPr>
            <a:xfrm>
              <a:off x="10318001" y="5499310"/>
              <a:ext cx="46005" cy="46577"/>
            </a:xfrm>
            <a:custGeom>
              <a:avLst/>
              <a:gdLst>
                <a:gd name="connsiteX0" fmla="*/ 23146 w 46005"/>
                <a:gd name="connsiteY0" fmla="*/ 0 h 46577"/>
                <a:gd name="connsiteX1" fmla="*/ 46006 w 46005"/>
                <a:gd name="connsiteY1" fmla="*/ 23241 h 46577"/>
                <a:gd name="connsiteX2" fmla="*/ 23050 w 46005"/>
                <a:gd name="connsiteY2" fmla="*/ 46577 h 46577"/>
                <a:gd name="connsiteX3" fmla="*/ 0 w 46005"/>
                <a:gd name="connsiteY3" fmla="*/ 23241 h 46577"/>
                <a:gd name="connsiteX4" fmla="*/ 23050 w 46005"/>
                <a:gd name="connsiteY4" fmla="*/ 0 h 46577"/>
                <a:gd name="connsiteX5" fmla="*/ 23146 w 46005"/>
                <a:gd name="connsiteY5" fmla="*/ 0 h 46577"/>
                <a:gd name="connsiteX6" fmla="*/ 23050 w 46005"/>
                <a:gd name="connsiteY6" fmla="*/ 3620 h 46577"/>
                <a:gd name="connsiteX7" fmla="*/ 4477 w 46005"/>
                <a:gd name="connsiteY7" fmla="*/ 23241 h 46577"/>
                <a:gd name="connsiteX8" fmla="*/ 23146 w 46005"/>
                <a:gd name="connsiteY8" fmla="*/ 42958 h 46577"/>
                <a:gd name="connsiteX9" fmla="*/ 41719 w 46005"/>
                <a:gd name="connsiteY9" fmla="*/ 23336 h 46577"/>
                <a:gd name="connsiteX10" fmla="*/ 23146 w 46005"/>
                <a:gd name="connsiteY10" fmla="*/ 3620 h 46577"/>
                <a:gd name="connsiteX11" fmla="*/ 23050 w 46005"/>
                <a:gd name="connsiteY11" fmla="*/ 3620 h 46577"/>
                <a:gd name="connsiteX12" fmla="*/ 18669 w 46005"/>
                <a:gd name="connsiteY12" fmla="*/ 36767 h 46577"/>
                <a:gd name="connsiteX13" fmla="*/ 14573 w 46005"/>
                <a:gd name="connsiteY13" fmla="*/ 36767 h 46577"/>
                <a:gd name="connsiteX14" fmla="*/ 14573 w 46005"/>
                <a:gd name="connsiteY14" fmla="*/ 10859 h 46577"/>
                <a:gd name="connsiteX15" fmla="*/ 21907 w 46005"/>
                <a:gd name="connsiteY15" fmla="*/ 10287 h 46577"/>
                <a:gd name="connsiteX16" fmla="*/ 29908 w 46005"/>
                <a:gd name="connsiteY16" fmla="*/ 12287 h 46577"/>
                <a:gd name="connsiteX17" fmla="*/ 32290 w 46005"/>
                <a:gd name="connsiteY17" fmla="*/ 17621 h 46577"/>
                <a:gd name="connsiteX18" fmla="*/ 27241 w 46005"/>
                <a:gd name="connsiteY18" fmla="*/ 23908 h 46577"/>
                <a:gd name="connsiteX19" fmla="*/ 27241 w 46005"/>
                <a:gd name="connsiteY19" fmla="*/ 24098 h 46577"/>
                <a:gd name="connsiteX20" fmla="*/ 31528 w 46005"/>
                <a:gd name="connsiteY20" fmla="*/ 30385 h 46577"/>
                <a:gd name="connsiteX21" fmla="*/ 33242 w 46005"/>
                <a:gd name="connsiteY21" fmla="*/ 36767 h 46577"/>
                <a:gd name="connsiteX22" fmla="*/ 28861 w 46005"/>
                <a:gd name="connsiteY22" fmla="*/ 36767 h 46577"/>
                <a:gd name="connsiteX23" fmla="*/ 27146 w 46005"/>
                <a:gd name="connsiteY23" fmla="*/ 30194 h 46577"/>
                <a:gd name="connsiteX24" fmla="*/ 21526 w 46005"/>
                <a:gd name="connsiteY24" fmla="*/ 25622 h 46577"/>
                <a:gd name="connsiteX25" fmla="*/ 18669 w 46005"/>
                <a:gd name="connsiteY25" fmla="*/ 25622 h 46577"/>
                <a:gd name="connsiteX26" fmla="*/ 18669 w 46005"/>
                <a:gd name="connsiteY26" fmla="*/ 36767 h 46577"/>
                <a:gd name="connsiteX27" fmla="*/ 18669 w 46005"/>
                <a:gd name="connsiteY27" fmla="*/ 22384 h 46577"/>
                <a:gd name="connsiteX28" fmla="*/ 21622 w 46005"/>
                <a:gd name="connsiteY28" fmla="*/ 22384 h 46577"/>
                <a:gd name="connsiteX29" fmla="*/ 27908 w 46005"/>
                <a:gd name="connsiteY29" fmla="*/ 17907 h 46577"/>
                <a:gd name="connsiteX30" fmla="*/ 21622 w 46005"/>
                <a:gd name="connsiteY30" fmla="*/ 13335 h 46577"/>
                <a:gd name="connsiteX31" fmla="*/ 18669 w 46005"/>
                <a:gd name="connsiteY31" fmla="*/ 13526 h 46577"/>
                <a:gd name="connsiteX32" fmla="*/ 18669 w 46005"/>
                <a:gd name="connsiteY32" fmla="*/ 22289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05" h="46577">
                  <a:moveTo>
                    <a:pt x="23146" y="0"/>
                  </a:moveTo>
                  <a:cubicBezTo>
                    <a:pt x="35814" y="0"/>
                    <a:pt x="46006" y="10287"/>
                    <a:pt x="46006" y="23241"/>
                  </a:cubicBezTo>
                  <a:cubicBezTo>
                    <a:pt x="46006" y="36195"/>
                    <a:pt x="35909" y="46577"/>
                    <a:pt x="23050" y="46577"/>
                  </a:cubicBezTo>
                  <a:cubicBezTo>
                    <a:pt x="10192" y="46577"/>
                    <a:pt x="0" y="36386"/>
                    <a:pt x="0" y="23241"/>
                  </a:cubicBezTo>
                  <a:cubicBezTo>
                    <a:pt x="0" y="10096"/>
                    <a:pt x="10287" y="0"/>
                    <a:pt x="23050" y="0"/>
                  </a:cubicBezTo>
                  <a:lnTo>
                    <a:pt x="23146" y="0"/>
                  </a:lnTo>
                  <a:close/>
                  <a:moveTo>
                    <a:pt x="23050" y="3620"/>
                  </a:moveTo>
                  <a:cubicBezTo>
                    <a:pt x="12859" y="3620"/>
                    <a:pt x="4477" y="12383"/>
                    <a:pt x="4477" y="23241"/>
                  </a:cubicBezTo>
                  <a:cubicBezTo>
                    <a:pt x="4477" y="34100"/>
                    <a:pt x="12859" y="42958"/>
                    <a:pt x="23146" y="42958"/>
                  </a:cubicBezTo>
                  <a:cubicBezTo>
                    <a:pt x="33433" y="43053"/>
                    <a:pt x="41719" y="34290"/>
                    <a:pt x="41719" y="23336"/>
                  </a:cubicBezTo>
                  <a:cubicBezTo>
                    <a:pt x="41719" y="12383"/>
                    <a:pt x="33433" y="3620"/>
                    <a:pt x="23146" y="3620"/>
                  </a:cubicBezTo>
                  <a:lnTo>
                    <a:pt x="23050" y="3620"/>
                  </a:lnTo>
                  <a:close/>
                  <a:moveTo>
                    <a:pt x="18669" y="36767"/>
                  </a:moveTo>
                  <a:lnTo>
                    <a:pt x="14573" y="36767"/>
                  </a:lnTo>
                  <a:lnTo>
                    <a:pt x="14573" y="10859"/>
                  </a:lnTo>
                  <a:cubicBezTo>
                    <a:pt x="16764" y="10573"/>
                    <a:pt x="18764" y="10287"/>
                    <a:pt x="21907" y="10287"/>
                  </a:cubicBezTo>
                  <a:cubicBezTo>
                    <a:pt x="25813" y="10287"/>
                    <a:pt x="28384" y="11144"/>
                    <a:pt x="29908" y="12287"/>
                  </a:cubicBezTo>
                  <a:cubicBezTo>
                    <a:pt x="31432" y="13430"/>
                    <a:pt x="32290" y="15145"/>
                    <a:pt x="32290" y="17621"/>
                  </a:cubicBezTo>
                  <a:cubicBezTo>
                    <a:pt x="32290" y="21050"/>
                    <a:pt x="30004" y="23051"/>
                    <a:pt x="27241" y="23908"/>
                  </a:cubicBezTo>
                  <a:lnTo>
                    <a:pt x="27241" y="24098"/>
                  </a:lnTo>
                  <a:cubicBezTo>
                    <a:pt x="29527" y="24479"/>
                    <a:pt x="31051" y="26575"/>
                    <a:pt x="31528" y="30385"/>
                  </a:cubicBezTo>
                  <a:cubicBezTo>
                    <a:pt x="32194" y="34385"/>
                    <a:pt x="32766" y="35909"/>
                    <a:pt x="33242" y="36767"/>
                  </a:cubicBezTo>
                  <a:lnTo>
                    <a:pt x="28861" y="36767"/>
                  </a:lnTo>
                  <a:cubicBezTo>
                    <a:pt x="28194" y="35909"/>
                    <a:pt x="27622" y="33528"/>
                    <a:pt x="27146" y="30194"/>
                  </a:cubicBezTo>
                  <a:cubicBezTo>
                    <a:pt x="26575" y="26861"/>
                    <a:pt x="24860" y="25622"/>
                    <a:pt x="21526" y="25622"/>
                  </a:cubicBezTo>
                  <a:lnTo>
                    <a:pt x="18669" y="25622"/>
                  </a:lnTo>
                  <a:lnTo>
                    <a:pt x="18669" y="36767"/>
                  </a:lnTo>
                  <a:close/>
                  <a:moveTo>
                    <a:pt x="18669" y="22384"/>
                  </a:moveTo>
                  <a:lnTo>
                    <a:pt x="21622" y="22384"/>
                  </a:lnTo>
                  <a:cubicBezTo>
                    <a:pt x="25051" y="22384"/>
                    <a:pt x="27908" y="21146"/>
                    <a:pt x="27908" y="17907"/>
                  </a:cubicBezTo>
                  <a:cubicBezTo>
                    <a:pt x="27908" y="15621"/>
                    <a:pt x="26289" y="13335"/>
                    <a:pt x="21622" y="13335"/>
                  </a:cubicBezTo>
                  <a:cubicBezTo>
                    <a:pt x="20288" y="13335"/>
                    <a:pt x="19336" y="13430"/>
                    <a:pt x="18669" y="13526"/>
                  </a:cubicBezTo>
                  <a:lnTo>
                    <a:pt x="18669" y="222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2" name="Freeform: Shape 941">
              <a:extLst>
                <a:ext uri="{FF2B5EF4-FFF2-40B4-BE49-F238E27FC236}">
                  <a16:creationId xmlns:a16="http://schemas.microsoft.com/office/drawing/2014/main" id="{190753F8-324A-4CB8-BF55-40D096466EAB}"/>
                </a:ext>
              </a:extLst>
            </p:cNvPr>
            <p:cNvSpPr/>
            <p:nvPr/>
          </p:nvSpPr>
          <p:spPr>
            <a:xfrm>
              <a:off x="8848198" y="5769247"/>
              <a:ext cx="148113" cy="231839"/>
            </a:xfrm>
            <a:custGeom>
              <a:avLst/>
              <a:gdLst>
                <a:gd name="connsiteX0" fmla="*/ 141160 w 148113"/>
                <a:gd name="connsiteY0" fmla="*/ 1 h 231839"/>
                <a:gd name="connsiteX1" fmla="*/ 88392 w 148113"/>
                <a:gd name="connsiteY1" fmla="*/ 1 h 231839"/>
                <a:gd name="connsiteX2" fmla="*/ 21622 w 148113"/>
                <a:gd name="connsiteY2" fmla="*/ 31719 h 231839"/>
                <a:gd name="connsiteX3" fmla="*/ 0 w 148113"/>
                <a:gd name="connsiteY3" fmla="*/ 105823 h 231839"/>
                <a:gd name="connsiteX4" fmla="*/ 0 w 148113"/>
                <a:gd name="connsiteY4" fmla="*/ 231839 h 231839"/>
                <a:gd name="connsiteX5" fmla="*/ 89440 w 148113"/>
                <a:gd name="connsiteY5" fmla="*/ 231839 h 231839"/>
                <a:gd name="connsiteX6" fmla="*/ 89440 w 148113"/>
                <a:gd name="connsiteY6" fmla="*/ 224886 h 231839"/>
                <a:gd name="connsiteX7" fmla="*/ 89630 w 148113"/>
                <a:gd name="connsiteY7" fmla="*/ 105919 h 231839"/>
                <a:gd name="connsiteX8" fmla="*/ 89630 w 148113"/>
                <a:gd name="connsiteY8" fmla="*/ 105919 h 231839"/>
                <a:gd name="connsiteX9" fmla="*/ 91535 w 148113"/>
                <a:gd name="connsiteY9" fmla="*/ 98394 h 231839"/>
                <a:gd name="connsiteX10" fmla="*/ 100489 w 148113"/>
                <a:gd name="connsiteY10" fmla="*/ 86011 h 231839"/>
                <a:gd name="connsiteX11" fmla="*/ 110109 w 148113"/>
                <a:gd name="connsiteY11" fmla="*/ 81154 h 231839"/>
                <a:gd name="connsiteX12" fmla="*/ 148114 w 148113"/>
                <a:gd name="connsiteY12" fmla="*/ 81154 h 231839"/>
                <a:gd name="connsiteX13" fmla="*/ 148114 w 148113"/>
                <a:gd name="connsiteY13" fmla="*/ 96 h 231839"/>
                <a:gd name="connsiteX14" fmla="*/ 141160 w 148113"/>
                <a:gd name="connsiteY14" fmla="*/ 96 h 231839"/>
                <a:gd name="connsiteX15" fmla="*/ 134207 w 148113"/>
                <a:gd name="connsiteY15" fmla="*/ 67152 h 231839"/>
                <a:gd name="connsiteX16" fmla="*/ 110109 w 148113"/>
                <a:gd name="connsiteY16" fmla="*/ 67152 h 231839"/>
                <a:gd name="connsiteX17" fmla="*/ 96774 w 148113"/>
                <a:gd name="connsiteY17" fmla="*/ 71343 h 231839"/>
                <a:gd name="connsiteX18" fmla="*/ 82105 w 148113"/>
                <a:gd name="connsiteY18" fmla="*/ 86583 h 231839"/>
                <a:gd name="connsiteX19" fmla="*/ 75724 w 148113"/>
                <a:gd name="connsiteY19" fmla="*/ 105919 h 231839"/>
                <a:gd name="connsiteX20" fmla="*/ 75533 w 148113"/>
                <a:gd name="connsiteY20" fmla="*/ 218028 h 231839"/>
                <a:gd name="connsiteX21" fmla="*/ 14002 w 148113"/>
                <a:gd name="connsiteY21" fmla="*/ 218028 h 231839"/>
                <a:gd name="connsiteX22" fmla="*/ 14002 w 148113"/>
                <a:gd name="connsiteY22" fmla="*/ 105919 h 231839"/>
                <a:gd name="connsiteX23" fmla="*/ 32766 w 148113"/>
                <a:gd name="connsiteY23" fmla="*/ 40196 h 231839"/>
                <a:gd name="connsiteX24" fmla="*/ 88392 w 148113"/>
                <a:gd name="connsiteY24" fmla="*/ 14002 h 231839"/>
                <a:gd name="connsiteX25" fmla="*/ 134207 w 148113"/>
                <a:gd name="connsiteY25" fmla="*/ 14002 h 231839"/>
                <a:gd name="connsiteX26" fmla="*/ 134207 w 148113"/>
                <a:gd name="connsiteY26" fmla="*/ 67247 h 23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8113" h="231839">
                  <a:moveTo>
                    <a:pt x="141160" y="1"/>
                  </a:moveTo>
                  <a:lnTo>
                    <a:pt x="88392" y="1"/>
                  </a:lnTo>
                  <a:cubicBezTo>
                    <a:pt x="59150" y="-95"/>
                    <a:pt x="36290" y="12193"/>
                    <a:pt x="21622" y="31719"/>
                  </a:cubicBezTo>
                  <a:cubicBezTo>
                    <a:pt x="6953" y="51245"/>
                    <a:pt x="95" y="77439"/>
                    <a:pt x="0" y="105823"/>
                  </a:cubicBezTo>
                  <a:lnTo>
                    <a:pt x="0" y="231839"/>
                  </a:lnTo>
                  <a:lnTo>
                    <a:pt x="89440" y="231839"/>
                  </a:lnTo>
                  <a:lnTo>
                    <a:pt x="89440" y="224886"/>
                  </a:lnTo>
                  <a:lnTo>
                    <a:pt x="89630" y="105919"/>
                  </a:lnTo>
                  <a:lnTo>
                    <a:pt x="89630" y="105919"/>
                  </a:lnTo>
                  <a:cubicBezTo>
                    <a:pt x="89630" y="104014"/>
                    <a:pt x="90202" y="101251"/>
                    <a:pt x="91535" y="98394"/>
                  </a:cubicBezTo>
                  <a:cubicBezTo>
                    <a:pt x="93440" y="94012"/>
                    <a:pt x="96869" y="89250"/>
                    <a:pt x="100489" y="86011"/>
                  </a:cubicBezTo>
                  <a:cubicBezTo>
                    <a:pt x="104108" y="82582"/>
                    <a:pt x="108013" y="80963"/>
                    <a:pt x="110109" y="81154"/>
                  </a:cubicBezTo>
                  <a:lnTo>
                    <a:pt x="148114" y="81154"/>
                  </a:lnTo>
                  <a:lnTo>
                    <a:pt x="148114" y="96"/>
                  </a:lnTo>
                  <a:lnTo>
                    <a:pt x="141160" y="96"/>
                  </a:lnTo>
                  <a:close/>
                  <a:moveTo>
                    <a:pt x="134207" y="67152"/>
                  </a:moveTo>
                  <a:lnTo>
                    <a:pt x="110109" y="67152"/>
                  </a:lnTo>
                  <a:cubicBezTo>
                    <a:pt x="105156" y="67152"/>
                    <a:pt x="100679" y="68962"/>
                    <a:pt x="96774" y="71343"/>
                  </a:cubicBezTo>
                  <a:cubicBezTo>
                    <a:pt x="90868" y="75153"/>
                    <a:pt x="85820" y="80582"/>
                    <a:pt x="82105" y="86583"/>
                  </a:cubicBezTo>
                  <a:cubicBezTo>
                    <a:pt x="78391" y="92584"/>
                    <a:pt x="75819" y="99156"/>
                    <a:pt x="75724" y="105919"/>
                  </a:cubicBezTo>
                  <a:lnTo>
                    <a:pt x="75533" y="218028"/>
                  </a:lnTo>
                  <a:lnTo>
                    <a:pt x="14002" y="218028"/>
                  </a:lnTo>
                  <a:lnTo>
                    <a:pt x="14002" y="105919"/>
                  </a:lnTo>
                  <a:cubicBezTo>
                    <a:pt x="14002" y="79725"/>
                    <a:pt x="20479" y="56484"/>
                    <a:pt x="32766" y="40196"/>
                  </a:cubicBezTo>
                  <a:cubicBezTo>
                    <a:pt x="45149" y="23908"/>
                    <a:pt x="62960" y="14098"/>
                    <a:pt x="88392" y="14002"/>
                  </a:cubicBezTo>
                  <a:lnTo>
                    <a:pt x="134207" y="14002"/>
                  </a:lnTo>
                  <a:lnTo>
                    <a:pt x="134207" y="67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3" name="Freeform: Shape 942">
              <a:extLst>
                <a:ext uri="{FF2B5EF4-FFF2-40B4-BE49-F238E27FC236}">
                  <a16:creationId xmlns:a16="http://schemas.microsoft.com/office/drawing/2014/main" id="{BDCD28FC-90B6-4802-B0C9-D7DC41B206B9}"/>
                </a:ext>
              </a:extLst>
            </p:cNvPr>
            <p:cNvSpPr/>
            <p:nvPr/>
          </p:nvSpPr>
          <p:spPr>
            <a:xfrm>
              <a:off x="9011383" y="5770105"/>
              <a:ext cx="169154" cy="231076"/>
            </a:xfrm>
            <a:custGeom>
              <a:avLst/>
              <a:gdLst>
                <a:gd name="connsiteX0" fmla="*/ 162094 w 169154"/>
                <a:gd name="connsiteY0" fmla="*/ 0 h 231076"/>
                <a:gd name="connsiteX1" fmla="*/ 58938 w 169154"/>
                <a:gd name="connsiteY1" fmla="*/ 0 h 231076"/>
                <a:gd name="connsiteX2" fmla="*/ 25124 w 169154"/>
                <a:gd name="connsiteY2" fmla="*/ 108680 h 231076"/>
                <a:gd name="connsiteX3" fmla="*/ 57033 w 169154"/>
                <a:gd name="connsiteY3" fmla="*/ 128778 h 231076"/>
                <a:gd name="connsiteX4" fmla="*/ 49699 w 169154"/>
                <a:gd name="connsiteY4" fmla="*/ 163449 h 231076"/>
                <a:gd name="connsiteX5" fmla="*/ 359 w 169154"/>
                <a:gd name="connsiteY5" fmla="*/ 163449 h 231076"/>
                <a:gd name="connsiteX6" fmla="*/ 359 w 169154"/>
                <a:gd name="connsiteY6" fmla="*/ 231076 h 231076"/>
                <a:gd name="connsiteX7" fmla="*/ 110849 w 169154"/>
                <a:gd name="connsiteY7" fmla="*/ 231076 h 231076"/>
                <a:gd name="connsiteX8" fmla="*/ 133614 w 169154"/>
                <a:gd name="connsiteY8" fmla="*/ 110585 h 231076"/>
                <a:gd name="connsiteX9" fmla="*/ 103515 w 169154"/>
                <a:gd name="connsiteY9" fmla="*/ 88678 h 231076"/>
                <a:gd name="connsiteX10" fmla="*/ 114469 w 169154"/>
                <a:gd name="connsiteY10" fmla="*/ 66770 h 231076"/>
                <a:gd name="connsiteX11" fmla="*/ 161903 w 169154"/>
                <a:gd name="connsiteY11" fmla="*/ 66770 h 231076"/>
                <a:gd name="connsiteX12" fmla="*/ 161903 w 169154"/>
                <a:gd name="connsiteY12" fmla="*/ 95 h 23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154" h="231076">
                  <a:moveTo>
                    <a:pt x="162094" y="0"/>
                  </a:moveTo>
                  <a:lnTo>
                    <a:pt x="58938" y="0"/>
                  </a:lnTo>
                  <a:cubicBezTo>
                    <a:pt x="12361" y="857"/>
                    <a:pt x="-27835" y="70295"/>
                    <a:pt x="25124" y="108680"/>
                  </a:cubicBezTo>
                  <a:lnTo>
                    <a:pt x="57033" y="128778"/>
                  </a:lnTo>
                  <a:cubicBezTo>
                    <a:pt x="75321" y="140684"/>
                    <a:pt x="76178" y="163449"/>
                    <a:pt x="49699" y="163449"/>
                  </a:cubicBezTo>
                  <a:lnTo>
                    <a:pt x="359" y="163449"/>
                  </a:lnTo>
                  <a:lnTo>
                    <a:pt x="359" y="231076"/>
                  </a:lnTo>
                  <a:lnTo>
                    <a:pt x="110849" y="231076"/>
                  </a:lnTo>
                  <a:cubicBezTo>
                    <a:pt x="170190" y="231076"/>
                    <a:pt x="194860" y="145161"/>
                    <a:pt x="133614" y="110585"/>
                  </a:cubicBezTo>
                  <a:lnTo>
                    <a:pt x="103515" y="88678"/>
                  </a:lnTo>
                  <a:cubicBezTo>
                    <a:pt x="89799" y="75914"/>
                    <a:pt x="103515" y="66770"/>
                    <a:pt x="114469" y="66770"/>
                  </a:cubicBezTo>
                  <a:lnTo>
                    <a:pt x="161903" y="66770"/>
                  </a:lnTo>
                  <a:lnTo>
                    <a:pt x="161903" y="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4" name="Freeform: Shape 943">
              <a:extLst>
                <a:ext uri="{FF2B5EF4-FFF2-40B4-BE49-F238E27FC236}">
                  <a16:creationId xmlns:a16="http://schemas.microsoft.com/office/drawing/2014/main" id="{C2C4B085-2594-46FD-A28A-520BB80030D7}"/>
                </a:ext>
              </a:extLst>
            </p:cNvPr>
            <p:cNvSpPr/>
            <p:nvPr/>
          </p:nvSpPr>
          <p:spPr>
            <a:xfrm>
              <a:off x="9194432" y="5769724"/>
              <a:ext cx="324421" cy="229933"/>
            </a:xfrm>
            <a:custGeom>
              <a:avLst/>
              <a:gdLst>
                <a:gd name="connsiteX0" fmla="*/ 247936 w 324421"/>
                <a:gd name="connsiteY0" fmla="*/ 0 h 229933"/>
                <a:gd name="connsiteX1" fmla="*/ 247745 w 324421"/>
                <a:gd name="connsiteY1" fmla="*/ 125540 h 229933"/>
                <a:gd name="connsiteX2" fmla="*/ 224123 w 324421"/>
                <a:gd name="connsiteY2" fmla="*/ 149924 h 229933"/>
                <a:gd name="connsiteX3" fmla="*/ 200596 w 324421"/>
                <a:gd name="connsiteY3" fmla="*/ 125540 h 229933"/>
                <a:gd name="connsiteX4" fmla="*/ 200406 w 324421"/>
                <a:gd name="connsiteY4" fmla="*/ 0 h 229933"/>
                <a:gd name="connsiteX5" fmla="*/ 124015 w 324421"/>
                <a:gd name="connsiteY5" fmla="*/ 0 h 229933"/>
                <a:gd name="connsiteX6" fmla="*/ 123825 w 324421"/>
                <a:gd name="connsiteY6" fmla="*/ 125540 h 229933"/>
                <a:gd name="connsiteX7" fmla="*/ 100203 w 324421"/>
                <a:gd name="connsiteY7" fmla="*/ 149924 h 229933"/>
                <a:gd name="connsiteX8" fmla="*/ 76676 w 324421"/>
                <a:gd name="connsiteY8" fmla="*/ 125540 h 229933"/>
                <a:gd name="connsiteX9" fmla="*/ 76676 w 324421"/>
                <a:gd name="connsiteY9" fmla="*/ 0 h 229933"/>
                <a:gd name="connsiteX10" fmla="*/ 0 w 324421"/>
                <a:gd name="connsiteY10" fmla="*/ 0 h 229933"/>
                <a:gd name="connsiteX11" fmla="*/ 0 w 324421"/>
                <a:gd name="connsiteY11" fmla="*/ 125540 h 229933"/>
                <a:gd name="connsiteX12" fmla="*/ 100203 w 324421"/>
                <a:gd name="connsiteY12" fmla="*/ 229934 h 229933"/>
                <a:gd name="connsiteX13" fmla="*/ 162211 w 324421"/>
                <a:gd name="connsiteY13" fmla="*/ 207645 h 229933"/>
                <a:gd name="connsiteX14" fmla="*/ 224218 w 324421"/>
                <a:gd name="connsiteY14" fmla="*/ 229934 h 229933"/>
                <a:gd name="connsiteX15" fmla="*/ 324421 w 324421"/>
                <a:gd name="connsiteY15" fmla="*/ 125540 h 229933"/>
                <a:gd name="connsiteX16" fmla="*/ 324421 w 324421"/>
                <a:gd name="connsiteY16" fmla="*/ 0 h 229933"/>
                <a:gd name="connsiteX17" fmla="*/ 247936 w 324421"/>
                <a:gd name="connsiteY17" fmla="*/ 0 h 22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421" h="229933">
                  <a:moveTo>
                    <a:pt x="247936" y="0"/>
                  </a:moveTo>
                  <a:lnTo>
                    <a:pt x="247745" y="125540"/>
                  </a:lnTo>
                  <a:cubicBezTo>
                    <a:pt x="247745" y="139065"/>
                    <a:pt x="237077" y="149924"/>
                    <a:pt x="224123" y="149924"/>
                  </a:cubicBezTo>
                  <a:cubicBezTo>
                    <a:pt x="211169" y="149924"/>
                    <a:pt x="200596" y="139065"/>
                    <a:pt x="200596" y="125540"/>
                  </a:cubicBezTo>
                  <a:lnTo>
                    <a:pt x="200406" y="0"/>
                  </a:lnTo>
                  <a:lnTo>
                    <a:pt x="124015" y="0"/>
                  </a:lnTo>
                  <a:lnTo>
                    <a:pt x="123825" y="125540"/>
                  </a:lnTo>
                  <a:cubicBezTo>
                    <a:pt x="123825" y="139065"/>
                    <a:pt x="113157" y="149924"/>
                    <a:pt x="100203" y="149924"/>
                  </a:cubicBezTo>
                  <a:cubicBezTo>
                    <a:pt x="87249" y="149924"/>
                    <a:pt x="76676" y="139065"/>
                    <a:pt x="76676" y="125540"/>
                  </a:cubicBezTo>
                  <a:lnTo>
                    <a:pt x="76676" y="0"/>
                  </a:lnTo>
                  <a:lnTo>
                    <a:pt x="0" y="0"/>
                  </a:lnTo>
                  <a:lnTo>
                    <a:pt x="0" y="125540"/>
                  </a:lnTo>
                  <a:cubicBezTo>
                    <a:pt x="0" y="183166"/>
                    <a:pt x="44863" y="229934"/>
                    <a:pt x="100203" y="229934"/>
                  </a:cubicBezTo>
                  <a:cubicBezTo>
                    <a:pt x="123634" y="229934"/>
                    <a:pt x="145161" y="221552"/>
                    <a:pt x="162211" y="207645"/>
                  </a:cubicBezTo>
                  <a:cubicBezTo>
                    <a:pt x="179260" y="221647"/>
                    <a:pt x="200787" y="229934"/>
                    <a:pt x="224218" y="229934"/>
                  </a:cubicBezTo>
                  <a:cubicBezTo>
                    <a:pt x="279559" y="229934"/>
                    <a:pt x="324421" y="183261"/>
                    <a:pt x="324421" y="125540"/>
                  </a:cubicBezTo>
                  <a:lnTo>
                    <a:pt x="324421" y="0"/>
                  </a:lnTo>
                  <a:lnTo>
                    <a:pt x="24793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5" name="Freeform: Shape 944">
              <a:extLst>
                <a:ext uri="{FF2B5EF4-FFF2-40B4-BE49-F238E27FC236}">
                  <a16:creationId xmlns:a16="http://schemas.microsoft.com/office/drawing/2014/main" id="{1162CD34-7258-4DDA-8558-0A1F3F7C7139}"/>
                </a:ext>
              </a:extLst>
            </p:cNvPr>
            <p:cNvSpPr/>
            <p:nvPr/>
          </p:nvSpPr>
          <p:spPr>
            <a:xfrm>
              <a:off x="9537903" y="5769629"/>
              <a:ext cx="77438" cy="231171"/>
            </a:xfrm>
            <a:custGeom>
              <a:avLst/>
              <a:gdLst>
                <a:gd name="connsiteX0" fmla="*/ 0 w 77438"/>
                <a:gd name="connsiteY0" fmla="*/ 0 h 231171"/>
                <a:gd name="connsiteX1" fmla="*/ 77438 w 77438"/>
                <a:gd name="connsiteY1" fmla="*/ 0 h 231171"/>
                <a:gd name="connsiteX2" fmla="*/ 77438 w 77438"/>
                <a:gd name="connsiteY2" fmla="*/ 231172 h 231171"/>
                <a:gd name="connsiteX3" fmla="*/ 0 w 77438"/>
                <a:gd name="connsiteY3" fmla="*/ 231172 h 231171"/>
              </a:gdLst>
              <a:ahLst/>
              <a:cxnLst>
                <a:cxn ang="0">
                  <a:pos x="connsiteX0" y="connsiteY0"/>
                </a:cxn>
                <a:cxn ang="0">
                  <a:pos x="connsiteX1" y="connsiteY1"/>
                </a:cxn>
                <a:cxn ang="0">
                  <a:pos x="connsiteX2" y="connsiteY2"/>
                </a:cxn>
                <a:cxn ang="0">
                  <a:pos x="connsiteX3" y="connsiteY3"/>
                </a:cxn>
              </a:cxnLst>
              <a:rect l="l" t="t" r="r" b="b"/>
              <a:pathLst>
                <a:path w="77438" h="231171">
                  <a:moveTo>
                    <a:pt x="0" y="0"/>
                  </a:moveTo>
                  <a:lnTo>
                    <a:pt x="77438" y="0"/>
                  </a:lnTo>
                  <a:lnTo>
                    <a:pt x="77438" y="231172"/>
                  </a:lnTo>
                  <a:lnTo>
                    <a:pt x="0" y="23117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6" name="Freeform: Shape 945">
              <a:extLst>
                <a:ext uri="{FF2B5EF4-FFF2-40B4-BE49-F238E27FC236}">
                  <a16:creationId xmlns:a16="http://schemas.microsoft.com/office/drawing/2014/main" id="{68A1E459-E2CA-4FC0-9C29-65A94D1E038F}"/>
                </a:ext>
              </a:extLst>
            </p:cNvPr>
            <p:cNvSpPr/>
            <p:nvPr/>
          </p:nvSpPr>
          <p:spPr>
            <a:xfrm>
              <a:off x="9530760" y="5651233"/>
              <a:ext cx="91630" cy="89820"/>
            </a:xfrm>
            <a:custGeom>
              <a:avLst/>
              <a:gdLst>
                <a:gd name="connsiteX0" fmla="*/ 45815 w 91630"/>
                <a:gd name="connsiteY0" fmla="*/ 0 h 89820"/>
                <a:gd name="connsiteX1" fmla="*/ 0 w 91630"/>
                <a:gd name="connsiteY1" fmla="*/ 44958 h 89820"/>
                <a:gd name="connsiteX2" fmla="*/ 45815 w 91630"/>
                <a:gd name="connsiteY2" fmla="*/ 89821 h 89820"/>
                <a:gd name="connsiteX3" fmla="*/ 91630 w 91630"/>
                <a:gd name="connsiteY3" fmla="*/ 44958 h 89820"/>
                <a:gd name="connsiteX4" fmla="*/ 45815 w 91630"/>
                <a:gd name="connsiteY4" fmla="*/ 0 h 89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0" h="89820">
                  <a:moveTo>
                    <a:pt x="45815" y="0"/>
                  </a:moveTo>
                  <a:cubicBezTo>
                    <a:pt x="20479" y="0"/>
                    <a:pt x="0" y="20098"/>
                    <a:pt x="0" y="44958"/>
                  </a:cubicBezTo>
                  <a:cubicBezTo>
                    <a:pt x="0" y="69818"/>
                    <a:pt x="20479" y="89821"/>
                    <a:pt x="45815" y="89821"/>
                  </a:cubicBezTo>
                  <a:cubicBezTo>
                    <a:pt x="71152" y="89821"/>
                    <a:pt x="91630" y="69723"/>
                    <a:pt x="91630" y="44958"/>
                  </a:cubicBezTo>
                  <a:cubicBezTo>
                    <a:pt x="91630" y="20193"/>
                    <a:pt x="71152" y="0"/>
                    <a:pt x="45815" y="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7" name="Freeform: Shape 946">
              <a:extLst>
                <a:ext uri="{FF2B5EF4-FFF2-40B4-BE49-F238E27FC236}">
                  <a16:creationId xmlns:a16="http://schemas.microsoft.com/office/drawing/2014/main" id="{719DE000-054D-4A76-9983-76D026CBDF34}"/>
                </a:ext>
              </a:extLst>
            </p:cNvPr>
            <p:cNvSpPr/>
            <p:nvPr/>
          </p:nvSpPr>
          <p:spPr>
            <a:xfrm>
              <a:off x="9633630" y="5713527"/>
              <a:ext cx="130873" cy="286321"/>
            </a:xfrm>
            <a:custGeom>
              <a:avLst/>
              <a:gdLst>
                <a:gd name="connsiteX0" fmla="*/ 91916 w 130873"/>
                <a:gd name="connsiteY0" fmla="*/ 286322 h 286321"/>
                <a:gd name="connsiteX1" fmla="*/ 0 w 130873"/>
                <a:gd name="connsiteY1" fmla="*/ 183547 h 286321"/>
                <a:gd name="connsiteX2" fmla="*/ 0 w 130873"/>
                <a:gd name="connsiteY2" fmla="*/ 0 h 286321"/>
                <a:gd name="connsiteX3" fmla="*/ 75533 w 130873"/>
                <a:gd name="connsiteY3" fmla="*/ 0 h 286321"/>
                <a:gd name="connsiteX4" fmla="*/ 75533 w 130873"/>
                <a:gd name="connsiteY4" fmla="*/ 55721 h 286321"/>
                <a:gd name="connsiteX5" fmla="*/ 130873 w 130873"/>
                <a:gd name="connsiteY5" fmla="*/ 55721 h 286321"/>
                <a:gd name="connsiteX6" fmla="*/ 130873 w 130873"/>
                <a:gd name="connsiteY6" fmla="*/ 127064 h 286321"/>
                <a:gd name="connsiteX7" fmla="*/ 75628 w 130873"/>
                <a:gd name="connsiteY7" fmla="*/ 127064 h 286321"/>
                <a:gd name="connsiteX8" fmla="*/ 75628 w 130873"/>
                <a:gd name="connsiteY8" fmla="*/ 183547 h 286321"/>
                <a:gd name="connsiteX9" fmla="*/ 98965 w 130873"/>
                <a:gd name="connsiteY9" fmla="*/ 212789 h 286321"/>
                <a:gd name="connsiteX10" fmla="*/ 129159 w 130873"/>
                <a:gd name="connsiteY10" fmla="*/ 212789 h 286321"/>
                <a:gd name="connsiteX11" fmla="*/ 129159 w 130873"/>
                <a:gd name="connsiteY11" fmla="*/ 285845 h 286321"/>
                <a:gd name="connsiteX12" fmla="*/ 91916 w 130873"/>
                <a:gd name="connsiteY12" fmla="*/ 286322 h 28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873" h="286321">
                  <a:moveTo>
                    <a:pt x="91916" y="286322"/>
                  </a:moveTo>
                  <a:cubicBezTo>
                    <a:pt x="37338" y="286322"/>
                    <a:pt x="0" y="240316"/>
                    <a:pt x="0" y="183547"/>
                  </a:cubicBezTo>
                  <a:lnTo>
                    <a:pt x="0" y="0"/>
                  </a:lnTo>
                  <a:lnTo>
                    <a:pt x="75533" y="0"/>
                  </a:lnTo>
                  <a:lnTo>
                    <a:pt x="75533" y="55721"/>
                  </a:lnTo>
                  <a:lnTo>
                    <a:pt x="130873" y="55721"/>
                  </a:lnTo>
                  <a:lnTo>
                    <a:pt x="130873" y="127064"/>
                  </a:lnTo>
                  <a:lnTo>
                    <a:pt x="75628" y="127064"/>
                  </a:lnTo>
                  <a:lnTo>
                    <a:pt x="75628" y="183547"/>
                  </a:lnTo>
                  <a:cubicBezTo>
                    <a:pt x="75628" y="196787"/>
                    <a:pt x="86201" y="212789"/>
                    <a:pt x="98965" y="212789"/>
                  </a:cubicBezTo>
                  <a:lnTo>
                    <a:pt x="129159" y="212789"/>
                  </a:lnTo>
                  <a:lnTo>
                    <a:pt x="129159" y="285845"/>
                  </a:lnTo>
                  <a:lnTo>
                    <a:pt x="91916" y="28632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8" name="Freeform: Shape 947">
              <a:extLst>
                <a:ext uri="{FF2B5EF4-FFF2-40B4-BE49-F238E27FC236}">
                  <a16:creationId xmlns:a16="http://schemas.microsoft.com/office/drawing/2014/main" id="{F4BB866D-912E-40E3-A90D-5A114613C38D}"/>
                </a:ext>
              </a:extLst>
            </p:cNvPr>
            <p:cNvSpPr/>
            <p:nvPr/>
          </p:nvSpPr>
          <p:spPr>
            <a:xfrm>
              <a:off x="9772314" y="5769153"/>
              <a:ext cx="156400" cy="231457"/>
            </a:xfrm>
            <a:custGeom>
              <a:avLst/>
              <a:gdLst>
                <a:gd name="connsiteX0" fmla="*/ 116967 w 156400"/>
                <a:gd name="connsiteY0" fmla="*/ 231362 h 231457"/>
                <a:gd name="connsiteX1" fmla="*/ 0 w 156400"/>
                <a:gd name="connsiteY1" fmla="*/ 115824 h 231457"/>
                <a:gd name="connsiteX2" fmla="*/ 116967 w 156400"/>
                <a:gd name="connsiteY2" fmla="*/ 0 h 231457"/>
                <a:gd name="connsiteX3" fmla="*/ 156400 w 156400"/>
                <a:gd name="connsiteY3" fmla="*/ 0 h 231457"/>
                <a:gd name="connsiteX4" fmla="*/ 156400 w 156400"/>
                <a:gd name="connsiteY4" fmla="*/ 78581 h 231457"/>
                <a:gd name="connsiteX5" fmla="*/ 116967 w 156400"/>
                <a:gd name="connsiteY5" fmla="*/ 78581 h 231457"/>
                <a:gd name="connsiteX6" fmla="*/ 79438 w 156400"/>
                <a:gd name="connsiteY6" fmla="*/ 115824 h 231457"/>
                <a:gd name="connsiteX7" fmla="*/ 116967 w 156400"/>
                <a:gd name="connsiteY7" fmla="*/ 153067 h 231457"/>
                <a:gd name="connsiteX8" fmla="*/ 155543 w 156400"/>
                <a:gd name="connsiteY8" fmla="*/ 153067 h 231457"/>
                <a:gd name="connsiteX9" fmla="*/ 155543 w 156400"/>
                <a:gd name="connsiteY9" fmla="*/ 231267 h 231457"/>
                <a:gd name="connsiteX10" fmla="*/ 116967 w 156400"/>
                <a:gd name="connsiteY10" fmla="*/ 231458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00" h="231457">
                  <a:moveTo>
                    <a:pt x="116967" y="231362"/>
                  </a:moveTo>
                  <a:cubicBezTo>
                    <a:pt x="52388" y="231362"/>
                    <a:pt x="0" y="179737"/>
                    <a:pt x="0" y="115824"/>
                  </a:cubicBezTo>
                  <a:cubicBezTo>
                    <a:pt x="0" y="51911"/>
                    <a:pt x="52388" y="0"/>
                    <a:pt x="116967" y="0"/>
                  </a:cubicBezTo>
                  <a:lnTo>
                    <a:pt x="156400" y="0"/>
                  </a:lnTo>
                  <a:lnTo>
                    <a:pt x="156400" y="78581"/>
                  </a:lnTo>
                  <a:lnTo>
                    <a:pt x="116967" y="78581"/>
                  </a:lnTo>
                  <a:cubicBezTo>
                    <a:pt x="96202" y="78581"/>
                    <a:pt x="79438" y="95250"/>
                    <a:pt x="79438" y="115824"/>
                  </a:cubicBezTo>
                  <a:cubicBezTo>
                    <a:pt x="79438" y="136398"/>
                    <a:pt x="96298" y="153067"/>
                    <a:pt x="116967" y="153067"/>
                  </a:cubicBezTo>
                  <a:lnTo>
                    <a:pt x="155543" y="153067"/>
                  </a:lnTo>
                  <a:lnTo>
                    <a:pt x="155543" y="231267"/>
                  </a:lnTo>
                  <a:lnTo>
                    <a:pt x="116967" y="23145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9" name="Freeform: Shape 948">
              <a:extLst>
                <a:ext uri="{FF2B5EF4-FFF2-40B4-BE49-F238E27FC236}">
                  <a16:creationId xmlns:a16="http://schemas.microsoft.com/office/drawing/2014/main" id="{36087B2A-9CD1-4BD4-9A56-9F18EE5815A9}"/>
                </a:ext>
              </a:extLst>
            </p:cNvPr>
            <p:cNvSpPr/>
            <p:nvPr/>
          </p:nvSpPr>
          <p:spPr>
            <a:xfrm>
              <a:off x="9945669" y="5671712"/>
              <a:ext cx="212121" cy="328707"/>
            </a:xfrm>
            <a:custGeom>
              <a:avLst/>
              <a:gdLst>
                <a:gd name="connsiteX0" fmla="*/ 106013 w 212121"/>
                <a:gd name="connsiteY0" fmla="*/ 95059 h 328707"/>
                <a:gd name="connsiteX1" fmla="*/ 80296 w 212121"/>
                <a:gd name="connsiteY1" fmla="*/ 98203 h 328707"/>
                <a:gd name="connsiteX2" fmla="*/ 80296 w 212121"/>
                <a:gd name="connsiteY2" fmla="*/ 0 h 328707"/>
                <a:gd name="connsiteX3" fmla="*/ 0 w 212121"/>
                <a:gd name="connsiteY3" fmla="*/ 0 h 328707"/>
                <a:gd name="connsiteX4" fmla="*/ 0 w 212121"/>
                <a:gd name="connsiteY4" fmla="*/ 198120 h 328707"/>
                <a:gd name="connsiteX5" fmla="*/ 0 w 212121"/>
                <a:gd name="connsiteY5" fmla="*/ 201168 h 328707"/>
                <a:gd name="connsiteX6" fmla="*/ 0 w 212121"/>
                <a:gd name="connsiteY6" fmla="*/ 328708 h 328707"/>
                <a:gd name="connsiteX7" fmla="*/ 80581 w 212121"/>
                <a:gd name="connsiteY7" fmla="*/ 328708 h 328707"/>
                <a:gd name="connsiteX8" fmla="*/ 80772 w 212121"/>
                <a:gd name="connsiteY8" fmla="*/ 201168 h 328707"/>
                <a:gd name="connsiteX9" fmla="*/ 106013 w 212121"/>
                <a:gd name="connsiteY9" fmla="*/ 176403 h 328707"/>
                <a:gd name="connsiteX10" fmla="*/ 130969 w 212121"/>
                <a:gd name="connsiteY10" fmla="*/ 201168 h 328707"/>
                <a:gd name="connsiteX11" fmla="*/ 131159 w 212121"/>
                <a:gd name="connsiteY11" fmla="*/ 328708 h 328707"/>
                <a:gd name="connsiteX12" fmla="*/ 212122 w 212121"/>
                <a:gd name="connsiteY12" fmla="*/ 328708 h 328707"/>
                <a:gd name="connsiteX13" fmla="*/ 212122 w 212121"/>
                <a:gd name="connsiteY13" fmla="*/ 201168 h 328707"/>
                <a:gd name="connsiteX14" fmla="*/ 106108 w 212121"/>
                <a:gd name="connsiteY14" fmla="*/ 95155 h 32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121" h="328707">
                  <a:moveTo>
                    <a:pt x="106013" y="95059"/>
                  </a:moveTo>
                  <a:cubicBezTo>
                    <a:pt x="97155" y="95059"/>
                    <a:pt x="88583" y="96107"/>
                    <a:pt x="80296" y="98203"/>
                  </a:cubicBezTo>
                  <a:lnTo>
                    <a:pt x="80296" y="0"/>
                  </a:lnTo>
                  <a:lnTo>
                    <a:pt x="0" y="0"/>
                  </a:lnTo>
                  <a:lnTo>
                    <a:pt x="0" y="198120"/>
                  </a:lnTo>
                  <a:cubicBezTo>
                    <a:pt x="0" y="199168"/>
                    <a:pt x="0" y="200215"/>
                    <a:pt x="0" y="201168"/>
                  </a:cubicBezTo>
                  <a:lnTo>
                    <a:pt x="0" y="328708"/>
                  </a:lnTo>
                  <a:lnTo>
                    <a:pt x="80581" y="328708"/>
                  </a:lnTo>
                  <a:lnTo>
                    <a:pt x="80772" y="201168"/>
                  </a:lnTo>
                  <a:cubicBezTo>
                    <a:pt x="81058" y="187452"/>
                    <a:pt x="92297" y="176403"/>
                    <a:pt x="106013" y="176403"/>
                  </a:cubicBezTo>
                  <a:cubicBezTo>
                    <a:pt x="119729" y="176403"/>
                    <a:pt x="130969" y="187452"/>
                    <a:pt x="130969" y="201168"/>
                  </a:cubicBezTo>
                  <a:lnTo>
                    <a:pt x="131159" y="328708"/>
                  </a:lnTo>
                  <a:lnTo>
                    <a:pt x="212122" y="328708"/>
                  </a:lnTo>
                  <a:lnTo>
                    <a:pt x="212122" y="201168"/>
                  </a:lnTo>
                  <a:cubicBezTo>
                    <a:pt x="212122" y="142589"/>
                    <a:pt x="164687" y="95155"/>
                    <a:pt x="106108" y="95155"/>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0" name="Freeform: Shape 949">
              <a:extLst>
                <a:ext uri="{FF2B5EF4-FFF2-40B4-BE49-F238E27FC236}">
                  <a16:creationId xmlns:a16="http://schemas.microsoft.com/office/drawing/2014/main" id="{D88F8984-3830-4314-ACEF-9DEDAD1E8419}"/>
                </a:ext>
              </a:extLst>
            </p:cNvPr>
            <p:cNvSpPr/>
            <p:nvPr/>
          </p:nvSpPr>
          <p:spPr>
            <a:xfrm>
              <a:off x="7620807" y="5501310"/>
              <a:ext cx="2675000" cy="695324"/>
            </a:xfrm>
            <a:custGeom>
              <a:avLst/>
              <a:gdLst>
                <a:gd name="connsiteX0" fmla="*/ 51245 w 2675000"/>
                <a:gd name="connsiteY0" fmla="*/ 644081 h 695324"/>
                <a:gd name="connsiteX1" fmla="*/ 51245 w 2675000"/>
                <a:gd name="connsiteY1" fmla="*/ 51340 h 695324"/>
                <a:gd name="connsiteX2" fmla="*/ 2623757 w 2675000"/>
                <a:gd name="connsiteY2" fmla="*/ 51340 h 695324"/>
                <a:gd name="connsiteX3" fmla="*/ 2623757 w 2675000"/>
                <a:gd name="connsiteY3" fmla="*/ 644081 h 695324"/>
                <a:gd name="connsiteX4" fmla="*/ 51245 w 2675000"/>
                <a:gd name="connsiteY4" fmla="*/ 644081 h 695324"/>
                <a:gd name="connsiteX5" fmla="*/ 2649379 w 2675000"/>
                <a:gd name="connsiteY5" fmla="*/ 0 h 695324"/>
                <a:gd name="connsiteX6" fmla="*/ 0 w 2675000"/>
                <a:gd name="connsiteY6" fmla="*/ 0 h 695324"/>
                <a:gd name="connsiteX7" fmla="*/ 0 w 2675000"/>
                <a:gd name="connsiteY7" fmla="*/ 695325 h 695324"/>
                <a:gd name="connsiteX8" fmla="*/ 2675001 w 2675000"/>
                <a:gd name="connsiteY8" fmla="*/ 695325 h 695324"/>
                <a:gd name="connsiteX9" fmla="*/ 2675001 w 2675000"/>
                <a:gd name="connsiteY9" fmla="*/ 0 h 695324"/>
                <a:gd name="connsiteX10" fmla="*/ 2649379 w 2675000"/>
                <a:gd name="connsiteY10" fmla="*/ 0 h 69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5000" h="695324">
                  <a:moveTo>
                    <a:pt x="51245" y="644081"/>
                  </a:moveTo>
                  <a:lnTo>
                    <a:pt x="51245" y="51340"/>
                  </a:lnTo>
                  <a:lnTo>
                    <a:pt x="2623757" y="51340"/>
                  </a:lnTo>
                  <a:lnTo>
                    <a:pt x="2623757" y="644081"/>
                  </a:lnTo>
                  <a:lnTo>
                    <a:pt x="51245" y="644081"/>
                  </a:lnTo>
                  <a:close/>
                  <a:moveTo>
                    <a:pt x="2649379" y="0"/>
                  </a:moveTo>
                  <a:lnTo>
                    <a:pt x="0" y="0"/>
                  </a:lnTo>
                  <a:lnTo>
                    <a:pt x="0" y="695325"/>
                  </a:lnTo>
                  <a:lnTo>
                    <a:pt x="2675001" y="695325"/>
                  </a:lnTo>
                  <a:lnTo>
                    <a:pt x="2675001" y="0"/>
                  </a:lnTo>
                  <a:lnTo>
                    <a:pt x="264937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1" name="Freeform: Shape 950">
              <a:extLst>
                <a:ext uri="{FF2B5EF4-FFF2-40B4-BE49-F238E27FC236}">
                  <a16:creationId xmlns:a16="http://schemas.microsoft.com/office/drawing/2014/main" id="{7C5E76D7-23BB-4047-81DA-5476311105BC}"/>
                </a:ext>
              </a:extLst>
            </p:cNvPr>
            <p:cNvSpPr/>
            <p:nvPr/>
          </p:nvSpPr>
          <p:spPr>
            <a:xfrm>
              <a:off x="8415191" y="5768105"/>
              <a:ext cx="174023" cy="232409"/>
            </a:xfrm>
            <a:custGeom>
              <a:avLst/>
              <a:gdLst>
                <a:gd name="connsiteX0" fmla="*/ 136875 w 174023"/>
                <a:gd name="connsiteY0" fmla="*/ 105251 h 232409"/>
                <a:gd name="connsiteX1" fmla="*/ 137542 w 174023"/>
                <a:gd name="connsiteY1" fmla="*/ 105728 h 232409"/>
                <a:gd name="connsiteX2" fmla="*/ 109538 w 174023"/>
                <a:gd name="connsiteY2" fmla="*/ 85344 h 232409"/>
                <a:gd name="connsiteX3" fmla="*/ 106967 w 174023"/>
                <a:gd name="connsiteY3" fmla="*/ 82201 h 232409"/>
                <a:gd name="connsiteX4" fmla="*/ 106490 w 174023"/>
                <a:gd name="connsiteY4" fmla="*/ 80867 h 232409"/>
                <a:gd name="connsiteX5" fmla="*/ 106776 w 174023"/>
                <a:gd name="connsiteY5" fmla="*/ 80296 h 232409"/>
                <a:gd name="connsiteX6" fmla="*/ 109919 w 174023"/>
                <a:gd name="connsiteY6" fmla="*/ 78105 h 232409"/>
                <a:gd name="connsiteX7" fmla="*/ 115349 w 174023"/>
                <a:gd name="connsiteY7" fmla="*/ 76962 h 232409"/>
                <a:gd name="connsiteX8" fmla="*/ 167260 w 174023"/>
                <a:gd name="connsiteY8" fmla="*/ 76962 h 232409"/>
                <a:gd name="connsiteX9" fmla="*/ 167260 w 174023"/>
                <a:gd name="connsiteY9" fmla="*/ 0 h 232409"/>
                <a:gd name="connsiteX10" fmla="*/ 62580 w 174023"/>
                <a:gd name="connsiteY10" fmla="*/ 0 h 232409"/>
                <a:gd name="connsiteX11" fmla="*/ 18765 w 174023"/>
                <a:gd name="connsiteY11" fmla="*/ 20955 h 232409"/>
                <a:gd name="connsiteX12" fmla="*/ 1 w 174023"/>
                <a:gd name="connsiteY12" fmla="*/ 66580 h 232409"/>
                <a:gd name="connsiteX13" fmla="*/ 26671 w 174023"/>
                <a:gd name="connsiteY13" fmla="*/ 115348 h 232409"/>
                <a:gd name="connsiteX14" fmla="*/ 26861 w 174023"/>
                <a:gd name="connsiteY14" fmla="*/ 115348 h 232409"/>
                <a:gd name="connsiteX15" fmla="*/ 27052 w 174023"/>
                <a:gd name="connsiteY15" fmla="*/ 115634 h 232409"/>
                <a:gd name="connsiteX16" fmla="*/ 57246 w 174023"/>
                <a:gd name="connsiteY16" fmla="*/ 134588 h 232409"/>
                <a:gd name="connsiteX17" fmla="*/ 57246 w 174023"/>
                <a:gd name="connsiteY17" fmla="*/ 134588 h 232409"/>
                <a:gd name="connsiteX18" fmla="*/ 66581 w 174023"/>
                <a:gd name="connsiteY18" fmla="*/ 147828 h 232409"/>
                <a:gd name="connsiteX19" fmla="*/ 64580 w 174023"/>
                <a:gd name="connsiteY19" fmla="*/ 152019 h 232409"/>
                <a:gd name="connsiteX20" fmla="*/ 54103 w 174023"/>
                <a:gd name="connsiteY20" fmla="*/ 154591 h 232409"/>
                <a:gd name="connsiteX21" fmla="*/ 477 w 174023"/>
                <a:gd name="connsiteY21" fmla="*/ 154591 h 232409"/>
                <a:gd name="connsiteX22" fmla="*/ 477 w 174023"/>
                <a:gd name="connsiteY22" fmla="*/ 232410 h 232409"/>
                <a:gd name="connsiteX23" fmla="*/ 111920 w 174023"/>
                <a:gd name="connsiteY23" fmla="*/ 232410 h 232409"/>
                <a:gd name="connsiteX24" fmla="*/ 157259 w 174023"/>
                <a:gd name="connsiteY24" fmla="*/ 211931 h 232409"/>
                <a:gd name="connsiteX25" fmla="*/ 174023 w 174023"/>
                <a:gd name="connsiteY25" fmla="*/ 166592 h 232409"/>
                <a:gd name="connsiteX26" fmla="*/ 136970 w 174023"/>
                <a:gd name="connsiteY26" fmla="*/ 105346 h 232409"/>
                <a:gd name="connsiteX27" fmla="*/ 146686 w 174023"/>
                <a:gd name="connsiteY27" fmla="*/ 202597 h 232409"/>
                <a:gd name="connsiteX28" fmla="*/ 111824 w 174023"/>
                <a:gd name="connsiteY28" fmla="*/ 218313 h 232409"/>
                <a:gd name="connsiteX29" fmla="*/ 14288 w 174023"/>
                <a:gd name="connsiteY29" fmla="*/ 218313 h 232409"/>
                <a:gd name="connsiteX30" fmla="*/ 14288 w 174023"/>
                <a:gd name="connsiteY30" fmla="*/ 168307 h 232409"/>
                <a:gd name="connsiteX31" fmla="*/ 54008 w 174023"/>
                <a:gd name="connsiteY31" fmla="*/ 168307 h 232409"/>
                <a:gd name="connsiteX32" fmla="*/ 73058 w 174023"/>
                <a:gd name="connsiteY32" fmla="*/ 162782 h 232409"/>
                <a:gd name="connsiteX33" fmla="*/ 80392 w 174023"/>
                <a:gd name="connsiteY33" fmla="*/ 147638 h 232409"/>
                <a:gd name="connsiteX34" fmla="*/ 64771 w 174023"/>
                <a:gd name="connsiteY34" fmla="*/ 122682 h 232409"/>
                <a:gd name="connsiteX35" fmla="*/ 64771 w 174023"/>
                <a:gd name="connsiteY35" fmla="*/ 122682 h 232409"/>
                <a:gd name="connsiteX36" fmla="*/ 34767 w 174023"/>
                <a:gd name="connsiteY36" fmla="*/ 103823 h 232409"/>
                <a:gd name="connsiteX37" fmla="*/ 34767 w 174023"/>
                <a:gd name="connsiteY37" fmla="*/ 103823 h 232409"/>
                <a:gd name="connsiteX38" fmla="*/ 34386 w 174023"/>
                <a:gd name="connsiteY38" fmla="*/ 103632 h 232409"/>
                <a:gd name="connsiteX39" fmla="*/ 34672 w 174023"/>
                <a:gd name="connsiteY39" fmla="*/ 103823 h 232409"/>
                <a:gd name="connsiteX40" fmla="*/ 13907 w 174023"/>
                <a:gd name="connsiteY40" fmla="*/ 66389 h 232409"/>
                <a:gd name="connsiteX41" fmla="*/ 28957 w 174023"/>
                <a:gd name="connsiteY41" fmla="*/ 30194 h 232409"/>
                <a:gd name="connsiteX42" fmla="*/ 62866 w 174023"/>
                <a:gd name="connsiteY42" fmla="*/ 13621 h 232409"/>
                <a:gd name="connsiteX43" fmla="*/ 153449 w 174023"/>
                <a:gd name="connsiteY43" fmla="*/ 13621 h 232409"/>
                <a:gd name="connsiteX44" fmla="*/ 153449 w 174023"/>
                <a:gd name="connsiteY44" fmla="*/ 62770 h 232409"/>
                <a:gd name="connsiteX45" fmla="*/ 115349 w 174023"/>
                <a:gd name="connsiteY45" fmla="*/ 62770 h 232409"/>
                <a:gd name="connsiteX46" fmla="*/ 101061 w 174023"/>
                <a:gd name="connsiteY46" fmla="*/ 66770 h 232409"/>
                <a:gd name="connsiteX47" fmla="*/ 95251 w 174023"/>
                <a:gd name="connsiteY47" fmla="*/ 72200 h 232409"/>
                <a:gd name="connsiteX48" fmla="*/ 92584 w 174023"/>
                <a:gd name="connsiteY48" fmla="*/ 80677 h 232409"/>
                <a:gd name="connsiteX49" fmla="*/ 94679 w 174023"/>
                <a:gd name="connsiteY49" fmla="*/ 88583 h 232409"/>
                <a:gd name="connsiteX50" fmla="*/ 100204 w 174023"/>
                <a:gd name="connsiteY50" fmla="*/ 95536 h 232409"/>
                <a:gd name="connsiteX51" fmla="*/ 100490 w 174023"/>
                <a:gd name="connsiteY51" fmla="*/ 95821 h 232409"/>
                <a:gd name="connsiteX52" fmla="*/ 100871 w 174023"/>
                <a:gd name="connsiteY52" fmla="*/ 96107 h 232409"/>
                <a:gd name="connsiteX53" fmla="*/ 129350 w 174023"/>
                <a:gd name="connsiteY53" fmla="*/ 116872 h 232409"/>
                <a:gd name="connsiteX54" fmla="*/ 129636 w 174023"/>
                <a:gd name="connsiteY54" fmla="*/ 117062 h 232409"/>
                <a:gd name="connsiteX55" fmla="*/ 130017 w 174023"/>
                <a:gd name="connsiteY55" fmla="*/ 117253 h 232409"/>
                <a:gd name="connsiteX56" fmla="*/ 160021 w 174023"/>
                <a:gd name="connsiteY56" fmla="*/ 166307 h 232409"/>
                <a:gd name="connsiteX57" fmla="*/ 146686 w 174023"/>
                <a:gd name="connsiteY57" fmla="*/ 202502 h 23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74023" h="232409">
                  <a:moveTo>
                    <a:pt x="136875" y="105251"/>
                  </a:moveTo>
                  <a:lnTo>
                    <a:pt x="137542" y="105728"/>
                  </a:lnTo>
                  <a:lnTo>
                    <a:pt x="109538" y="85344"/>
                  </a:lnTo>
                  <a:cubicBezTo>
                    <a:pt x="108205" y="84011"/>
                    <a:pt x="107348" y="82867"/>
                    <a:pt x="106967" y="82201"/>
                  </a:cubicBezTo>
                  <a:cubicBezTo>
                    <a:pt x="106586" y="81343"/>
                    <a:pt x="106490" y="80963"/>
                    <a:pt x="106490" y="80867"/>
                  </a:cubicBezTo>
                  <a:lnTo>
                    <a:pt x="106776" y="80296"/>
                  </a:lnTo>
                  <a:cubicBezTo>
                    <a:pt x="107157" y="79724"/>
                    <a:pt x="108205" y="78772"/>
                    <a:pt x="109919" y="78105"/>
                  </a:cubicBezTo>
                  <a:cubicBezTo>
                    <a:pt x="111539" y="77343"/>
                    <a:pt x="113634" y="76962"/>
                    <a:pt x="115349" y="76962"/>
                  </a:cubicBezTo>
                  <a:lnTo>
                    <a:pt x="167260" y="76962"/>
                  </a:lnTo>
                  <a:lnTo>
                    <a:pt x="167260" y="0"/>
                  </a:lnTo>
                  <a:lnTo>
                    <a:pt x="62580" y="0"/>
                  </a:lnTo>
                  <a:cubicBezTo>
                    <a:pt x="45626" y="381"/>
                    <a:pt x="30100" y="8763"/>
                    <a:pt x="18765" y="20955"/>
                  </a:cubicBezTo>
                  <a:cubicBezTo>
                    <a:pt x="7430" y="33242"/>
                    <a:pt x="1" y="49530"/>
                    <a:pt x="1" y="66580"/>
                  </a:cubicBezTo>
                  <a:cubicBezTo>
                    <a:pt x="-94" y="84011"/>
                    <a:pt x="8097" y="102013"/>
                    <a:pt x="26671" y="115348"/>
                  </a:cubicBezTo>
                  <a:lnTo>
                    <a:pt x="26861" y="115348"/>
                  </a:lnTo>
                  <a:lnTo>
                    <a:pt x="27052" y="115634"/>
                  </a:lnTo>
                  <a:lnTo>
                    <a:pt x="57246" y="134588"/>
                  </a:lnTo>
                  <a:lnTo>
                    <a:pt x="57246" y="134588"/>
                  </a:lnTo>
                  <a:cubicBezTo>
                    <a:pt x="63818" y="138684"/>
                    <a:pt x="66676" y="144590"/>
                    <a:pt x="66581" y="147828"/>
                  </a:cubicBezTo>
                  <a:cubicBezTo>
                    <a:pt x="66581" y="149733"/>
                    <a:pt x="66104" y="150781"/>
                    <a:pt x="64580" y="152019"/>
                  </a:cubicBezTo>
                  <a:cubicBezTo>
                    <a:pt x="63056" y="153257"/>
                    <a:pt x="59818" y="154591"/>
                    <a:pt x="54103" y="154591"/>
                  </a:cubicBezTo>
                  <a:lnTo>
                    <a:pt x="477" y="154591"/>
                  </a:lnTo>
                  <a:lnTo>
                    <a:pt x="477" y="232410"/>
                  </a:lnTo>
                  <a:lnTo>
                    <a:pt x="111920" y="232410"/>
                  </a:lnTo>
                  <a:cubicBezTo>
                    <a:pt x="130684" y="232410"/>
                    <a:pt x="146495" y="224218"/>
                    <a:pt x="157259" y="211931"/>
                  </a:cubicBezTo>
                  <a:cubicBezTo>
                    <a:pt x="168022" y="199644"/>
                    <a:pt x="174023" y="183356"/>
                    <a:pt x="174023" y="166592"/>
                  </a:cubicBezTo>
                  <a:cubicBezTo>
                    <a:pt x="174118" y="143732"/>
                    <a:pt x="162497" y="119825"/>
                    <a:pt x="136970" y="105346"/>
                  </a:cubicBezTo>
                  <a:close/>
                  <a:moveTo>
                    <a:pt x="146686" y="202597"/>
                  </a:moveTo>
                  <a:cubicBezTo>
                    <a:pt x="138209" y="212217"/>
                    <a:pt x="126493" y="218313"/>
                    <a:pt x="111824" y="218313"/>
                  </a:cubicBezTo>
                  <a:lnTo>
                    <a:pt x="14288" y="218313"/>
                  </a:lnTo>
                  <a:lnTo>
                    <a:pt x="14288" y="168307"/>
                  </a:lnTo>
                  <a:lnTo>
                    <a:pt x="54008" y="168307"/>
                  </a:lnTo>
                  <a:cubicBezTo>
                    <a:pt x="61723" y="168307"/>
                    <a:pt x="68200" y="166592"/>
                    <a:pt x="73058" y="162782"/>
                  </a:cubicBezTo>
                  <a:cubicBezTo>
                    <a:pt x="77915" y="159067"/>
                    <a:pt x="80487" y="153257"/>
                    <a:pt x="80392" y="147638"/>
                  </a:cubicBezTo>
                  <a:cubicBezTo>
                    <a:pt x="80297" y="137922"/>
                    <a:pt x="74201" y="128873"/>
                    <a:pt x="64771" y="122682"/>
                  </a:cubicBezTo>
                  <a:lnTo>
                    <a:pt x="64771" y="122682"/>
                  </a:lnTo>
                  <a:lnTo>
                    <a:pt x="34767" y="103823"/>
                  </a:lnTo>
                  <a:lnTo>
                    <a:pt x="34767" y="103823"/>
                  </a:lnTo>
                  <a:lnTo>
                    <a:pt x="34386" y="103632"/>
                  </a:lnTo>
                  <a:lnTo>
                    <a:pt x="34672" y="103823"/>
                  </a:lnTo>
                  <a:cubicBezTo>
                    <a:pt x="19432" y="92678"/>
                    <a:pt x="13907" y="79629"/>
                    <a:pt x="13907" y="66389"/>
                  </a:cubicBezTo>
                  <a:cubicBezTo>
                    <a:pt x="13907" y="53435"/>
                    <a:pt x="19718" y="40100"/>
                    <a:pt x="28957" y="30194"/>
                  </a:cubicBezTo>
                  <a:cubicBezTo>
                    <a:pt x="38196" y="20288"/>
                    <a:pt x="50579" y="13907"/>
                    <a:pt x="62866" y="13621"/>
                  </a:cubicBezTo>
                  <a:lnTo>
                    <a:pt x="153449" y="13621"/>
                  </a:lnTo>
                  <a:lnTo>
                    <a:pt x="153449" y="62770"/>
                  </a:lnTo>
                  <a:lnTo>
                    <a:pt x="115349" y="62770"/>
                  </a:lnTo>
                  <a:cubicBezTo>
                    <a:pt x="110396" y="62770"/>
                    <a:pt x="105443" y="64103"/>
                    <a:pt x="101061" y="66770"/>
                  </a:cubicBezTo>
                  <a:cubicBezTo>
                    <a:pt x="98870" y="68104"/>
                    <a:pt x="96870" y="69818"/>
                    <a:pt x="95251" y="72200"/>
                  </a:cubicBezTo>
                  <a:cubicBezTo>
                    <a:pt x="93632" y="74486"/>
                    <a:pt x="92584" y="77534"/>
                    <a:pt x="92584" y="80677"/>
                  </a:cubicBezTo>
                  <a:cubicBezTo>
                    <a:pt x="92584" y="83344"/>
                    <a:pt x="93346" y="86106"/>
                    <a:pt x="94679" y="88583"/>
                  </a:cubicBezTo>
                  <a:cubicBezTo>
                    <a:pt x="96013" y="91059"/>
                    <a:pt x="97918" y="93345"/>
                    <a:pt x="100204" y="95536"/>
                  </a:cubicBezTo>
                  <a:lnTo>
                    <a:pt x="100490" y="95821"/>
                  </a:lnTo>
                  <a:lnTo>
                    <a:pt x="100871" y="96107"/>
                  </a:lnTo>
                  <a:lnTo>
                    <a:pt x="129350" y="116872"/>
                  </a:lnTo>
                  <a:lnTo>
                    <a:pt x="129636" y="117062"/>
                  </a:lnTo>
                  <a:lnTo>
                    <a:pt x="130017" y="117253"/>
                  </a:lnTo>
                  <a:cubicBezTo>
                    <a:pt x="151353" y="129445"/>
                    <a:pt x="159926" y="147923"/>
                    <a:pt x="160021" y="166307"/>
                  </a:cubicBezTo>
                  <a:cubicBezTo>
                    <a:pt x="160021" y="179737"/>
                    <a:pt x="155163" y="192881"/>
                    <a:pt x="146686" y="202502"/>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2" name="Freeform: Shape 951">
              <a:extLst>
                <a:ext uri="{FF2B5EF4-FFF2-40B4-BE49-F238E27FC236}">
                  <a16:creationId xmlns:a16="http://schemas.microsoft.com/office/drawing/2014/main" id="{BA50207F-A912-4276-AC20-5D2D28535BFF}"/>
                </a:ext>
              </a:extLst>
            </p:cNvPr>
            <p:cNvSpPr/>
            <p:nvPr/>
          </p:nvSpPr>
          <p:spPr>
            <a:xfrm>
              <a:off x="7753871" y="5768105"/>
              <a:ext cx="174022" cy="232409"/>
            </a:xfrm>
            <a:custGeom>
              <a:avLst/>
              <a:gdLst>
                <a:gd name="connsiteX0" fmla="*/ 136874 w 174022"/>
                <a:gd name="connsiteY0" fmla="*/ 105251 h 232409"/>
                <a:gd name="connsiteX1" fmla="*/ 137541 w 174022"/>
                <a:gd name="connsiteY1" fmla="*/ 105728 h 232409"/>
                <a:gd name="connsiteX2" fmla="*/ 109537 w 174022"/>
                <a:gd name="connsiteY2" fmla="*/ 85344 h 232409"/>
                <a:gd name="connsiteX3" fmla="*/ 106966 w 174022"/>
                <a:gd name="connsiteY3" fmla="*/ 82201 h 232409"/>
                <a:gd name="connsiteX4" fmla="*/ 106489 w 174022"/>
                <a:gd name="connsiteY4" fmla="*/ 80867 h 232409"/>
                <a:gd name="connsiteX5" fmla="*/ 106775 w 174022"/>
                <a:gd name="connsiteY5" fmla="*/ 80296 h 232409"/>
                <a:gd name="connsiteX6" fmla="*/ 109919 w 174022"/>
                <a:gd name="connsiteY6" fmla="*/ 78105 h 232409"/>
                <a:gd name="connsiteX7" fmla="*/ 115348 w 174022"/>
                <a:gd name="connsiteY7" fmla="*/ 76962 h 232409"/>
                <a:gd name="connsiteX8" fmla="*/ 167259 w 174022"/>
                <a:gd name="connsiteY8" fmla="*/ 76962 h 232409"/>
                <a:gd name="connsiteX9" fmla="*/ 167259 w 174022"/>
                <a:gd name="connsiteY9" fmla="*/ 0 h 232409"/>
                <a:gd name="connsiteX10" fmla="*/ 62579 w 174022"/>
                <a:gd name="connsiteY10" fmla="*/ 0 h 232409"/>
                <a:gd name="connsiteX11" fmla="*/ 18764 w 174022"/>
                <a:gd name="connsiteY11" fmla="*/ 20955 h 232409"/>
                <a:gd name="connsiteX12" fmla="*/ 0 w 174022"/>
                <a:gd name="connsiteY12" fmla="*/ 66580 h 232409"/>
                <a:gd name="connsiteX13" fmla="*/ 26670 w 174022"/>
                <a:gd name="connsiteY13" fmla="*/ 115348 h 232409"/>
                <a:gd name="connsiteX14" fmla="*/ 26861 w 174022"/>
                <a:gd name="connsiteY14" fmla="*/ 115348 h 232409"/>
                <a:gd name="connsiteX15" fmla="*/ 27051 w 174022"/>
                <a:gd name="connsiteY15" fmla="*/ 115634 h 232409"/>
                <a:gd name="connsiteX16" fmla="*/ 57245 w 174022"/>
                <a:gd name="connsiteY16" fmla="*/ 134588 h 232409"/>
                <a:gd name="connsiteX17" fmla="*/ 57245 w 174022"/>
                <a:gd name="connsiteY17" fmla="*/ 134588 h 232409"/>
                <a:gd name="connsiteX18" fmla="*/ 66580 w 174022"/>
                <a:gd name="connsiteY18" fmla="*/ 147828 h 232409"/>
                <a:gd name="connsiteX19" fmla="*/ 64579 w 174022"/>
                <a:gd name="connsiteY19" fmla="*/ 152019 h 232409"/>
                <a:gd name="connsiteX20" fmla="*/ 54102 w 174022"/>
                <a:gd name="connsiteY20" fmla="*/ 154591 h 232409"/>
                <a:gd name="connsiteX21" fmla="*/ 476 w 174022"/>
                <a:gd name="connsiteY21" fmla="*/ 154591 h 232409"/>
                <a:gd name="connsiteX22" fmla="*/ 476 w 174022"/>
                <a:gd name="connsiteY22" fmla="*/ 232410 h 232409"/>
                <a:gd name="connsiteX23" fmla="*/ 111919 w 174022"/>
                <a:gd name="connsiteY23" fmla="*/ 232410 h 232409"/>
                <a:gd name="connsiteX24" fmla="*/ 157258 w 174022"/>
                <a:gd name="connsiteY24" fmla="*/ 211931 h 232409"/>
                <a:gd name="connsiteX25" fmla="*/ 174022 w 174022"/>
                <a:gd name="connsiteY25" fmla="*/ 166592 h 232409"/>
                <a:gd name="connsiteX26" fmla="*/ 136970 w 174022"/>
                <a:gd name="connsiteY26" fmla="*/ 105346 h 232409"/>
                <a:gd name="connsiteX27" fmla="*/ 146685 w 174022"/>
                <a:gd name="connsiteY27" fmla="*/ 202597 h 232409"/>
                <a:gd name="connsiteX28" fmla="*/ 111823 w 174022"/>
                <a:gd name="connsiteY28" fmla="*/ 218313 h 232409"/>
                <a:gd name="connsiteX29" fmla="*/ 14288 w 174022"/>
                <a:gd name="connsiteY29" fmla="*/ 218313 h 232409"/>
                <a:gd name="connsiteX30" fmla="*/ 14288 w 174022"/>
                <a:gd name="connsiteY30" fmla="*/ 168307 h 232409"/>
                <a:gd name="connsiteX31" fmla="*/ 54007 w 174022"/>
                <a:gd name="connsiteY31" fmla="*/ 168307 h 232409"/>
                <a:gd name="connsiteX32" fmla="*/ 73057 w 174022"/>
                <a:gd name="connsiteY32" fmla="*/ 162782 h 232409"/>
                <a:gd name="connsiteX33" fmla="*/ 80391 w 174022"/>
                <a:gd name="connsiteY33" fmla="*/ 147638 h 232409"/>
                <a:gd name="connsiteX34" fmla="*/ 64770 w 174022"/>
                <a:gd name="connsiteY34" fmla="*/ 122682 h 232409"/>
                <a:gd name="connsiteX35" fmla="*/ 64770 w 174022"/>
                <a:gd name="connsiteY35" fmla="*/ 122682 h 232409"/>
                <a:gd name="connsiteX36" fmla="*/ 34861 w 174022"/>
                <a:gd name="connsiteY36" fmla="*/ 103823 h 232409"/>
                <a:gd name="connsiteX37" fmla="*/ 34861 w 174022"/>
                <a:gd name="connsiteY37" fmla="*/ 103823 h 232409"/>
                <a:gd name="connsiteX38" fmla="*/ 34481 w 174022"/>
                <a:gd name="connsiteY38" fmla="*/ 103632 h 232409"/>
                <a:gd name="connsiteX39" fmla="*/ 34766 w 174022"/>
                <a:gd name="connsiteY39" fmla="*/ 103823 h 232409"/>
                <a:gd name="connsiteX40" fmla="*/ 13907 w 174022"/>
                <a:gd name="connsiteY40" fmla="*/ 66389 h 232409"/>
                <a:gd name="connsiteX41" fmla="*/ 28956 w 174022"/>
                <a:gd name="connsiteY41" fmla="*/ 30194 h 232409"/>
                <a:gd name="connsiteX42" fmla="*/ 62770 w 174022"/>
                <a:gd name="connsiteY42" fmla="*/ 13621 h 232409"/>
                <a:gd name="connsiteX43" fmla="*/ 153448 w 174022"/>
                <a:gd name="connsiteY43" fmla="*/ 13621 h 232409"/>
                <a:gd name="connsiteX44" fmla="*/ 153448 w 174022"/>
                <a:gd name="connsiteY44" fmla="*/ 62770 h 232409"/>
                <a:gd name="connsiteX45" fmla="*/ 115348 w 174022"/>
                <a:gd name="connsiteY45" fmla="*/ 62770 h 232409"/>
                <a:gd name="connsiteX46" fmla="*/ 101060 w 174022"/>
                <a:gd name="connsiteY46" fmla="*/ 66770 h 232409"/>
                <a:gd name="connsiteX47" fmla="*/ 95250 w 174022"/>
                <a:gd name="connsiteY47" fmla="*/ 72200 h 232409"/>
                <a:gd name="connsiteX48" fmla="*/ 92583 w 174022"/>
                <a:gd name="connsiteY48" fmla="*/ 80677 h 232409"/>
                <a:gd name="connsiteX49" fmla="*/ 94678 w 174022"/>
                <a:gd name="connsiteY49" fmla="*/ 88583 h 232409"/>
                <a:gd name="connsiteX50" fmla="*/ 100203 w 174022"/>
                <a:gd name="connsiteY50" fmla="*/ 95536 h 232409"/>
                <a:gd name="connsiteX51" fmla="*/ 100489 w 174022"/>
                <a:gd name="connsiteY51" fmla="*/ 95821 h 232409"/>
                <a:gd name="connsiteX52" fmla="*/ 100870 w 174022"/>
                <a:gd name="connsiteY52" fmla="*/ 96107 h 232409"/>
                <a:gd name="connsiteX53" fmla="*/ 129349 w 174022"/>
                <a:gd name="connsiteY53" fmla="*/ 116872 h 232409"/>
                <a:gd name="connsiteX54" fmla="*/ 129635 w 174022"/>
                <a:gd name="connsiteY54" fmla="*/ 117062 h 232409"/>
                <a:gd name="connsiteX55" fmla="*/ 130016 w 174022"/>
                <a:gd name="connsiteY55" fmla="*/ 117253 h 232409"/>
                <a:gd name="connsiteX56" fmla="*/ 160020 w 174022"/>
                <a:gd name="connsiteY56" fmla="*/ 166307 h 232409"/>
                <a:gd name="connsiteX57" fmla="*/ 146685 w 174022"/>
                <a:gd name="connsiteY57" fmla="*/ 202502 h 23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74022" h="232409">
                  <a:moveTo>
                    <a:pt x="136874" y="105251"/>
                  </a:moveTo>
                  <a:lnTo>
                    <a:pt x="137541" y="105728"/>
                  </a:lnTo>
                  <a:lnTo>
                    <a:pt x="109537" y="85344"/>
                  </a:lnTo>
                  <a:cubicBezTo>
                    <a:pt x="108204" y="84011"/>
                    <a:pt x="107347" y="82867"/>
                    <a:pt x="106966" y="82201"/>
                  </a:cubicBezTo>
                  <a:cubicBezTo>
                    <a:pt x="106489" y="81343"/>
                    <a:pt x="106489" y="80963"/>
                    <a:pt x="106489" y="80867"/>
                  </a:cubicBezTo>
                  <a:lnTo>
                    <a:pt x="106775" y="80296"/>
                  </a:lnTo>
                  <a:cubicBezTo>
                    <a:pt x="107061" y="79724"/>
                    <a:pt x="108204" y="78772"/>
                    <a:pt x="109919" y="78105"/>
                  </a:cubicBezTo>
                  <a:cubicBezTo>
                    <a:pt x="111538" y="77343"/>
                    <a:pt x="113633" y="76962"/>
                    <a:pt x="115348" y="76962"/>
                  </a:cubicBezTo>
                  <a:lnTo>
                    <a:pt x="167259" y="76962"/>
                  </a:lnTo>
                  <a:lnTo>
                    <a:pt x="167259" y="0"/>
                  </a:lnTo>
                  <a:lnTo>
                    <a:pt x="62579" y="0"/>
                  </a:lnTo>
                  <a:cubicBezTo>
                    <a:pt x="45625" y="381"/>
                    <a:pt x="30099" y="8763"/>
                    <a:pt x="18764" y="20955"/>
                  </a:cubicBezTo>
                  <a:cubicBezTo>
                    <a:pt x="7429" y="33242"/>
                    <a:pt x="0" y="49530"/>
                    <a:pt x="0" y="66580"/>
                  </a:cubicBezTo>
                  <a:cubicBezTo>
                    <a:pt x="0" y="84011"/>
                    <a:pt x="8096" y="102013"/>
                    <a:pt x="26670" y="115348"/>
                  </a:cubicBezTo>
                  <a:lnTo>
                    <a:pt x="26861" y="115348"/>
                  </a:lnTo>
                  <a:lnTo>
                    <a:pt x="27051" y="115634"/>
                  </a:lnTo>
                  <a:lnTo>
                    <a:pt x="57245" y="134588"/>
                  </a:lnTo>
                  <a:lnTo>
                    <a:pt x="57245" y="134588"/>
                  </a:lnTo>
                  <a:cubicBezTo>
                    <a:pt x="63818" y="138684"/>
                    <a:pt x="66675" y="144590"/>
                    <a:pt x="66580" y="147828"/>
                  </a:cubicBezTo>
                  <a:cubicBezTo>
                    <a:pt x="66580" y="149733"/>
                    <a:pt x="66103" y="150781"/>
                    <a:pt x="64579" y="152019"/>
                  </a:cubicBezTo>
                  <a:cubicBezTo>
                    <a:pt x="63056" y="153257"/>
                    <a:pt x="59817" y="154591"/>
                    <a:pt x="54102" y="154591"/>
                  </a:cubicBezTo>
                  <a:lnTo>
                    <a:pt x="476" y="154591"/>
                  </a:lnTo>
                  <a:lnTo>
                    <a:pt x="476" y="232410"/>
                  </a:lnTo>
                  <a:lnTo>
                    <a:pt x="111919" y="232410"/>
                  </a:lnTo>
                  <a:cubicBezTo>
                    <a:pt x="130683" y="232410"/>
                    <a:pt x="146495" y="224218"/>
                    <a:pt x="157258" y="211931"/>
                  </a:cubicBezTo>
                  <a:cubicBezTo>
                    <a:pt x="168021" y="199644"/>
                    <a:pt x="174022" y="183356"/>
                    <a:pt x="174022" y="166592"/>
                  </a:cubicBezTo>
                  <a:cubicBezTo>
                    <a:pt x="174117" y="143732"/>
                    <a:pt x="162497" y="119825"/>
                    <a:pt x="136970" y="105346"/>
                  </a:cubicBezTo>
                  <a:close/>
                  <a:moveTo>
                    <a:pt x="146685" y="202597"/>
                  </a:moveTo>
                  <a:cubicBezTo>
                    <a:pt x="138208" y="212217"/>
                    <a:pt x="126492" y="218313"/>
                    <a:pt x="111823" y="218313"/>
                  </a:cubicBezTo>
                  <a:lnTo>
                    <a:pt x="14288" y="218313"/>
                  </a:lnTo>
                  <a:lnTo>
                    <a:pt x="14288" y="168307"/>
                  </a:lnTo>
                  <a:lnTo>
                    <a:pt x="54007" y="168307"/>
                  </a:lnTo>
                  <a:cubicBezTo>
                    <a:pt x="61722" y="168307"/>
                    <a:pt x="68199" y="166592"/>
                    <a:pt x="73057" y="162782"/>
                  </a:cubicBezTo>
                  <a:cubicBezTo>
                    <a:pt x="77914" y="159067"/>
                    <a:pt x="80486" y="153257"/>
                    <a:pt x="80391" y="147638"/>
                  </a:cubicBezTo>
                  <a:cubicBezTo>
                    <a:pt x="80296" y="137922"/>
                    <a:pt x="74200" y="128873"/>
                    <a:pt x="64770" y="122682"/>
                  </a:cubicBezTo>
                  <a:lnTo>
                    <a:pt x="64770" y="122682"/>
                  </a:lnTo>
                  <a:lnTo>
                    <a:pt x="34861" y="103823"/>
                  </a:lnTo>
                  <a:lnTo>
                    <a:pt x="34861" y="103823"/>
                  </a:lnTo>
                  <a:lnTo>
                    <a:pt x="34481" y="103632"/>
                  </a:lnTo>
                  <a:lnTo>
                    <a:pt x="34766" y="103823"/>
                  </a:lnTo>
                  <a:cubicBezTo>
                    <a:pt x="19526" y="92678"/>
                    <a:pt x="14002" y="79629"/>
                    <a:pt x="13907" y="66389"/>
                  </a:cubicBezTo>
                  <a:cubicBezTo>
                    <a:pt x="13907" y="53435"/>
                    <a:pt x="19717" y="40100"/>
                    <a:pt x="28956" y="30194"/>
                  </a:cubicBezTo>
                  <a:cubicBezTo>
                    <a:pt x="38195" y="20288"/>
                    <a:pt x="50483" y="13907"/>
                    <a:pt x="62770" y="13621"/>
                  </a:cubicBezTo>
                  <a:lnTo>
                    <a:pt x="153448" y="13621"/>
                  </a:lnTo>
                  <a:lnTo>
                    <a:pt x="153448" y="62770"/>
                  </a:lnTo>
                  <a:lnTo>
                    <a:pt x="115348" y="62770"/>
                  </a:lnTo>
                  <a:cubicBezTo>
                    <a:pt x="110395" y="62770"/>
                    <a:pt x="105347" y="64103"/>
                    <a:pt x="101060" y="66770"/>
                  </a:cubicBezTo>
                  <a:cubicBezTo>
                    <a:pt x="98870" y="68104"/>
                    <a:pt x="96869" y="69818"/>
                    <a:pt x="95250" y="72200"/>
                  </a:cubicBezTo>
                  <a:cubicBezTo>
                    <a:pt x="93631" y="74486"/>
                    <a:pt x="92583" y="77534"/>
                    <a:pt x="92583" y="80677"/>
                  </a:cubicBezTo>
                  <a:cubicBezTo>
                    <a:pt x="92583" y="83344"/>
                    <a:pt x="93345" y="86106"/>
                    <a:pt x="94678" y="88583"/>
                  </a:cubicBezTo>
                  <a:cubicBezTo>
                    <a:pt x="96012" y="91059"/>
                    <a:pt x="97917" y="93345"/>
                    <a:pt x="100203" y="95536"/>
                  </a:cubicBezTo>
                  <a:lnTo>
                    <a:pt x="100489" y="95821"/>
                  </a:lnTo>
                  <a:lnTo>
                    <a:pt x="100870" y="96107"/>
                  </a:lnTo>
                  <a:lnTo>
                    <a:pt x="129349" y="116872"/>
                  </a:lnTo>
                  <a:lnTo>
                    <a:pt x="129635" y="117062"/>
                  </a:lnTo>
                  <a:lnTo>
                    <a:pt x="130016" y="117253"/>
                  </a:lnTo>
                  <a:cubicBezTo>
                    <a:pt x="151352" y="129445"/>
                    <a:pt x="159925" y="147923"/>
                    <a:pt x="160020" y="166307"/>
                  </a:cubicBezTo>
                  <a:cubicBezTo>
                    <a:pt x="160020" y="179737"/>
                    <a:pt x="155162" y="192881"/>
                    <a:pt x="146685" y="202502"/>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3" name="Freeform: Shape 952">
              <a:extLst>
                <a:ext uri="{FF2B5EF4-FFF2-40B4-BE49-F238E27FC236}">
                  <a16:creationId xmlns:a16="http://schemas.microsoft.com/office/drawing/2014/main" id="{FF0950BE-445E-45B5-AB86-807C50549782}"/>
                </a:ext>
              </a:extLst>
            </p:cNvPr>
            <p:cNvSpPr/>
            <p:nvPr/>
          </p:nvSpPr>
          <p:spPr>
            <a:xfrm>
              <a:off x="8187925" y="5769343"/>
              <a:ext cx="211835" cy="231933"/>
            </a:xfrm>
            <a:custGeom>
              <a:avLst/>
              <a:gdLst>
                <a:gd name="connsiteX0" fmla="*/ 105918 w 211835"/>
                <a:gd name="connsiteY0" fmla="*/ 0 h 231933"/>
                <a:gd name="connsiteX1" fmla="*/ 0 w 211835"/>
                <a:gd name="connsiteY1" fmla="*/ 105918 h 231933"/>
                <a:gd name="connsiteX2" fmla="*/ 0 w 211835"/>
                <a:gd name="connsiteY2" fmla="*/ 231934 h 231933"/>
                <a:gd name="connsiteX3" fmla="*/ 89440 w 211835"/>
                <a:gd name="connsiteY3" fmla="*/ 231934 h 231933"/>
                <a:gd name="connsiteX4" fmla="*/ 89440 w 211835"/>
                <a:gd name="connsiteY4" fmla="*/ 224981 h 231933"/>
                <a:gd name="connsiteX5" fmla="*/ 89630 w 211835"/>
                <a:gd name="connsiteY5" fmla="*/ 105918 h 231933"/>
                <a:gd name="connsiteX6" fmla="*/ 89630 w 211835"/>
                <a:gd name="connsiteY6" fmla="*/ 105918 h 231933"/>
                <a:gd name="connsiteX7" fmla="*/ 94393 w 211835"/>
                <a:gd name="connsiteY7" fmla="*/ 94488 h 231933"/>
                <a:gd name="connsiteX8" fmla="*/ 105918 w 211835"/>
                <a:gd name="connsiteY8" fmla="*/ 89726 h 231933"/>
                <a:gd name="connsiteX9" fmla="*/ 117443 w 211835"/>
                <a:gd name="connsiteY9" fmla="*/ 94488 h 231933"/>
                <a:gd name="connsiteX10" fmla="*/ 122206 w 211835"/>
                <a:gd name="connsiteY10" fmla="*/ 105918 h 231933"/>
                <a:gd name="connsiteX11" fmla="*/ 122206 w 211835"/>
                <a:gd name="connsiteY11" fmla="*/ 105918 h 231933"/>
                <a:gd name="connsiteX12" fmla="*/ 122396 w 211835"/>
                <a:gd name="connsiteY12" fmla="*/ 224981 h 231933"/>
                <a:gd name="connsiteX13" fmla="*/ 122396 w 211835"/>
                <a:gd name="connsiteY13" fmla="*/ 231934 h 231933"/>
                <a:gd name="connsiteX14" fmla="*/ 211836 w 211835"/>
                <a:gd name="connsiteY14" fmla="*/ 231934 h 231933"/>
                <a:gd name="connsiteX15" fmla="*/ 211836 w 211835"/>
                <a:gd name="connsiteY15" fmla="*/ 105918 h 231933"/>
                <a:gd name="connsiteX16" fmla="*/ 106013 w 211835"/>
                <a:gd name="connsiteY16" fmla="*/ 0 h 231933"/>
                <a:gd name="connsiteX17" fmla="*/ 197834 w 211835"/>
                <a:gd name="connsiteY17" fmla="*/ 218027 h 231933"/>
                <a:gd name="connsiteX18" fmla="*/ 136303 w 211835"/>
                <a:gd name="connsiteY18" fmla="*/ 218027 h 231933"/>
                <a:gd name="connsiteX19" fmla="*/ 136112 w 211835"/>
                <a:gd name="connsiteY19" fmla="*/ 105918 h 231933"/>
                <a:gd name="connsiteX20" fmla="*/ 105918 w 211835"/>
                <a:gd name="connsiteY20" fmla="*/ 75819 h 231933"/>
                <a:gd name="connsiteX21" fmla="*/ 75629 w 211835"/>
                <a:gd name="connsiteY21" fmla="*/ 105918 h 231933"/>
                <a:gd name="connsiteX22" fmla="*/ 75438 w 211835"/>
                <a:gd name="connsiteY22" fmla="*/ 218027 h 231933"/>
                <a:gd name="connsiteX23" fmla="*/ 13906 w 211835"/>
                <a:gd name="connsiteY23" fmla="*/ 218027 h 231933"/>
                <a:gd name="connsiteX24" fmla="*/ 13906 w 211835"/>
                <a:gd name="connsiteY24" fmla="*/ 105918 h 231933"/>
                <a:gd name="connsiteX25" fmla="*/ 40862 w 211835"/>
                <a:gd name="connsiteY25" fmla="*/ 40862 h 231933"/>
                <a:gd name="connsiteX26" fmla="*/ 105918 w 211835"/>
                <a:gd name="connsiteY26" fmla="*/ 13906 h 231933"/>
                <a:gd name="connsiteX27" fmla="*/ 170974 w 211835"/>
                <a:gd name="connsiteY27" fmla="*/ 40862 h 231933"/>
                <a:gd name="connsiteX28" fmla="*/ 197929 w 211835"/>
                <a:gd name="connsiteY28" fmla="*/ 105918 h 231933"/>
                <a:gd name="connsiteX29" fmla="*/ 197929 w 211835"/>
                <a:gd name="connsiteY29" fmla="*/ 218027 h 23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1835" h="231933">
                  <a:moveTo>
                    <a:pt x="105918" y="0"/>
                  </a:moveTo>
                  <a:cubicBezTo>
                    <a:pt x="47434" y="0"/>
                    <a:pt x="0" y="47435"/>
                    <a:pt x="0" y="105918"/>
                  </a:cubicBezTo>
                  <a:lnTo>
                    <a:pt x="0" y="231934"/>
                  </a:lnTo>
                  <a:lnTo>
                    <a:pt x="89440" y="231934"/>
                  </a:lnTo>
                  <a:lnTo>
                    <a:pt x="89440" y="224981"/>
                  </a:lnTo>
                  <a:lnTo>
                    <a:pt x="89630" y="105918"/>
                  </a:lnTo>
                  <a:lnTo>
                    <a:pt x="89630" y="105918"/>
                  </a:lnTo>
                  <a:cubicBezTo>
                    <a:pt x="89630" y="101441"/>
                    <a:pt x="91440" y="97441"/>
                    <a:pt x="94393" y="94488"/>
                  </a:cubicBezTo>
                  <a:cubicBezTo>
                    <a:pt x="97346" y="91535"/>
                    <a:pt x="101441" y="89726"/>
                    <a:pt x="105918" y="89726"/>
                  </a:cubicBezTo>
                  <a:cubicBezTo>
                    <a:pt x="110395" y="89726"/>
                    <a:pt x="114395" y="91535"/>
                    <a:pt x="117443" y="94488"/>
                  </a:cubicBezTo>
                  <a:cubicBezTo>
                    <a:pt x="120396" y="97441"/>
                    <a:pt x="122206" y="101441"/>
                    <a:pt x="122206" y="105918"/>
                  </a:cubicBezTo>
                  <a:lnTo>
                    <a:pt x="122206" y="105918"/>
                  </a:lnTo>
                  <a:lnTo>
                    <a:pt x="122396" y="224981"/>
                  </a:lnTo>
                  <a:lnTo>
                    <a:pt x="122396" y="231934"/>
                  </a:lnTo>
                  <a:lnTo>
                    <a:pt x="211836" y="231934"/>
                  </a:lnTo>
                  <a:lnTo>
                    <a:pt x="211836" y="105918"/>
                  </a:lnTo>
                  <a:cubicBezTo>
                    <a:pt x="211836" y="47435"/>
                    <a:pt x="164497" y="0"/>
                    <a:pt x="106013" y="0"/>
                  </a:cubicBezTo>
                  <a:close/>
                  <a:moveTo>
                    <a:pt x="197834" y="218027"/>
                  </a:moveTo>
                  <a:lnTo>
                    <a:pt x="136303" y="218027"/>
                  </a:lnTo>
                  <a:lnTo>
                    <a:pt x="136112" y="105918"/>
                  </a:lnTo>
                  <a:cubicBezTo>
                    <a:pt x="136112" y="89249"/>
                    <a:pt x="122492" y="75819"/>
                    <a:pt x="105918" y="75819"/>
                  </a:cubicBezTo>
                  <a:cubicBezTo>
                    <a:pt x="89344" y="75819"/>
                    <a:pt x="75724" y="89249"/>
                    <a:pt x="75629" y="105918"/>
                  </a:cubicBezTo>
                  <a:lnTo>
                    <a:pt x="75438" y="218027"/>
                  </a:lnTo>
                  <a:lnTo>
                    <a:pt x="13906" y="218027"/>
                  </a:lnTo>
                  <a:lnTo>
                    <a:pt x="13906" y="105918"/>
                  </a:lnTo>
                  <a:cubicBezTo>
                    <a:pt x="13906" y="80486"/>
                    <a:pt x="24194" y="57531"/>
                    <a:pt x="40862" y="40862"/>
                  </a:cubicBezTo>
                  <a:cubicBezTo>
                    <a:pt x="57531" y="24193"/>
                    <a:pt x="80486" y="13906"/>
                    <a:pt x="105918" y="13906"/>
                  </a:cubicBezTo>
                  <a:cubicBezTo>
                    <a:pt x="131350" y="13906"/>
                    <a:pt x="154305" y="24193"/>
                    <a:pt x="170974" y="40862"/>
                  </a:cubicBezTo>
                  <a:cubicBezTo>
                    <a:pt x="187642" y="57531"/>
                    <a:pt x="197929" y="80486"/>
                    <a:pt x="197929" y="105918"/>
                  </a:cubicBezTo>
                  <a:lnTo>
                    <a:pt x="197929" y="2180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954" name="Graphic 611">
              <a:extLst>
                <a:ext uri="{FF2B5EF4-FFF2-40B4-BE49-F238E27FC236}">
                  <a16:creationId xmlns:a16="http://schemas.microsoft.com/office/drawing/2014/main" id="{55A3741C-4F7E-44B7-9545-7B2F9B92D499}"/>
                </a:ext>
              </a:extLst>
            </p:cNvPr>
            <p:cNvGrpSpPr/>
            <p:nvPr/>
          </p:nvGrpSpPr>
          <p:grpSpPr>
            <a:xfrm>
              <a:off x="8601500" y="5765628"/>
              <a:ext cx="233743" cy="233648"/>
              <a:chOff x="8601500" y="5765628"/>
              <a:chExt cx="233743" cy="233648"/>
            </a:xfrm>
            <a:solidFill>
              <a:srgbClr val="A1ABB2"/>
            </a:solidFill>
          </p:grpSpPr>
          <p:sp>
            <p:nvSpPr>
              <p:cNvPr id="956" name="Freeform: Shape 955">
                <a:extLst>
                  <a:ext uri="{FF2B5EF4-FFF2-40B4-BE49-F238E27FC236}">
                    <a16:creationId xmlns:a16="http://schemas.microsoft.com/office/drawing/2014/main" id="{D10B1457-0EE0-4C60-B937-10DBC9C8A406}"/>
                  </a:ext>
                </a:extLst>
              </p:cNvPr>
              <p:cNvSpPr/>
              <p:nvPr/>
            </p:nvSpPr>
            <p:spPr>
              <a:xfrm>
                <a:off x="8601500" y="5765628"/>
                <a:ext cx="233743" cy="233648"/>
              </a:xfrm>
              <a:custGeom>
                <a:avLst/>
                <a:gdLst>
                  <a:gd name="connsiteX0" fmla="*/ 116872 w 233743"/>
                  <a:gd name="connsiteY0" fmla="*/ 0 h 233648"/>
                  <a:gd name="connsiteX1" fmla="*/ 0 w 233743"/>
                  <a:gd name="connsiteY1" fmla="*/ 116872 h 233648"/>
                  <a:gd name="connsiteX2" fmla="*/ 116872 w 233743"/>
                  <a:gd name="connsiteY2" fmla="*/ 233648 h 233648"/>
                  <a:gd name="connsiteX3" fmla="*/ 233744 w 233743"/>
                  <a:gd name="connsiteY3" fmla="*/ 116872 h 233648"/>
                  <a:gd name="connsiteX4" fmla="*/ 116872 w 233743"/>
                  <a:gd name="connsiteY4" fmla="*/ 0 h 233648"/>
                  <a:gd name="connsiteX5" fmla="*/ 189643 w 233743"/>
                  <a:gd name="connsiteY5" fmla="*/ 189548 h 233648"/>
                  <a:gd name="connsiteX6" fmla="*/ 116872 w 233743"/>
                  <a:gd name="connsiteY6" fmla="*/ 219742 h 233648"/>
                  <a:gd name="connsiteX7" fmla="*/ 44101 w 233743"/>
                  <a:gd name="connsiteY7" fmla="*/ 189548 h 233648"/>
                  <a:gd name="connsiteX8" fmla="*/ 14002 w 233743"/>
                  <a:gd name="connsiteY8" fmla="*/ 116872 h 233648"/>
                  <a:gd name="connsiteX9" fmla="*/ 44101 w 233743"/>
                  <a:gd name="connsiteY9" fmla="*/ 44101 h 233648"/>
                  <a:gd name="connsiteX10" fmla="*/ 116872 w 233743"/>
                  <a:gd name="connsiteY10" fmla="*/ 14002 h 233648"/>
                  <a:gd name="connsiteX11" fmla="*/ 189643 w 233743"/>
                  <a:gd name="connsiteY11" fmla="*/ 44101 h 233648"/>
                  <a:gd name="connsiteX12" fmla="*/ 219837 w 233743"/>
                  <a:gd name="connsiteY12" fmla="*/ 116872 h 233648"/>
                  <a:gd name="connsiteX13" fmla="*/ 189643 w 233743"/>
                  <a:gd name="connsiteY13" fmla="*/ 189548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743" h="233648">
                    <a:moveTo>
                      <a:pt x="116872" y="0"/>
                    </a:moveTo>
                    <a:cubicBezTo>
                      <a:pt x="52388" y="0"/>
                      <a:pt x="95" y="52292"/>
                      <a:pt x="0" y="116872"/>
                    </a:cubicBezTo>
                    <a:cubicBezTo>
                      <a:pt x="0" y="181356"/>
                      <a:pt x="52292" y="233648"/>
                      <a:pt x="116872" y="233648"/>
                    </a:cubicBezTo>
                    <a:cubicBezTo>
                      <a:pt x="181451" y="233648"/>
                      <a:pt x="233744" y="181356"/>
                      <a:pt x="233744" y="116872"/>
                    </a:cubicBezTo>
                    <a:cubicBezTo>
                      <a:pt x="233744" y="52388"/>
                      <a:pt x="181451" y="0"/>
                      <a:pt x="116872" y="0"/>
                    </a:cubicBezTo>
                    <a:close/>
                    <a:moveTo>
                      <a:pt x="189643" y="189548"/>
                    </a:moveTo>
                    <a:cubicBezTo>
                      <a:pt x="170974" y="208217"/>
                      <a:pt x="145256" y="219742"/>
                      <a:pt x="116872" y="219742"/>
                    </a:cubicBezTo>
                    <a:cubicBezTo>
                      <a:pt x="88487" y="219742"/>
                      <a:pt x="62770" y="208217"/>
                      <a:pt x="44101" y="189548"/>
                    </a:cubicBezTo>
                    <a:cubicBezTo>
                      <a:pt x="25432" y="170879"/>
                      <a:pt x="14002" y="145256"/>
                      <a:pt x="14002" y="116872"/>
                    </a:cubicBezTo>
                    <a:cubicBezTo>
                      <a:pt x="14002" y="88487"/>
                      <a:pt x="25527" y="62770"/>
                      <a:pt x="44101" y="44101"/>
                    </a:cubicBezTo>
                    <a:cubicBezTo>
                      <a:pt x="62770" y="25432"/>
                      <a:pt x="88392" y="14002"/>
                      <a:pt x="116872" y="14002"/>
                    </a:cubicBezTo>
                    <a:cubicBezTo>
                      <a:pt x="145352" y="14002"/>
                      <a:pt x="170974" y="25527"/>
                      <a:pt x="189643" y="44101"/>
                    </a:cubicBezTo>
                    <a:cubicBezTo>
                      <a:pt x="208217" y="62770"/>
                      <a:pt x="219742" y="88392"/>
                      <a:pt x="219837" y="116872"/>
                    </a:cubicBezTo>
                    <a:cubicBezTo>
                      <a:pt x="219837" y="145256"/>
                      <a:pt x="208312" y="170974"/>
                      <a:pt x="189643" y="189548"/>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7" name="Freeform: Shape 956">
                <a:extLst>
                  <a:ext uri="{FF2B5EF4-FFF2-40B4-BE49-F238E27FC236}">
                    <a16:creationId xmlns:a16="http://schemas.microsoft.com/office/drawing/2014/main" id="{780B5E9F-FDC0-4FD5-944E-BDB4A1269C42}"/>
                  </a:ext>
                </a:extLst>
              </p:cNvPr>
              <p:cNvSpPr/>
              <p:nvPr/>
            </p:nvSpPr>
            <p:spPr>
              <a:xfrm>
                <a:off x="8676081" y="5840304"/>
                <a:ext cx="84581" cy="84582"/>
              </a:xfrm>
              <a:custGeom>
                <a:avLst/>
                <a:gdLst>
                  <a:gd name="connsiteX0" fmla="*/ 42291 w 84581"/>
                  <a:gd name="connsiteY0" fmla="*/ 0 h 84582"/>
                  <a:gd name="connsiteX1" fmla="*/ 0 w 84581"/>
                  <a:gd name="connsiteY1" fmla="*/ 42291 h 84582"/>
                  <a:gd name="connsiteX2" fmla="*/ 42291 w 84581"/>
                  <a:gd name="connsiteY2" fmla="*/ 84582 h 84582"/>
                  <a:gd name="connsiteX3" fmla="*/ 84582 w 84581"/>
                  <a:gd name="connsiteY3" fmla="*/ 42291 h 84582"/>
                  <a:gd name="connsiteX4" fmla="*/ 42291 w 84581"/>
                  <a:gd name="connsiteY4" fmla="*/ 0 h 84582"/>
                  <a:gd name="connsiteX5" fmla="*/ 42291 w 84581"/>
                  <a:gd name="connsiteY5" fmla="*/ 70580 h 84582"/>
                  <a:gd name="connsiteX6" fmla="*/ 14002 w 84581"/>
                  <a:gd name="connsiteY6" fmla="*/ 42291 h 84582"/>
                  <a:gd name="connsiteX7" fmla="*/ 42291 w 84581"/>
                  <a:gd name="connsiteY7" fmla="*/ 14002 h 84582"/>
                  <a:gd name="connsiteX8" fmla="*/ 70675 w 84581"/>
                  <a:gd name="connsiteY8" fmla="*/ 42291 h 84582"/>
                  <a:gd name="connsiteX9" fmla="*/ 42291 w 84581"/>
                  <a:gd name="connsiteY9" fmla="*/ 70580 h 8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81" h="84582">
                    <a:moveTo>
                      <a:pt x="42291" y="0"/>
                    </a:moveTo>
                    <a:cubicBezTo>
                      <a:pt x="18955" y="0"/>
                      <a:pt x="0" y="18859"/>
                      <a:pt x="0" y="42291"/>
                    </a:cubicBezTo>
                    <a:cubicBezTo>
                      <a:pt x="0" y="65723"/>
                      <a:pt x="18859" y="84487"/>
                      <a:pt x="42291" y="84582"/>
                    </a:cubicBezTo>
                    <a:cubicBezTo>
                      <a:pt x="65627" y="84582"/>
                      <a:pt x="84582" y="65627"/>
                      <a:pt x="84582" y="42291"/>
                    </a:cubicBezTo>
                    <a:cubicBezTo>
                      <a:pt x="84582" y="18955"/>
                      <a:pt x="65723" y="0"/>
                      <a:pt x="42291" y="0"/>
                    </a:cubicBezTo>
                    <a:close/>
                    <a:moveTo>
                      <a:pt x="42291" y="70580"/>
                    </a:moveTo>
                    <a:cubicBezTo>
                      <a:pt x="26670" y="70580"/>
                      <a:pt x="14002" y="57912"/>
                      <a:pt x="14002" y="42291"/>
                    </a:cubicBezTo>
                    <a:cubicBezTo>
                      <a:pt x="14002" y="26670"/>
                      <a:pt x="26670" y="14002"/>
                      <a:pt x="42291" y="14002"/>
                    </a:cubicBezTo>
                    <a:cubicBezTo>
                      <a:pt x="57912" y="14002"/>
                      <a:pt x="70580" y="26670"/>
                      <a:pt x="70675" y="42291"/>
                    </a:cubicBezTo>
                    <a:cubicBezTo>
                      <a:pt x="70675" y="57912"/>
                      <a:pt x="58007" y="70580"/>
                      <a:pt x="42291" y="7058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955" name="Freeform: Shape 954">
              <a:extLst>
                <a:ext uri="{FF2B5EF4-FFF2-40B4-BE49-F238E27FC236}">
                  <a16:creationId xmlns:a16="http://schemas.microsoft.com/office/drawing/2014/main" id="{12B5D4F4-0973-41AA-8FEC-048AA843307C}"/>
                </a:ext>
              </a:extLst>
            </p:cNvPr>
            <p:cNvSpPr/>
            <p:nvPr/>
          </p:nvSpPr>
          <p:spPr>
            <a:xfrm>
              <a:off x="7938275" y="5768772"/>
              <a:ext cx="232505" cy="232790"/>
            </a:xfrm>
            <a:custGeom>
              <a:avLst/>
              <a:gdLst>
                <a:gd name="connsiteX0" fmla="*/ 230981 w 232505"/>
                <a:gd name="connsiteY0" fmla="*/ 94869 h 232790"/>
                <a:gd name="connsiteX1" fmla="*/ 193453 w 232505"/>
                <a:gd name="connsiteY1" fmla="*/ 30004 h 232790"/>
                <a:gd name="connsiteX2" fmla="*/ 117729 w 232505"/>
                <a:gd name="connsiteY2" fmla="*/ 0 h 232790"/>
                <a:gd name="connsiteX3" fmla="*/ 116205 w 232505"/>
                <a:gd name="connsiteY3" fmla="*/ 0 h 232790"/>
                <a:gd name="connsiteX4" fmla="*/ 0 w 232505"/>
                <a:gd name="connsiteY4" fmla="*/ 114681 h 232790"/>
                <a:gd name="connsiteX5" fmla="*/ 0 w 232505"/>
                <a:gd name="connsiteY5" fmla="*/ 116300 h 232790"/>
                <a:gd name="connsiteX6" fmla="*/ 114490 w 232505"/>
                <a:gd name="connsiteY6" fmla="*/ 232505 h 232790"/>
                <a:gd name="connsiteX7" fmla="*/ 127063 w 232505"/>
                <a:gd name="connsiteY7" fmla="*/ 232791 h 232790"/>
                <a:gd name="connsiteX8" fmla="*/ 211645 w 232505"/>
                <a:gd name="connsiteY8" fmla="*/ 203264 h 232790"/>
                <a:gd name="connsiteX9" fmla="*/ 216789 w 232505"/>
                <a:gd name="connsiteY9" fmla="*/ 198692 h 232790"/>
                <a:gd name="connsiteX10" fmla="*/ 212312 w 232505"/>
                <a:gd name="connsiteY10" fmla="*/ 193453 h 232790"/>
                <a:gd name="connsiteX11" fmla="*/ 174688 w 232505"/>
                <a:gd name="connsiteY11" fmla="*/ 149923 h 232790"/>
                <a:gd name="connsiteX12" fmla="*/ 171450 w 232505"/>
                <a:gd name="connsiteY12" fmla="*/ 146114 h 232790"/>
                <a:gd name="connsiteX13" fmla="*/ 166783 w 232505"/>
                <a:gd name="connsiteY13" fmla="*/ 148019 h 232790"/>
                <a:gd name="connsiteX14" fmla="*/ 152686 w 232505"/>
                <a:gd name="connsiteY14" fmla="*/ 153067 h 232790"/>
                <a:gd name="connsiteX15" fmla="*/ 124111 w 232505"/>
                <a:gd name="connsiteY15" fmla="*/ 155067 h 232790"/>
                <a:gd name="connsiteX16" fmla="*/ 117348 w 232505"/>
                <a:gd name="connsiteY16" fmla="*/ 155067 h 232790"/>
                <a:gd name="connsiteX17" fmla="*/ 94678 w 232505"/>
                <a:gd name="connsiteY17" fmla="*/ 145828 h 232790"/>
                <a:gd name="connsiteX18" fmla="*/ 84201 w 232505"/>
                <a:gd name="connsiteY18" fmla="*/ 114586 h 232790"/>
                <a:gd name="connsiteX19" fmla="*/ 84201 w 232505"/>
                <a:gd name="connsiteY19" fmla="*/ 113538 h 232790"/>
                <a:gd name="connsiteX20" fmla="*/ 96107 w 232505"/>
                <a:gd name="connsiteY20" fmla="*/ 82963 h 232790"/>
                <a:gd name="connsiteX21" fmla="*/ 114967 w 232505"/>
                <a:gd name="connsiteY21" fmla="*/ 74581 h 232790"/>
                <a:gd name="connsiteX22" fmla="*/ 115157 w 232505"/>
                <a:gd name="connsiteY22" fmla="*/ 74581 h 232790"/>
                <a:gd name="connsiteX23" fmla="*/ 133826 w 232505"/>
                <a:gd name="connsiteY23" fmla="*/ 80010 h 232790"/>
                <a:gd name="connsiteX24" fmla="*/ 140589 w 232505"/>
                <a:gd name="connsiteY24" fmla="*/ 85916 h 232790"/>
                <a:gd name="connsiteX25" fmla="*/ 140875 w 232505"/>
                <a:gd name="connsiteY25" fmla="*/ 86296 h 232790"/>
                <a:gd name="connsiteX26" fmla="*/ 111728 w 232505"/>
                <a:gd name="connsiteY26" fmla="*/ 85820 h 232790"/>
                <a:gd name="connsiteX27" fmla="*/ 104870 w 232505"/>
                <a:gd name="connsiteY27" fmla="*/ 85820 h 232790"/>
                <a:gd name="connsiteX28" fmla="*/ 104680 w 232505"/>
                <a:gd name="connsiteY28" fmla="*/ 92583 h 232790"/>
                <a:gd name="connsiteX29" fmla="*/ 103822 w 232505"/>
                <a:gd name="connsiteY29" fmla="*/ 128397 h 232790"/>
                <a:gd name="connsiteX30" fmla="*/ 103822 w 232505"/>
                <a:gd name="connsiteY30" fmla="*/ 135445 h 232790"/>
                <a:gd name="connsiteX31" fmla="*/ 110680 w 232505"/>
                <a:gd name="connsiteY31" fmla="*/ 135445 h 232790"/>
                <a:gd name="connsiteX32" fmla="*/ 224028 w 232505"/>
                <a:gd name="connsiteY32" fmla="*/ 136969 h 232790"/>
                <a:gd name="connsiteX33" fmla="*/ 230410 w 232505"/>
                <a:gd name="connsiteY33" fmla="*/ 136969 h 232790"/>
                <a:gd name="connsiteX34" fmla="*/ 231076 w 232505"/>
                <a:gd name="connsiteY34" fmla="*/ 130683 h 232790"/>
                <a:gd name="connsiteX35" fmla="*/ 232029 w 232505"/>
                <a:gd name="connsiteY35" fmla="*/ 122682 h 232790"/>
                <a:gd name="connsiteX36" fmla="*/ 232505 w 232505"/>
                <a:gd name="connsiteY36" fmla="*/ 115538 h 232790"/>
                <a:gd name="connsiteX37" fmla="*/ 230886 w 232505"/>
                <a:gd name="connsiteY37" fmla="*/ 95059 h 232790"/>
                <a:gd name="connsiteX38" fmla="*/ 218218 w 232505"/>
                <a:gd name="connsiteY38" fmla="*/ 120682 h 232790"/>
                <a:gd name="connsiteX39" fmla="*/ 218218 w 232505"/>
                <a:gd name="connsiteY39" fmla="*/ 122777 h 232790"/>
                <a:gd name="connsiteX40" fmla="*/ 117919 w 232505"/>
                <a:gd name="connsiteY40" fmla="*/ 121253 h 232790"/>
                <a:gd name="connsiteX41" fmla="*/ 118586 w 232505"/>
                <a:gd name="connsiteY41" fmla="*/ 99441 h 232790"/>
                <a:gd name="connsiteX42" fmla="*/ 149733 w 232505"/>
                <a:gd name="connsiteY42" fmla="*/ 99917 h 232790"/>
                <a:gd name="connsiteX43" fmla="*/ 156686 w 232505"/>
                <a:gd name="connsiteY43" fmla="*/ 99917 h 232790"/>
                <a:gd name="connsiteX44" fmla="*/ 156686 w 232505"/>
                <a:gd name="connsiteY44" fmla="*/ 92678 h 232790"/>
                <a:gd name="connsiteX45" fmla="*/ 151924 w 232505"/>
                <a:gd name="connsiteY45" fmla="*/ 77629 h 232790"/>
                <a:gd name="connsiteX46" fmla="*/ 134493 w 232505"/>
                <a:gd name="connsiteY46" fmla="*/ 64579 h 232790"/>
                <a:gd name="connsiteX47" fmla="*/ 115252 w 232505"/>
                <a:gd name="connsiteY47" fmla="*/ 60389 h 232790"/>
                <a:gd name="connsiteX48" fmla="*/ 114871 w 232505"/>
                <a:gd name="connsiteY48" fmla="*/ 60389 h 232790"/>
                <a:gd name="connsiteX49" fmla="*/ 86487 w 232505"/>
                <a:gd name="connsiteY49" fmla="*/ 72485 h 232790"/>
                <a:gd name="connsiteX50" fmla="*/ 70104 w 232505"/>
                <a:gd name="connsiteY50" fmla="*/ 113157 h 232790"/>
                <a:gd name="connsiteX51" fmla="*/ 70104 w 232505"/>
                <a:gd name="connsiteY51" fmla="*/ 114395 h 232790"/>
                <a:gd name="connsiteX52" fmla="*/ 84582 w 232505"/>
                <a:gd name="connsiteY52" fmla="*/ 155353 h 232790"/>
                <a:gd name="connsiteX53" fmla="*/ 116967 w 232505"/>
                <a:gd name="connsiteY53" fmla="*/ 168688 h 232790"/>
                <a:gd name="connsiteX54" fmla="*/ 123920 w 232505"/>
                <a:gd name="connsiteY54" fmla="*/ 168688 h 232790"/>
                <a:gd name="connsiteX55" fmla="*/ 155353 w 232505"/>
                <a:gd name="connsiteY55" fmla="*/ 166497 h 232790"/>
                <a:gd name="connsiteX56" fmla="*/ 167164 w 232505"/>
                <a:gd name="connsiteY56" fmla="*/ 162687 h 232790"/>
                <a:gd name="connsiteX57" fmla="*/ 196691 w 232505"/>
                <a:gd name="connsiteY57" fmla="*/ 196977 h 232790"/>
                <a:gd name="connsiteX58" fmla="*/ 126778 w 232505"/>
                <a:gd name="connsiteY58" fmla="*/ 218789 h 232790"/>
                <a:gd name="connsiteX59" fmla="*/ 114776 w 232505"/>
                <a:gd name="connsiteY59" fmla="*/ 218503 h 232790"/>
                <a:gd name="connsiteX60" fmla="*/ 13621 w 232505"/>
                <a:gd name="connsiteY60" fmla="*/ 116300 h 232790"/>
                <a:gd name="connsiteX61" fmla="*/ 13621 w 232505"/>
                <a:gd name="connsiteY61" fmla="*/ 114967 h 232790"/>
                <a:gd name="connsiteX62" fmla="*/ 115919 w 232505"/>
                <a:gd name="connsiteY62" fmla="*/ 14002 h 232790"/>
                <a:gd name="connsiteX63" fmla="*/ 117253 w 232505"/>
                <a:gd name="connsiteY63" fmla="*/ 14002 h 232790"/>
                <a:gd name="connsiteX64" fmla="*/ 184118 w 232505"/>
                <a:gd name="connsiteY64" fmla="*/ 40672 h 232790"/>
                <a:gd name="connsiteX65" fmla="*/ 216884 w 232505"/>
                <a:gd name="connsiteY65" fmla="*/ 96393 h 232790"/>
                <a:gd name="connsiteX66" fmla="*/ 218408 w 232505"/>
                <a:gd name="connsiteY66" fmla="*/ 115348 h 232790"/>
                <a:gd name="connsiteX67" fmla="*/ 218027 w 232505"/>
                <a:gd name="connsiteY67" fmla="*/ 120777 h 23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32505" h="232790">
                  <a:moveTo>
                    <a:pt x="230981" y="94869"/>
                  </a:moveTo>
                  <a:cubicBezTo>
                    <a:pt x="228314" y="70866"/>
                    <a:pt x="213931" y="47625"/>
                    <a:pt x="193453" y="30004"/>
                  </a:cubicBezTo>
                  <a:cubicBezTo>
                    <a:pt x="172974" y="12382"/>
                    <a:pt x="146113" y="381"/>
                    <a:pt x="117729" y="0"/>
                  </a:cubicBezTo>
                  <a:lnTo>
                    <a:pt x="116205" y="0"/>
                  </a:lnTo>
                  <a:cubicBezTo>
                    <a:pt x="52673" y="0"/>
                    <a:pt x="857" y="51054"/>
                    <a:pt x="0" y="114681"/>
                  </a:cubicBezTo>
                  <a:lnTo>
                    <a:pt x="0" y="116300"/>
                  </a:lnTo>
                  <a:cubicBezTo>
                    <a:pt x="0" y="179832"/>
                    <a:pt x="51149" y="230029"/>
                    <a:pt x="114490" y="232505"/>
                  </a:cubicBezTo>
                  <a:cubicBezTo>
                    <a:pt x="118110" y="232696"/>
                    <a:pt x="122301" y="232791"/>
                    <a:pt x="127063" y="232791"/>
                  </a:cubicBezTo>
                  <a:cubicBezTo>
                    <a:pt x="149066" y="232791"/>
                    <a:pt x="182118" y="229171"/>
                    <a:pt x="211645" y="203264"/>
                  </a:cubicBezTo>
                  <a:lnTo>
                    <a:pt x="216789" y="198692"/>
                  </a:lnTo>
                  <a:lnTo>
                    <a:pt x="212312" y="193453"/>
                  </a:lnTo>
                  <a:lnTo>
                    <a:pt x="174688" y="149923"/>
                  </a:lnTo>
                  <a:lnTo>
                    <a:pt x="171450" y="146114"/>
                  </a:lnTo>
                  <a:lnTo>
                    <a:pt x="166783" y="148019"/>
                  </a:lnTo>
                  <a:cubicBezTo>
                    <a:pt x="161163" y="150304"/>
                    <a:pt x="158115" y="151828"/>
                    <a:pt x="152686" y="153067"/>
                  </a:cubicBezTo>
                  <a:cubicBezTo>
                    <a:pt x="147256" y="154210"/>
                    <a:pt x="139065" y="155067"/>
                    <a:pt x="124111" y="155067"/>
                  </a:cubicBezTo>
                  <a:cubicBezTo>
                    <a:pt x="122015" y="155067"/>
                    <a:pt x="119729" y="155067"/>
                    <a:pt x="117348" y="155067"/>
                  </a:cubicBezTo>
                  <a:cubicBezTo>
                    <a:pt x="108775" y="154972"/>
                    <a:pt x="100679" y="152019"/>
                    <a:pt x="94678" y="145828"/>
                  </a:cubicBezTo>
                  <a:cubicBezTo>
                    <a:pt x="88678" y="139637"/>
                    <a:pt x="84201" y="129921"/>
                    <a:pt x="84201" y="114586"/>
                  </a:cubicBezTo>
                  <a:lnTo>
                    <a:pt x="84201" y="113538"/>
                  </a:lnTo>
                  <a:cubicBezTo>
                    <a:pt x="84487" y="98298"/>
                    <a:pt x="89725" y="88964"/>
                    <a:pt x="96107" y="82963"/>
                  </a:cubicBezTo>
                  <a:cubicBezTo>
                    <a:pt x="102489" y="76962"/>
                    <a:pt x="110490" y="74581"/>
                    <a:pt x="114967" y="74581"/>
                  </a:cubicBezTo>
                  <a:lnTo>
                    <a:pt x="115157" y="74581"/>
                  </a:lnTo>
                  <a:cubicBezTo>
                    <a:pt x="120205" y="74581"/>
                    <a:pt x="128111" y="76581"/>
                    <a:pt x="133826" y="80010"/>
                  </a:cubicBezTo>
                  <a:cubicBezTo>
                    <a:pt x="136684" y="81724"/>
                    <a:pt x="139065" y="83820"/>
                    <a:pt x="140589" y="85916"/>
                  </a:cubicBezTo>
                  <a:lnTo>
                    <a:pt x="140875" y="86296"/>
                  </a:lnTo>
                  <a:lnTo>
                    <a:pt x="111728" y="85820"/>
                  </a:lnTo>
                  <a:lnTo>
                    <a:pt x="104870" y="85820"/>
                  </a:lnTo>
                  <a:lnTo>
                    <a:pt x="104680" y="92583"/>
                  </a:lnTo>
                  <a:lnTo>
                    <a:pt x="103822" y="128397"/>
                  </a:lnTo>
                  <a:lnTo>
                    <a:pt x="103822" y="135445"/>
                  </a:lnTo>
                  <a:lnTo>
                    <a:pt x="110680" y="135445"/>
                  </a:lnTo>
                  <a:lnTo>
                    <a:pt x="224028" y="136969"/>
                  </a:lnTo>
                  <a:lnTo>
                    <a:pt x="230410" y="136969"/>
                  </a:lnTo>
                  <a:lnTo>
                    <a:pt x="231076" y="130683"/>
                  </a:lnTo>
                  <a:cubicBezTo>
                    <a:pt x="231458" y="127159"/>
                    <a:pt x="231743" y="124968"/>
                    <a:pt x="232029" y="122682"/>
                  </a:cubicBezTo>
                  <a:cubicBezTo>
                    <a:pt x="232315" y="120587"/>
                    <a:pt x="232505" y="118300"/>
                    <a:pt x="232505" y="115538"/>
                  </a:cubicBezTo>
                  <a:cubicBezTo>
                    <a:pt x="232505" y="111252"/>
                    <a:pt x="232029" y="105727"/>
                    <a:pt x="230886" y="95059"/>
                  </a:cubicBezTo>
                  <a:close/>
                  <a:moveTo>
                    <a:pt x="218218" y="120682"/>
                  </a:moveTo>
                  <a:lnTo>
                    <a:pt x="218218" y="122777"/>
                  </a:lnTo>
                  <a:lnTo>
                    <a:pt x="117919" y="121253"/>
                  </a:lnTo>
                  <a:lnTo>
                    <a:pt x="118586" y="99441"/>
                  </a:lnTo>
                  <a:lnTo>
                    <a:pt x="149733" y="99917"/>
                  </a:lnTo>
                  <a:lnTo>
                    <a:pt x="156686" y="99917"/>
                  </a:lnTo>
                  <a:lnTo>
                    <a:pt x="156686" y="92678"/>
                  </a:lnTo>
                  <a:cubicBezTo>
                    <a:pt x="156781" y="86963"/>
                    <a:pt x="154876" y="81724"/>
                    <a:pt x="151924" y="77629"/>
                  </a:cubicBezTo>
                  <a:cubicBezTo>
                    <a:pt x="147447" y="71342"/>
                    <a:pt x="141065" y="67246"/>
                    <a:pt x="134493" y="64579"/>
                  </a:cubicBezTo>
                  <a:cubicBezTo>
                    <a:pt x="127921" y="61817"/>
                    <a:pt x="121158" y="60484"/>
                    <a:pt x="115252" y="60389"/>
                  </a:cubicBezTo>
                  <a:lnTo>
                    <a:pt x="114871" y="60389"/>
                  </a:lnTo>
                  <a:cubicBezTo>
                    <a:pt x="106299" y="60389"/>
                    <a:pt x="95631" y="64008"/>
                    <a:pt x="86487" y="72485"/>
                  </a:cubicBezTo>
                  <a:cubicBezTo>
                    <a:pt x="77343" y="80963"/>
                    <a:pt x="70294" y="94488"/>
                    <a:pt x="70104" y="113157"/>
                  </a:cubicBezTo>
                  <a:lnTo>
                    <a:pt x="70104" y="114395"/>
                  </a:lnTo>
                  <a:cubicBezTo>
                    <a:pt x="70104" y="132397"/>
                    <a:pt x="75533" y="146304"/>
                    <a:pt x="84582" y="155353"/>
                  </a:cubicBezTo>
                  <a:cubicBezTo>
                    <a:pt x="93536" y="164497"/>
                    <a:pt x="105442" y="168593"/>
                    <a:pt x="116967" y="168688"/>
                  </a:cubicBezTo>
                  <a:cubicBezTo>
                    <a:pt x="119443" y="168688"/>
                    <a:pt x="121729" y="168688"/>
                    <a:pt x="123920" y="168688"/>
                  </a:cubicBezTo>
                  <a:cubicBezTo>
                    <a:pt x="139351" y="168688"/>
                    <a:pt x="148399" y="167926"/>
                    <a:pt x="155353" y="166497"/>
                  </a:cubicBezTo>
                  <a:cubicBezTo>
                    <a:pt x="160211" y="165449"/>
                    <a:pt x="163735" y="164116"/>
                    <a:pt x="167164" y="162687"/>
                  </a:cubicBezTo>
                  <a:lnTo>
                    <a:pt x="196691" y="196977"/>
                  </a:lnTo>
                  <a:cubicBezTo>
                    <a:pt x="172117" y="215837"/>
                    <a:pt x="146018" y="218789"/>
                    <a:pt x="126778" y="218789"/>
                  </a:cubicBezTo>
                  <a:cubicBezTo>
                    <a:pt x="122396" y="218789"/>
                    <a:pt x="118300" y="218599"/>
                    <a:pt x="114776" y="218503"/>
                  </a:cubicBezTo>
                  <a:cubicBezTo>
                    <a:pt x="58483" y="216313"/>
                    <a:pt x="13621" y="172021"/>
                    <a:pt x="13621" y="116300"/>
                  </a:cubicBezTo>
                  <a:lnTo>
                    <a:pt x="13621" y="114967"/>
                  </a:lnTo>
                  <a:cubicBezTo>
                    <a:pt x="14383" y="58960"/>
                    <a:pt x="60007" y="14002"/>
                    <a:pt x="115919" y="14002"/>
                  </a:cubicBezTo>
                  <a:lnTo>
                    <a:pt x="117253" y="14002"/>
                  </a:lnTo>
                  <a:cubicBezTo>
                    <a:pt x="141637" y="14288"/>
                    <a:pt x="165735" y="24955"/>
                    <a:pt x="184118" y="40672"/>
                  </a:cubicBezTo>
                  <a:cubicBezTo>
                    <a:pt x="202501" y="56388"/>
                    <a:pt x="214884" y="77152"/>
                    <a:pt x="216884" y="96393"/>
                  </a:cubicBezTo>
                  <a:cubicBezTo>
                    <a:pt x="218027" y="106966"/>
                    <a:pt x="218408" y="112109"/>
                    <a:pt x="218408" y="115348"/>
                  </a:cubicBezTo>
                  <a:cubicBezTo>
                    <a:pt x="218408" y="117443"/>
                    <a:pt x="218313" y="118777"/>
                    <a:pt x="218027" y="12077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959" name="Group 958">
            <a:extLst>
              <a:ext uri="{FF2B5EF4-FFF2-40B4-BE49-F238E27FC236}">
                <a16:creationId xmlns:a16="http://schemas.microsoft.com/office/drawing/2014/main" id="{A46E724D-DA2D-4A33-98FC-A58AC560CFB5}"/>
              </a:ext>
            </a:extLst>
          </p:cNvPr>
          <p:cNvGrpSpPr/>
          <p:nvPr userDrawn="1"/>
        </p:nvGrpSpPr>
        <p:grpSpPr>
          <a:xfrm>
            <a:off x="4749875" y="3588696"/>
            <a:ext cx="742887" cy="217258"/>
            <a:chOff x="7719924" y="4778937"/>
            <a:chExt cx="3802951" cy="1112176"/>
          </a:xfrm>
        </p:grpSpPr>
        <p:sp>
          <p:nvSpPr>
            <p:cNvPr id="960" name="Freeform: Shape 959">
              <a:extLst>
                <a:ext uri="{FF2B5EF4-FFF2-40B4-BE49-F238E27FC236}">
                  <a16:creationId xmlns:a16="http://schemas.microsoft.com/office/drawing/2014/main" id="{C7EA06BA-CD45-49AF-8051-CC22F79139D0}"/>
                </a:ext>
              </a:extLst>
            </p:cNvPr>
            <p:cNvSpPr/>
            <p:nvPr/>
          </p:nvSpPr>
          <p:spPr>
            <a:xfrm>
              <a:off x="7719924" y="4778937"/>
              <a:ext cx="3778281" cy="1112176"/>
            </a:xfrm>
            <a:custGeom>
              <a:avLst/>
              <a:gdLst>
                <a:gd name="connsiteX0" fmla="*/ 0 w 3778281"/>
                <a:gd name="connsiteY0" fmla="*/ 336995 h 1112176"/>
                <a:gd name="connsiteX1" fmla="*/ 0 w 3778281"/>
                <a:gd name="connsiteY1" fmla="*/ 306324 h 1112176"/>
                <a:gd name="connsiteX2" fmla="*/ 137541 w 3778281"/>
                <a:gd name="connsiteY2" fmla="*/ 306324 h 1112176"/>
                <a:gd name="connsiteX3" fmla="*/ 137541 w 3778281"/>
                <a:gd name="connsiteY3" fmla="*/ 131731 h 1112176"/>
                <a:gd name="connsiteX4" fmla="*/ 295275 w 3778281"/>
                <a:gd name="connsiteY4" fmla="*/ 0 h 1112176"/>
                <a:gd name="connsiteX5" fmla="*/ 362426 w 3778281"/>
                <a:gd name="connsiteY5" fmla="*/ 6096 h 1112176"/>
                <a:gd name="connsiteX6" fmla="*/ 362426 w 3778281"/>
                <a:gd name="connsiteY6" fmla="*/ 36767 h 1112176"/>
                <a:gd name="connsiteX7" fmla="*/ 288989 w 3778281"/>
                <a:gd name="connsiteY7" fmla="*/ 30671 h 1112176"/>
                <a:gd name="connsiteX8" fmla="*/ 168688 w 3778281"/>
                <a:gd name="connsiteY8" fmla="*/ 142494 h 1112176"/>
                <a:gd name="connsiteX9" fmla="*/ 168688 w 3778281"/>
                <a:gd name="connsiteY9" fmla="*/ 306419 h 1112176"/>
                <a:gd name="connsiteX10" fmla="*/ 342138 w 3778281"/>
                <a:gd name="connsiteY10" fmla="*/ 306419 h 1112176"/>
                <a:gd name="connsiteX11" fmla="*/ 342138 w 3778281"/>
                <a:gd name="connsiteY11" fmla="*/ 337090 h 1112176"/>
                <a:gd name="connsiteX12" fmla="*/ 168783 w 3778281"/>
                <a:gd name="connsiteY12" fmla="*/ 337090 h 1112176"/>
                <a:gd name="connsiteX13" fmla="*/ 168783 w 3778281"/>
                <a:gd name="connsiteY13" fmla="*/ 1093756 h 1112176"/>
                <a:gd name="connsiteX14" fmla="*/ 137541 w 3778281"/>
                <a:gd name="connsiteY14" fmla="*/ 1093756 h 1112176"/>
                <a:gd name="connsiteX15" fmla="*/ 137541 w 3778281"/>
                <a:gd name="connsiteY15" fmla="*/ 336995 h 1112176"/>
                <a:gd name="connsiteX16" fmla="*/ 0 w 3778281"/>
                <a:gd name="connsiteY16" fmla="*/ 336995 h 1112176"/>
                <a:gd name="connsiteX17" fmla="*/ 437483 w 3778281"/>
                <a:gd name="connsiteY17" fmla="*/ 1093756 h 1112176"/>
                <a:gd name="connsiteX18" fmla="*/ 406241 w 3778281"/>
                <a:gd name="connsiteY18" fmla="*/ 1093756 h 1112176"/>
                <a:gd name="connsiteX19" fmla="*/ 406241 w 3778281"/>
                <a:gd name="connsiteY19" fmla="*/ 306419 h 1112176"/>
                <a:gd name="connsiteX20" fmla="*/ 437483 w 3778281"/>
                <a:gd name="connsiteY20" fmla="*/ 306419 h 1112176"/>
                <a:gd name="connsiteX21" fmla="*/ 437483 w 3778281"/>
                <a:gd name="connsiteY21" fmla="*/ 500920 h 1112176"/>
                <a:gd name="connsiteX22" fmla="*/ 440626 w 3778281"/>
                <a:gd name="connsiteY22" fmla="*/ 500920 h 1112176"/>
                <a:gd name="connsiteX23" fmla="*/ 756285 w 3778281"/>
                <a:gd name="connsiteY23" fmla="*/ 287941 h 1112176"/>
                <a:gd name="connsiteX24" fmla="*/ 756285 w 3778281"/>
                <a:gd name="connsiteY24" fmla="*/ 318611 h 1112176"/>
                <a:gd name="connsiteX25" fmla="*/ 437483 w 3778281"/>
                <a:gd name="connsiteY25" fmla="*/ 647986 h 1112176"/>
                <a:gd name="connsiteX26" fmla="*/ 437483 w 3778281"/>
                <a:gd name="connsiteY26" fmla="*/ 1093756 h 1112176"/>
                <a:gd name="connsiteX27" fmla="*/ 795338 w 3778281"/>
                <a:gd name="connsiteY27" fmla="*/ 706184 h 1112176"/>
                <a:gd name="connsiteX28" fmla="*/ 1112520 w 3778281"/>
                <a:gd name="connsiteY28" fmla="*/ 1081469 h 1112176"/>
                <a:gd name="connsiteX29" fmla="*/ 1426559 w 3778281"/>
                <a:gd name="connsiteY29" fmla="*/ 821055 h 1112176"/>
                <a:gd name="connsiteX30" fmla="*/ 1457801 w 3778281"/>
                <a:gd name="connsiteY30" fmla="*/ 821055 h 1112176"/>
                <a:gd name="connsiteX31" fmla="*/ 1115568 w 3778281"/>
                <a:gd name="connsiteY31" fmla="*/ 1112139 h 1112176"/>
                <a:gd name="connsiteX32" fmla="*/ 764000 w 3778281"/>
                <a:gd name="connsiteY32" fmla="*/ 700088 h 1112176"/>
                <a:gd name="connsiteX33" fmla="*/ 1115568 w 3778281"/>
                <a:gd name="connsiteY33" fmla="*/ 288036 h 1112176"/>
                <a:gd name="connsiteX34" fmla="*/ 1467136 w 3778281"/>
                <a:gd name="connsiteY34" fmla="*/ 706279 h 1112176"/>
                <a:gd name="connsiteX35" fmla="*/ 795338 w 3778281"/>
                <a:gd name="connsiteY35" fmla="*/ 706279 h 1112176"/>
                <a:gd name="connsiteX36" fmla="*/ 1435989 w 3778281"/>
                <a:gd name="connsiteY36" fmla="*/ 675513 h 1112176"/>
                <a:gd name="connsiteX37" fmla="*/ 1118807 w 3778281"/>
                <a:gd name="connsiteY37" fmla="*/ 318611 h 1112176"/>
                <a:gd name="connsiteX38" fmla="*/ 795338 w 3778281"/>
                <a:gd name="connsiteY38" fmla="*/ 675513 h 1112176"/>
                <a:gd name="connsiteX39" fmla="*/ 1435989 w 3778281"/>
                <a:gd name="connsiteY39" fmla="*/ 675513 h 1112176"/>
                <a:gd name="connsiteX40" fmla="*/ 2115693 w 3778281"/>
                <a:gd name="connsiteY40" fmla="*/ 539210 h 1112176"/>
                <a:gd name="connsiteX41" fmla="*/ 1856327 w 3778281"/>
                <a:gd name="connsiteY41" fmla="*/ 318611 h 1112176"/>
                <a:gd name="connsiteX42" fmla="*/ 1615726 w 3778281"/>
                <a:gd name="connsiteY42" fmla="*/ 485585 h 1112176"/>
                <a:gd name="connsiteX43" fmla="*/ 1704785 w 3778281"/>
                <a:gd name="connsiteY43" fmla="*/ 623411 h 1112176"/>
                <a:gd name="connsiteX44" fmla="*/ 1911001 w 3778281"/>
                <a:gd name="connsiteY44" fmla="*/ 681609 h 1112176"/>
                <a:gd name="connsiteX45" fmla="*/ 2168843 w 3778281"/>
                <a:gd name="connsiteY45" fmla="*/ 892969 h 1112176"/>
                <a:gd name="connsiteX46" fmla="*/ 1878235 w 3778281"/>
                <a:gd name="connsiteY46" fmla="*/ 1112044 h 1112176"/>
                <a:gd name="connsiteX47" fmla="*/ 1553242 w 3778281"/>
                <a:gd name="connsiteY47" fmla="*/ 824008 h 1112176"/>
                <a:gd name="connsiteX48" fmla="*/ 1584484 w 3778281"/>
                <a:gd name="connsiteY48" fmla="*/ 824008 h 1112176"/>
                <a:gd name="connsiteX49" fmla="*/ 1878235 w 3778281"/>
                <a:gd name="connsiteY49" fmla="*/ 1081373 h 1112176"/>
                <a:gd name="connsiteX50" fmla="*/ 2137601 w 3778281"/>
                <a:gd name="connsiteY50" fmla="*/ 896017 h 1112176"/>
                <a:gd name="connsiteX51" fmla="*/ 1860995 w 3778281"/>
                <a:gd name="connsiteY51" fmla="*/ 701516 h 1112176"/>
                <a:gd name="connsiteX52" fmla="*/ 1681258 w 3778281"/>
                <a:gd name="connsiteY52" fmla="*/ 647890 h 1112176"/>
                <a:gd name="connsiteX53" fmla="*/ 1584389 w 3778281"/>
                <a:gd name="connsiteY53" fmla="*/ 485489 h 1112176"/>
                <a:gd name="connsiteX54" fmla="*/ 1856232 w 3778281"/>
                <a:gd name="connsiteY54" fmla="*/ 287846 h 1112176"/>
                <a:gd name="connsiteX55" fmla="*/ 2146840 w 3778281"/>
                <a:gd name="connsiteY55" fmla="*/ 539115 h 1112176"/>
                <a:gd name="connsiteX56" fmla="*/ 2115598 w 3778281"/>
                <a:gd name="connsiteY56" fmla="*/ 539115 h 1112176"/>
                <a:gd name="connsiteX57" fmla="*/ 2962561 w 3778281"/>
                <a:gd name="connsiteY57" fmla="*/ 825627 h 1112176"/>
                <a:gd name="connsiteX58" fmla="*/ 2634424 w 3778281"/>
                <a:gd name="connsiteY58" fmla="*/ 1112139 h 1112176"/>
                <a:gd name="connsiteX59" fmla="*/ 2278190 w 3778281"/>
                <a:gd name="connsiteY59" fmla="*/ 716947 h 1112176"/>
                <a:gd name="connsiteX60" fmla="*/ 2653189 w 3778281"/>
                <a:gd name="connsiteY60" fmla="*/ 288036 h 1112176"/>
                <a:gd name="connsiteX61" fmla="*/ 2956370 w 3778281"/>
                <a:gd name="connsiteY61" fmla="*/ 545402 h 1112176"/>
                <a:gd name="connsiteX62" fmla="*/ 2925128 w 3778281"/>
                <a:gd name="connsiteY62" fmla="*/ 545402 h 1112176"/>
                <a:gd name="connsiteX63" fmla="*/ 2653284 w 3778281"/>
                <a:gd name="connsiteY63" fmla="*/ 318707 h 1112176"/>
                <a:gd name="connsiteX64" fmla="*/ 2309527 w 3778281"/>
                <a:gd name="connsiteY64" fmla="*/ 717042 h 1112176"/>
                <a:gd name="connsiteX65" fmla="*/ 2634520 w 3778281"/>
                <a:gd name="connsiteY65" fmla="*/ 1081659 h 1112176"/>
                <a:gd name="connsiteX66" fmla="*/ 2931414 w 3778281"/>
                <a:gd name="connsiteY66" fmla="*/ 825818 h 1112176"/>
                <a:gd name="connsiteX67" fmla="*/ 2962656 w 3778281"/>
                <a:gd name="connsiteY67" fmla="*/ 825818 h 1112176"/>
                <a:gd name="connsiteX68" fmla="*/ 3417284 w 3778281"/>
                <a:gd name="connsiteY68" fmla="*/ 287941 h 1112176"/>
                <a:gd name="connsiteX69" fmla="*/ 3778282 w 3778281"/>
                <a:gd name="connsiteY69" fmla="*/ 699992 h 1112176"/>
                <a:gd name="connsiteX70" fmla="*/ 3415760 w 3778281"/>
                <a:gd name="connsiteY70" fmla="*/ 1112044 h 1112176"/>
                <a:gd name="connsiteX71" fmla="*/ 3054858 w 3778281"/>
                <a:gd name="connsiteY71" fmla="*/ 699992 h 1112176"/>
                <a:gd name="connsiteX72" fmla="*/ 3417380 w 3778281"/>
                <a:gd name="connsiteY72" fmla="*/ 287941 h 1112176"/>
                <a:gd name="connsiteX73" fmla="*/ 3417284 w 3778281"/>
                <a:gd name="connsiteY73" fmla="*/ 1081469 h 1112176"/>
                <a:gd name="connsiteX74" fmla="*/ 3746945 w 3778281"/>
                <a:gd name="connsiteY74" fmla="*/ 699992 h 1112176"/>
                <a:gd name="connsiteX75" fmla="*/ 3417284 w 3778281"/>
                <a:gd name="connsiteY75" fmla="*/ 318516 h 1112176"/>
                <a:gd name="connsiteX76" fmla="*/ 3086005 w 3778281"/>
                <a:gd name="connsiteY76" fmla="*/ 699992 h 1112176"/>
                <a:gd name="connsiteX77" fmla="*/ 3417284 w 3778281"/>
                <a:gd name="connsiteY77" fmla="*/ 1081469 h 111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778281" h="1112176">
                  <a:moveTo>
                    <a:pt x="0" y="336995"/>
                  </a:moveTo>
                  <a:lnTo>
                    <a:pt x="0" y="306324"/>
                  </a:lnTo>
                  <a:lnTo>
                    <a:pt x="137541" y="306324"/>
                  </a:lnTo>
                  <a:lnTo>
                    <a:pt x="137541" y="131731"/>
                  </a:lnTo>
                  <a:cubicBezTo>
                    <a:pt x="137541" y="6096"/>
                    <a:pt x="228124" y="0"/>
                    <a:pt x="295275" y="0"/>
                  </a:cubicBezTo>
                  <a:cubicBezTo>
                    <a:pt x="323374" y="0"/>
                    <a:pt x="345281" y="4572"/>
                    <a:pt x="362426" y="6096"/>
                  </a:cubicBezTo>
                  <a:lnTo>
                    <a:pt x="362426" y="36767"/>
                  </a:lnTo>
                  <a:cubicBezTo>
                    <a:pt x="332708" y="32195"/>
                    <a:pt x="312420" y="30671"/>
                    <a:pt x="288989" y="30671"/>
                  </a:cubicBezTo>
                  <a:cubicBezTo>
                    <a:pt x="188976" y="30671"/>
                    <a:pt x="168688" y="65913"/>
                    <a:pt x="168688" y="142494"/>
                  </a:cubicBezTo>
                  <a:lnTo>
                    <a:pt x="168688" y="306419"/>
                  </a:lnTo>
                  <a:lnTo>
                    <a:pt x="342138" y="306419"/>
                  </a:lnTo>
                  <a:lnTo>
                    <a:pt x="342138" y="337090"/>
                  </a:lnTo>
                  <a:lnTo>
                    <a:pt x="168783" y="337090"/>
                  </a:lnTo>
                  <a:lnTo>
                    <a:pt x="168783" y="1093756"/>
                  </a:lnTo>
                  <a:lnTo>
                    <a:pt x="137541" y="1093756"/>
                  </a:lnTo>
                  <a:lnTo>
                    <a:pt x="137541" y="336995"/>
                  </a:lnTo>
                  <a:lnTo>
                    <a:pt x="0" y="336995"/>
                  </a:lnTo>
                  <a:close/>
                  <a:moveTo>
                    <a:pt x="437483" y="1093756"/>
                  </a:moveTo>
                  <a:lnTo>
                    <a:pt x="406241" y="1093756"/>
                  </a:lnTo>
                  <a:lnTo>
                    <a:pt x="406241" y="306419"/>
                  </a:lnTo>
                  <a:lnTo>
                    <a:pt x="437483" y="306419"/>
                  </a:lnTo>
                  <a:lnTo>
                    <a:pt x="437483" y="500920"/>
                  </a:lnTo>
                  <a:lnTo>
                    <a:pt x="440626" y="500920"/>
                  </a:lnTo>
                  <a:cubicBezTo>
                    <a:pt x="470345" y="384524"/>
                    <a:pt x="564071" y="281845"/>
                    <a:pt x="756285" y="287941"/>
                  </a:cubicBezTo>
                  <a:lnTo>
                    <a:pt x="756285" y="318611"/>
                  </a:lnTo>
                  <a:cubicBezTo>
                    <a:pt x="535972" y="307848"/>
                    <a:pt x="437483" y="476441"/>
                    <a:pt x="437483" y="647986"/>
                  </a:cubicBezTo>
                  <a:lnTo>
                    <a:pt x="437483" y="1093756"/>
                  </a:lnTo>
                  <a:close/>
                  <a:moveTo>
                    <a:pt x="795338" y="706184"/>
                  </a:moveTo>
                  <a:cubicBezTo>
                    <a:pt x="798481" y="917543"/>
                    <a:pt x="884396" y="1081469"/>
                    <a:pt x="1112520" y="1081469"/>
                  </a:cubicBezTo>
                  <a:cubicBezTo>
                    <a:pt x="1278160" y="1081469"/>
                    <a:pt x="1399985" y="991076"/>
                    <a:pt x="1426559" y="821055"/>
                  </a:cubicBezTo>
                  <a:lnTo>
                    <a:pt x="1457801" y="821055"/>
                  </a:lnTo>
                  <a:cubicBezTo>
                    <a:pt x="1435894" y="1001840"/>
                    <a:pt x="1298448" y="1112139"/>
                    <a:pt x="1115568" y="1112139"/>
                  </a:cubicBezTo>
                  <a:cubicBezTo>
                    <a:pt x="867156" y="1115187"/>
                    <a:pt x="764000" y="934403"/>
                    <a:pt x="764000" y="700088"/>
                  </a:cubicBezTo>
                  <a:cubicBezTo>
                    <a:pt x="764000" y="438150"/>
                    <a:pt x="934307" y="288036"/>
                    <a:pt x="1115568" y="288036"/>
                  </a:cubicBezTo>
                  <a:cubicBezTo>
                    <a:pt x="1365599" y="288036"/>
                    <a:pt x="1476470" y="490252"/>
                    <a:pt x="1467136" y="706279"/>
                  </a:cubicBezTo>
                  <a:lnTo>
                    <a:pt x="795338" y="706279"/>
                  </a:lnTo>
                  <a:close/>
                  <a:moveTo>
                    <a:pt x="1435989" y="675513"/>
                  </a:moveTo>
                  <a:cubicBezTo>
                    <a:pt x="1437513" y="482537"/>
                    <a:pt x="1326642" y="318611"/>
                    <a:pt x="1118807" y="318611"/>
                  </a:cubicBezTo>
                  <a:cubicBezTo>
                    <a:pt x="945356" y="318611"/>
                    <a:pt x="806291" y="454914"/>
                    <a:pt x="795338" y="675513"/>
                  </a:cubicBezTo>
                  <a:lnTo>
                    <a:pt x="1435989" y="675513"/>
                  </a:lnTo>
                  <a:close/>
                  <a:moveTo>
                    <a:pt x="2115693" y="539210"/>
                  </a:moveTo>
                  <a:cubicBezTo>
                    <a:pt x="2115693" y="381381"/>
                    <a:pt x="2009394" y="318611"/>
                    <a:pt x="1856327" y="318611"/>
                  </a:cubicBezTo>
                  <a:cubicBezTo>
                    <a:pt x="1631347" y="318611"/>
                    <a:pt x="1615726" y="458057"/>
                    <a:pt x="1615726" y="485585"/>
                  </a:cubicBezTo>
                  <a:cubicBezTo>
                    <a:pt x="1615726" y="563690"/>
                    <a:pt x="1650111" y="601980"/>
                    <a:pt x="1704785" y="623411"/>
                  </a:cubicBezTo>
                  <a:cubicBezTo>
                    <a:pt x="1761077" y="644843"/>
                    <a:pt x="1825085" y="658654"/>
                    <a:pt x="1911001" y="681609"/>
                  </a:cubicBezTo>
                  <a:cubicBezTo>
                    <a:pt x="2034445" y="712280"/>
                    <a:pt x="2168843" y="742855"/>
                    <a:pt x="2168843" y="892969"/>
                  </a:cubicBezTo>
                  <a:cubicBezTo>
                    <a:pt x="2168843" y="1050703"/>
                    <a:pt x="2017300" y="1112044"/>
                    <a:pt x="1878235" y="1112044"/>
                  </a:cubicBezTo>
                  <a:cubicBezTo>
                    <a:pt x="1667256" y="1112044"/>
                    <a:pt x="1553242" y="1021652"/>
                    <a:pt x="1553242" y="824008"/>
                  </a:cubicBezTo>
                  <a:lnTo>
                    <a:pt x="1584484" y="824008"/>
                  </a:lnTo>
                  <a:cubicBezTo>
                    <a:pt x="1584484" y="998601"/>
                    <a:pt x="1692307" y="1081373"/>
                    <a:pt x="1878235" y="1081373"/>
                  </a:cubicBezTo>
                  <a:cubicBezTo>
                    <a:pt x="1993868" y="1081373"/>
                    <a:pt x="2137601" y="1030796"/>
                    <a:pt x="2137601" y="896017"/>
                  </a:cubicBezTo>
                  <a:cubicBezTo>
                    <a:pt x="2137601" y="761238"/>
                    <a:pt x="1998536" y="735140"/>
                    <a:pt x="1860995" y="701516"/>
                  </a:cubicBezTo>
                  <a:cubicBezTo>
                    <a:pt x="1784414" y="683133"/>
                    <a:pt x="1726597" y="667798"/>
                    <a:pt x="1681258" y="647890"/>
                  </a:cubicBezTo>
                  <a:cubicBezTo>
                    <a:pt x="1615631" y="620268"/>
                    <a:pt x="1584389" y="569786"/>
                    <a:pt x="1584389" y="485489"/>
                  </a:cubicBezTo>
                  <a:cubicBezTo>
                    <a:pt x="1584389" y="401193"/>
                    <a:pt x="1656302" y="287846"/>
                    <a:pt x="1856232" y="287846"/>
                  </a:cubicBezTo>
                  <a:cubicBezTo>
                    <a:pt x="2034350" y="287846"/>
                    <a:pt x="2146840" y="364426"/>
                    <a:pt x="2146840" y="539115"/>
                  </a:cubicBezTo>
                  <a:lnTo>
                    <a:pt x="2115598" y="539115"/>
                  </a:lnTo>
                  <a:close/>
                  <a:moveTo>
                    <a:pt x="2962561" y="825627"/>
                  </a:moveTo>
                  <a:cubicBezTo>
                    <a:pt x="2945416" y="1001840"/>
                    <a:pt x="2815685" y="1112139"/>
                    <a:pt x="2634424" y="1112139"/>
                  </a:cubicBezTo>
                  <a:cubicBezTo>
                    <a:pt x="2406301" y="1112139"/>
                    <a:pt x="2278190" y="931355"/>
                    <a:pt x="2278190" y="716947"/>
                  </a:cubicBezTo>
                  <a:cubicBezTo>
                    <a:pt x="2278190" y="488728"/>
                    <a:pt x="2395347" y="288036"/>
                    <a:pt x="2653189" y="288036"/>
                  </a:cubicBezTo>
                  <a:cubicBezTo>
                    <a:pt x="2803208" y="288036"/>
                    <a:pt x="2935986" y="378428"/>
                    <a:pt x="2956370" y="545402"/>
                  </a:cubicBezTo>
                  <a:lnTo>
                    <a:pt x="2925128" y="545402"/>
                  </a:lnTo>
                  <a:cubicBezTo>
                    <a:pt x="2900172" y="392240"/>
                    <a:pt x="2786063" y="318707"/>
                    <a:pt x="2653284" y="318707"/>
                  </a:cubicBezTo>
                  <a:cubicBezTo>
                    <a:pt x="2397062" y="318707"/>
                    <a:pt x="2309527" y="531686"/>
                    <a:pt x="2309527" y="717042"/>
                  </a:cubicBezTo>
                  <a:cubicBezTo>
                    <a:pt x="2309527" y="902399"/>
                    <a:pt x="2422017" y="1081659"/>
                    <a:pt x="2634520" y="1081659"/>
                  </a:cubicBezTo>
                  <a:cubicBezTo>
                    <a:pt x="2792349" y="1081659"/>
                    <a:pt x="2918936" y="983647"/>
                    <a:pt x="2931414" y="825818"/>
                  </a:cubicBezTo>
                  <a:lnTo>
                    <a:pt x="2962656" y="825818"/>
                  </a:lnTo>
                  <a:close/>
                  <a:moveTo>
                    <a:pt x="3417284" y="287941"/>
                  </a:moveTo>
                  <a:cubicBezTo>
                    <a:pt x="3651695" y="287941"/>
                    <a:pt x="3778282" y="485585"/>
                    <a:pt x="3778282" y="699992"/>
                  </a:cubicBezTo>
                  <a:cubicBezTo>
                    <a:pt x="3778282" y="914400"/>
                    <a:pt x="3651695" y="1112044"/>
                    <a:pt x="3415760" y="1112044"/>
                  </a:cubicBezTo>
                  <a:cubicBezTo>
                    <a:pt x="3179826" y="1112044"/>
                    <a:pt x="3054858" y="915924"/>
                    <a:pt x="3054858" y="699992"/>
                  </a:cubicBezTo>
                  <a:cubicBezTo>
                    <a:pt x="3054858" y="484061"/>
                    <a:pt x="3181445" y="287941"/>
                    <a:pt x="3417380" y="287941"/>
                  </a:cubicBezTo>
                  <a:close/>
                  <a:moveTo>
                    <a:pt x="3417284" y="1081469"/>
                  </a:moveTo>
                  <a:cubicBezTo>
                    <a:pt x="3631311" y="1081469"/>
                    <a:pt x="3746945" y="899160"/>
                    <a:pt x="3746945" y="699992"/>
                  </a:cubicBezTo>
                  <a:cubicBezTo>
                    <a:pt x="3746945" y="500825"/>
                    <a:pt x="3631311" y="318516"/>
                    <a:pt x="3417284" y="318516"/>
                  </a:cubicBezTo>
                  <a:cubicBezTo>
                    <a:pt x="3203258" y="318516"/>
                    <a:pt x="3086005" y="503873"/>
                    <a:pt x="3086005" y="699992"/>
                  </a:cubicBezTo>
                  <a:cubicBezTo>
                    <a:pt x="3086005" y="896112"/>
                    <a:pt x="3200114" y="1081469"/>
                    <a:pt x="3417284" y="1081469"/>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61" name="Freeform: Shape 960">
              <a:extLst>
                <a:ext uri="{FF2B5EF4-FFF2-40B4-BE49-F238E27FC236}">
                  <a16:creationId xmlns:a16="http://schemas.microsoft.com/office/drawing/2014/main" id="{1419A8D6-84CA-43B8-A605-03755B2DB651}"/>
                </a:ext>
              </a:extLst>
            </p:cNvPr>
            <p:cNvSpPr/>
            <p:nvPr/>
          </p:nvSpPr>
          <p:spPr>
            <a:xfrm>
              <a:off x="11400765" y="5058495"/>
              <a:ext cx="122110" cy="64579"/>
            </a:xfrm>
            <a:custGeom>
              <a:avLst/>
              <a:gdLst>
                <a:gd name="connsiteX0" fmla="*/ 0 w 122110"/>
                <a:gd name="connsiteY0" fmla="*/ 0 h 64579"/>
                <a:gd name="connsiteX1" fmla="*/ 52197 w 122110"/>
                <a:gd name="connsiteY1" fmla="*/ 0 h 64579"/>
                <a:gd name="connsiteX2" fmla="*/ 52197 w 122110"/>
                <a:gd name="connsiteY2" fmla="*/ 5239 h 64579"/>
                <a:gd name="connsiteX3" fmla="*/ 29242 w 122110"/>
                <a:gd name="connsiteY3" fmla="*/ 5239 h 64579"/>
                <a:gd name="connsiteX4" fmla="*/ 29242 w 122110"/>
                <a:gd name="connsiteY4" fmla="*/ 64580 h 64579"/>
                <a:gd name="connsiteX5" fmla="*/ 22955 w 122110"/>
                <a:gd name="connsiteY5" fmla="*/ 64580 h 64579"/>
                <a:gd name="connsiteX6" fmla="*/ 22955 w 122110"/>
                <a:gd name="connsiteY6" fmla="*/ 5239 h 64579"/>
                <a:gd name="connsiteX7" fmla="*/ 0 w 122110"/>
                <a:gd name="connsiteY7" fmla="*/ 5239 h 64579"/>
                <a:gd name="connsiteX8" fmla="*/ 0 w 122110"/>
                <a:gd name="connsiteY8" fmla="*/ 0 h 64579"/>
                <a:gd name="connsiteX9" fmla="*/ 58198 w 122110"/>
                <a:gd name="connsiteY9" fmla="*/ 0 h 64579"/>
                <a:gd name="connsiteX10" fmla="*/ 67437 w 122110"/>
                <a:gd name="connsiteY10" fmla="*/ 0 h 64579"/>
                <a:gd name="connsiteX11" fmla="*/ 90202 w 122110"/>
                <a:gd name="connsiteY11" fmla="*/ 56579 h 64579"/>
                <a:gd name="connsiteX12" fmla="*/ 112871 w 122110"/>
                <a:gd name="connsiteY12" fmla="*/ 0 h 64579"/>
                <a:gd name="connsiteX13" fmla="*/ 122111 w 122110"/>
                <a:gd name="connsiteY13" fmla="*/ 0 h 64579"/>
                <a:gd name="connsiteX14" fmla="*/ 122111 w 122110"/>
                <a:gd name="connsiteY14" fmla="*/ 64580 h 64579"/>
                <a:gd name="connsiteX15" fmla="*/ 115824 w 122110"/>
                <a:gd name="connsiteY15" fmla="*/ 64580 h 64579"/>
                <a:gd name="connsiteX16" fmla="*/ 115824 w 122110"/>
                <a:gd name="connsiteY16" fmla="*/ 8763 h 64579"/>
                <a:gd name="connsiteX17" fmla="*/ 115633 w 122110"/>
                <a:gd name="connsiteY17" fmla="*/ 8763 h 64579"/>
                <a:gd name="connsiteX18" fmla="*/ 93154 w 122110"/>
                <a:gd name="connsiteY18" fmla="*/ 64580 h 64579"/>
                <a:gd name="connsiteX19" fmla="*/ 87249 w 122110"/>
                <a:gd name="connsiteY19" fmla="*/ 64580 h 64579"/>
                <a:gd name="connsiteX20" fmla="*/ 64675 w 122110"/>
                <a:gd name="connsiteY20" fmla="*/ 8763 h 64579"/>
                <a:gd name="connsiteX21" fmla="*/ 64484 w 122110"/>
                <a:gd name="connsiteY21" fmla="*/ 8763 h 64579"/>
                <a:gd name="connsiteX22" fmla="*/ 64484 w 122110"/>
                <a:gd name="connsiteY22" fmla="*/ 64580 h 64579"/>
                <a:gd name="connsiteX23" fmla="*/ 58198 w 122110"/>
                <a:gd name="connsiteY23" fmla="*/ 64580 h 64579"/>
                <a:gd name="connsiteX24" fmla="*/ 58198 w 122110"/>
                <a:gd name="connsiteY24" fmla="*/ 0 h 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110" h="64579">
                  <a:moveTo>
                    <a:pt x="0" y="0"/>
                  </a:moveTo>
                  <a:lnTo>
                    <a:pt x="52197" y="0"/>
                  </a:lnTo>
                  <a:lnTo>
                    <a:pt x="52197" y="5239"/>
                  </a:lnTo>
                  <a:lnTo>
                    <a:pt x="29242" y="5239"/>
                  </a:lnTo>
                  <a:lnTo>
                    <a:pt x="29242" y="64580"/>
                  </a:lnTo>
                  <a:lnTo>
                    <a:pt x="22955" y="64580"/>
                  </a:lnTo>
                  <a:lnTo>
                    <a:pt x="22955" y="5239"/>
                  </a:lnTo>
                  <a:lnTo>
                    <a:pt x="0" y="5239"/>
                  </a:lnTo>
                  <a:lnTo>
                    <a:pt x="0" y="0"/>
                  </a:lnTo>
                  <a:close/>
                  <a:moveTo>
                    <a:pt x="58198" y="0"/>
                  </a:moveTo>
                  <a:lnTo>
                    <a:pt x="67437" y="0"/>
                  </a:lnTo>
                  <a:lnTo>
                    <a:pt x="90202" y="56579"/>
                  </a:lnTo>
                  <a:lnTo>
                    <a:pt x="112871" y="0"/>
                  </a:lnTo>
                  <a:lnTo>
                    <a:pt x="122111" y="0"/>
                  </a:lnTo>
                  <a:lnTo>
                    <a:pt x="122111" y="64580"/>
                  </a:lnTo>
                  <a:lnTo>
                    <a:pt x="115824" y="64580"/>
                  </a:lnTo>
                  <a:lnTo>
                    <a:pt x="115824" y="8763"/>
                  </a:lnTo>
                  <a:lnTo>
                    <a:pt x="115633" y="8763"/>
                  </a:lnTo>
                  <a:lnTo>
                    <a:pt x="93154" y="64580"/>
                  </a:lnTo>
                  <a:lnTo>
                    <a:pt x="87249" y="64580"/>
                  </a:lnTo>
                  <a:lnTo>
                    <a:pt x="64675" y="8763"/>
                  </a:lnTo>
                  <a:lnTo>
                    <a:pt x="64484" y="8763"/>
                  </a:lnTo>
                  <a:lnTo>
                    <a:pt x="64484" y="64580"/>
                  </a:lnTo>
                  <a:lnTo>
                    <a:pt x="58198" y="64580"/>
                  </a:lnTo>
                  <a:lnTo>
                    <a:pt x="5819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34" name="Group 533">
            <a:extLst>
              <a:ext uri="{FF2B5EF4-FFF2-40B4-BE49-F238E27FC236}">
                <a16:creationId xmlns:a16="http://schemas.microsoft.com/office/drawing/2014/main" id="{B0A924A2-7C90-4BD5-894D-A484ABFF159F}"/>
              </a:ext>
            </a:extLst>
          </p:cNvPr>
          <p:cNvGrpSpPr/>
          <p:nvPr userDrawn="1"/>
        </p:nvGrpSpPr>
        <p:grpSpPr>
          <a:xfrm>
            <a:off x="3339353" y="4381540"/>
            <a:ext cx="1064292" cy="202474"/>
            <a:chOff x="9880708" y="5395253"/>
            <a:chExt cx="1673256" cy="318325"/>
          </a:xfrm>
        </p:grpSpPr>
        <p:sp>
          <p:nvSpPr>
            <p:cNvPr id="535" name="Freeform: Shape 534">
              <a:extLst>
                <a:ext uri="{FF2B5EF4-FFF2-40B4-BE49-F238E27FC236}">
                  <a16:creationId xmlns:a16="http://schemas.microsoft.com/office/drawing/2014/main" id="{C481D072-5D38-4FEA-A262-B6370865C64B}"/>
                </a:ext>
              </a:extLst>
            </p:cNvPr>
            <p:cNvSpPr/>
            <p:nvPr/>
          </p:nvSpPr>
          <p:spPr>
            <a:xfrm>
              <a:off x="9880708" y="5476406"/>
              <a:ext cx="208978" cy="237172"/>
            </a:xfrm>
            <a:custGeom>
              <a:avLst/>
              <a:gdLst>
                <a:gd name="connsiteX0" fmla="*/ 168021 w 208978"/>
                <a:gd name="connsiteY0" fmla="*/ 158782 h 237172"/>
                <a:gd name="connsiteX1" fmla="*/ 207645 w 208978"/>
                <a:gd name="connsiteY1" fmla="*/ 163925 h 237172"/>
                <a:gd name="connsiteX2" fmla="*/ 172879 w 208978"/>
                <a:gd name="connsiteY2" fmla="*/ 217932 h 237172"/>
                <a:gd name="connsiteX3" fmla="*/ 108014 w 208978"/>
                <a:gd name="connsiteY3" fmla="*/ 237172 h 237172"/>
                <a:gd name="connsiteX4" fmla="*/ 29147 w 208978"/>
                <a:gd name="connsiteY4" fmla="*/ 206502 h 237172"/>
                <a:gd name="connsiteX5" fmla="*/ 0 w 208978"/>
                <a:gd name="connsiteY5" fmla="*/ 120491 h 237172"/>
                <a:gd name="connsiteX6" fmla="*/ 29432 w 208978"/>
                <a:gd name="connsiteY6" fmla="*/ 31623 h 237172"/>
                <a:gd name="connsiteX7" fmla="*/ 105823 w 208978"/>
                <a:gd name="connsiteY7" fmla="*/ 0 h 237172"/>
                <a:gd name="connsiteX8" fmla="*/ 180118 w 208978"/>
                <a:gd name="connsiteY8" fmla="*/ 30956 h 237172"/>
                <a:gd name="connsiteX9" fmla="*/ 208979 w 208978"/>
                <a:gd name="connsiteY9" fmla="*/ 118110 h 237172"/>
                <a:gd name="connsiteX10" fmla="*/ 208788 w 208978"/>
                <a:gd name="connsiteY10" fmla="*/ 128397 h 237172"/>
                <a:gd name="connsiteX11" fmla="*/ 39529 w 208978"/>
                <a:gd name="connsiteY11" fmla="*/ 128397 h 237172"/>
                <a:gd name="connsiteX12" fmla="*/ 60674 w 208978"/>
                <a:gd name="connsiteY12" fmla="*/ 185833 h 237172"/>
                <a:gd name="connsiteX13" fmla="*/ 108109 w 208978"/>
                <a:gd name="connsiteY13" fmla="*/ 205740 h 237172"/>
                <a:gd name="connsiteX14" fmla="*/ 144209 w 208978"/>
                <a:gd name="connsiteY14" fmla="*/ 194596 h 237172"/>
                <a:gd name="connsiteX15" fmla="*/ 167926 w 208978"/>
                <a:gd name="connsiteY15" fmla="*/ 158972 h 237172"/>
                <a:gd name="connsiteX16" fmla="*/ 41624 w 208978"/>
                <a:gd name="connsiteY16" fmla="*/ 96679 h 237172"/>
                <a:gd name="connsiteX17" fmla="*/ 168497 w 208978"/>
                <a:gd name="connsiteY17" fmla="*/ 96679 h 237172"/>
                <a:gd name="connsiteX18" fmla="*/ 153924 w 208978"/>
                <a:gd name="connsiteY18" fmla="*/ 53626 h 237172"/>
                <a:gd name="connsiteX19" fmla="*/ 106204 w 208978"/>
                <a:gd name="connsiteY19" fmla="*/ 31337 h 237172"/>
                <a:gd name="connsiteX20" fmla="*/ 61627 w 208978"/>
                <a:gd name="connsiteY20" fmla="*/ 49149 h 237172"/>
                <a:gd name="connsiteX21" fmla="*/ 41624 w 208978"/>
                <a:gd name="connsiteY21" fmla="*/ 96774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978" h="237172">
                  <a:moveTo>
                    <a:pt x="168021" y="158782"/>
                  </a:moveTo>
                  <a:lnTo>
                    <a:pt x="207645" y="163925"/>
                  </a:lnTo>
                  <a:cubicBezTo>
                    <a:pt x="201359" y="187071"/>
                    <a:pt x="189738" y="205073"/>
                    <a:pt x="172879" y="217932"/>
                  </a:cubicBezTo>
                  <a:cubicBezTo>
                    <a:pt x="155924" y="230696"/>
                    <a:pt x="134303" y="237172"/>
                    <a:pt x="108014" y="237172"/>
                  </a:cubicBezTo>
                  <a:cubicBezTo>
                    <a:pt x="74867" y="237172"/>
                    <a:pt x="48578" y="226981"/>
                    <a:pt x="29147" y="206502"/>
                  </a:cubicBezTo>
                  <a:cubicBezTo>
                    <a:pt x="9716" y="186023"/>
                    <a:pt x="0" y="157353"/>
                    <a:pt x="0" y="120491"/>
                  </a:cubicBezTo>
                  <a:cubicBezTo>
                    <a:pt x="0" y="83629"/>
                    <a:pt x="9811" y="52673"/>
                    <a:pt x="29432" y="31623"/>
                  </a:cubicBezTo>
                  <a:cubicBezTo>
                    <a:pt x="49054" y="10573"/>
                    <a:pt x="74581" y="0"/>
                    <a:pt x="105823" y="0"/>
                  </a:cubicBezTo>
                  <a:cubicBezTo>
                    <a:pt x="137065" y="0"/>
                    <a:pt x="160877" y="10287"/>
                    <a:pt x="180118" y="30956"/>
                  </a:cubicBezTo>
                  <a:cubicBezTo>
                    <a:pt x="199358" y="51625"/>
                    <a:pt x="208979" y="80677"/>
                    <a:pt x="208979" y="118110"/>
                  </a:cubicBezTo>
                  <a:cubicBezTo>
                    <a:pt x="208979" y="120396"/>
                    <a:pt x="208979" y="123825"/>
                    <a:pt x="208788" y="128397"/>
                  </a:cubicBezTo>
                  <a:lnTo>
                    <a:pt x="39529" y="128397"/>
                  </a:lnTo>
                  <a:cubicBezTo>
                    <a:pt x="40958" y="153353"/>
                    <a:pt x="48006" y="172498"/>
                    <a:pt x="60674" y="185833"/>
                  </a:cubicBezTo>
                  <a:cubicBezTo>
                    <a:pt x="73343" y="199073"/>
                    <a:pt x="89154" y="205740"/>
                    <a:pt x="108109" y="205740"/>
                  </a:cubicBezTo>
                  <a:cubicBezTo>
                    <a:pt x="122206" y="205740"/>
                    <a:pt x="134303" y="202025"/>
                    <a:pt x="144209" y="194596"/>
                  </a:cubicBezTo>
                  <a:cubicBezTo>
                    <a:pt x="154210" y="187166"/>
                    <a:pt x="162116" y="175260"/>
                    <a:pt x="167926" y="158972"/>
                  </a:cubicBezTo>
                  <a:close/>
                  <a:moveTo>
                    <a:pt x="41624" y="96679"/>
                  </a:moveTo>
                  <a:lnTo>
                    <a:pt x="168497" y="96679"/>
                  </a:lnTo>
                  <a:cubicBezTo>
                    <a:pt x="166783" y="77533"/>
                    <a:pt x="161925" y="63151"/>
                    <a:pt x="153924" y="53626"/>
                  </a:cubicBezTo>
                  <a:cubicBezTo>
                    <a:pt x="141637" y="38767"/>
                    <a:pt x="125730" y="31337"/>
                    <a:pt x="106204" y="31337"/>
                  </a:cubicBezTo>
                  <a:cubicBezTo>
                    <a:pt x="88487" y="31337"/>
                    <a:pt x="73628" y="37243"/>
                    <a:pt x="61627" y="49149"/>
                  </a:cubicBezTo>
                  <a:cubicBezTo>
                    <a:pt x="49625" y="61055"/>
                    <a:pt x="42958" y="76867"/>
                    <a:pt x="41624" y="96774"/>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6" name="Freeform: Shape 535">
              <a:extLst>
                <a:ext uri="{FF2B5EF4-FFF2-40B4-BE49-F238E27FC236}">
                  <a16:creationId xmlns:a16="http://schemas.microsoft.com/office/drawing/2014/main" id="{568B2ED6-AF9D-401C-AE45-FD37924F7CF5}"/>
                </a:ext>
              </a:extLst>
            </p:cNvPr>
            <p:cNvSpPr/>
            <p:nvPr/>
          </p:nvSpPr>
          <p:spPr>
            <a:xfrm>
              <a:off x="10135692" y="5395253"/>
              <a:ext cx="38385" cy="313086"/>
            </a:xfrm>
            <a:custGeom>
              <a:avLst/>
              <a:gdLst>
                <a:gd name="connsiteX0" fmla="*/ 0 w 38385"/>
                <a:gd name="connsiteY0" fmla="*/ 313087 h 313086"/>
                <a:gd name="connsiteX1" fmla="*/ 0 w 38385"/>
                <a:gd name="connsiteY1" fmla="*/ 0 h 313086"/>
                <a:gd name="connsiteX2" fmla="*/ 38386 w 38385"/>
                <a:gd name="connsiteY2" fmla="*/ 0 h 313086"/>
                <a:gd name="connsiteX3" fmla="*/ 38386 w 38385"/>
                <a:gd name="connsiteY3" fmla="*/ 313087 h 313086"/>
                <a:gd name="connsiteX4" fmla="*/ 0 w 38385"/>
                <a:gd name="connsiteY4" fmla="*/ 313087 h 313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5" h="313086">
                  <a:moveTo>
                    <a:pt x="0" y="313087"/>
                  </a:moveTo>
                  <a:lnTo>
                    <a:pt x="0" y="0"/>
                  </a:lnTo>
                  <a:lnTo>
                    <a:pt x="38386" y="0"/>
                  </a:lnTo>
                  <a:lnTo>
                    <a:pt x="38386"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7" name="Freeform: Shape 536">
              <a:extLst>
                <a:ext uri="{FF2B5EF4-FFF2-40B4-BE49-F238E27FC236}">
                  <a16:creationId xmlns:a16="http://schemas.microsoft.com/office/drawing/2014/main" id="{1DBD3A76-3468-4460-B53D-24A9653305E3}"/>
                </a:ext>
              </a:extLst>
            </p:cNvPr>
            <p:cNvSpPr/>
            <p:nvPr/>
          </p:nvSpPr>
          <p:spPr>
            <a:xfrm>
              <a:off x="10219607" y="5395253"/>
              <a:ext cx="196691" cy="318230"/>
            </a:xfrm>
            <a:custGeom>
              <a:avLst/>
              <a:gdLst>
                <a:gd name="connsiteX0" fmla="*/ 161068 w 196691"/>
                <a:gd name="connsiteY0" fmla="*/ 313087 h 318230"/>
                <a:gd name="connsiteX1" fmla="*/ 161068 w 196691"/>
                <a:gd name="connsiteY1" fmla="*/ 284607 h 318230"/>
                <a:gd name="connsiteX2" fmla="*/ 97631 w 196691"/>
                <a:gd name="connsiteY2" fmla="*/ 318230 h 318230"/>
                <a:gd name="connsiteX3" fmla="*/ 47720 w 196691"/>
                <a:gd name="connsiteY3" fmla="*/ 303276 h 318230"/>
                <a:gd name="connsiteX4" fmla="*/ 12478 w 196691"/>
                <a:gd name="connsiteY4" fmla="*/ 261461 h 318230"/>
                <a:gd name="connsiteX5" fmla="*/ 0 w 196691"/>
                <a:gd name="connsiteY5" fmla="*/ 199835 h 318230"/>
                <a:gd name="connsiteX6" fmla="*/ 11335 w 196691"/>
                <a:gd name="connsiteY6" fmla="*/ 138208 h 318230"/>
                <a:gd name="connsiteX7" fmla="*/ 45244 w 196691"/>
                <a:gd name="connsiteY7" fmla="*/ 95822 h 318230"/>
                <a:gd name="connsiteX8" fmla="*/ 95822 w 196691"/>
                <a:gd name="connsiteY8" fmla="*/ 81058 h 318230"/>
                <a:gd name="connsiteX9" fmla="*/ 132302 w 196691"/>
                <a:gd name="connsiteY9" fmla="*/ 89726 h 318230"/>
                <a:gd name="connsiteX10" fmla="*/ 158305 w 196691"/>
                <a:gd name="connsiteY10" fmla="*/ 112205 h 318230"/>
                <a:gd name="connsiteX11" fmla="*/ 158305 w 196691"/>
                <a:gd name="connsiteY11" fmla="*/ 0 h 318230"/>
                <a:gd name="connsiteX12" fmla="*/ 196691 w 196691"/>
                <a:gd name="connsiteY12" fmla="*/ 0 h 318230"/>
                <a:gd name="connsiteX13" fmla="*/ 196691 w 196691"/>
                <a:gd name="connsiteY13" fmla="*/ 313087 h 318230"/>
                <a:gd name="connsiteX14" fmla="*/ 160973 w 196691"/>
                <a:gd name="connsiteY14" fmla="*/ 313087 h 318230"/>
                <a:gd name="connsiteX15" fmla="*/ 39624 w 196691"/>
                <a:gd name="connsiteY15" fmla="*/ 199835 h 318230"/>
                <a:gd name="connsiteX16" fmla="*/ 58007 w 196691"/>
                <a:gd name="connsiteY16" fmla="*/ 265081 h 318230"/>
                <a:gd name="connsiteX17" fmla="*/ 101346 w 196691"/>
                <a:gd name="connsiteY17" fmla="*/ 286703 h 318230"/>
                <a:gd name="connsiteX18" fmla="*/ 144113 w 196691"/>
                <a:gd name="connsiteY18" fmla="*/ 266033 h 318230"/>
                <a:gd name="connsiteX19" fmla="*/ 161735 w 196691"/>
                <a:gd name="connsiteY19" fmla="*/ 203073 h 318230"/>
                <a:gd name="connsiteX20" fmla="*/ 143827 w 196691"/>
                <a:gd name="connsiteY20" fmla="*/ 134588 h 318230"/>
                <a:gd name="connsiteX21" fmla="*/ 99631 w 196691"/>
                <a:gd name="connsiteY21" fmla="*/ 112776 h 318230"/>
                <a:gd name="connsiteX22" fmla="*/ 56864 w 196691"/>
                <a:gd name="connsiteY22" fmla="*/ 133731 h 318230"/>
                <a:gd name="connsiteX23" fmla="*/ 39719 w 196691"/>
                <a:gd name="connsiteY23" fmla="*/ 199835 h 31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691" h="318230">
                  <a:moveTo>
                    <a:pt x="161068" y="313087"/>
                  </a:moveTo>
                  <a:lnTo>
                    <a:pt x="161068" y="284607"/>
                  </a:lnTo>
                  <a:cubicBezTo>
                    <a:pt x="146685" y="306991"/>
                    <a:pt x="125540" y="318230"/>
                    <a:pt x="97631" y="318230"/>
                  </a:cubicBezTo>
                  <a:cubicBezTo>
                    <a:pt x="79534" y="318230"/>
                    <a:pt x="62960" y="313277"/>
                    <a:pt x="47720" y="303276"/>
                  </a:cubicBezTo>
                  <a:cubicBezTo>
                    <a:pt x="32575" y="293275"/>
                    <a:pt x="20765" y="279368"/>
                    <a:pt x="12478" y="261461"/>
                  </a:cubicBezTo>
                  <a:cubicBezTo>
                    <a:pt x="4191" y="243554"/>
                    <a:pt x="0" y="223076"/>
                    <a:pt x="0" y="199835"/>
                  </a:cubicBezTo>
                  <a:cubicBezTo>
                    <a:pt x="0" y="176594"/>
                    <a:pt x="3810" y="156591"/>
                    <a:pt x="11335" y="138208"/>
                  </a:cubicBezTo>
                  <a:cubicBezTo>
                    <a:pt x="18859" y="119729"/>
                    <a:pt x="30194" y="105632"/>
                    <a:pt x="45244" y="95822"/>
                  </a:cubicBezTo>
                  <a:cubicBezTo>
                    <a:pt x="60293" y="86011"/>
                    <a:pt x="77152" y="81058"/>
                    <a:pt x="95822" y="81058"/>
                  </a:cubicBezTo>
                  <a:cubicBezTo>
                    <a:pt x="109442" y="81058"/>
                    <a:pt x="121634" y="83915"/>
                    <a:pt x="132302" y="89726"/>
                  </a:cubicBezTo>
                  <a:cubicBezTo>
                    <a:pt x="142970" y="95441"/>
                    <a:pt x="151638" y="102965"/>
                    <a:pt x="158305" y="112205"/>
                  </a:cubicBezTo>
                  <a:lnTo>
                    <a:pt x="158305" y="0"/>
                  </a:lnTo>
                  <a:lnTo>
                    <a:pt x="196691" y="0"/>
                  </a:lnTo>
                  <a:lnTo>
                    <a:pt x="196691" y="313087"/>
                  </a:lnTo>
                  <a:lnTo>
                    <a:pt x="160973" y="313087"/>
                  </a:lnTo>
                  <a:close/>
                  <a:moveTo>
                    <a:pt x="39624" y="199835"/>
                  </a:moveTo>
                  <a:cubicBezTo>
                    <a:pt x="39624" y="228886"/>
                    <a:pt x="45720" y="250698"/>
                    <a:pt x="58007" y="265081"/>
                  </a:cubicBezTo>
                  <a:cubicBezTo>
                    <a:pt x="70199" y="279464"/>
                    <a:pt x="84677" y="286703"/>
                    <a:pt x="101346" y="286703"/>
                  </a:cubicBezTo>
                  <a:cubicBezTo>
                    <a:pt x="118015" y="286703"/>
                    <a:pt x="132398" y="279845"/>
                    <a:pt x="144113" y="266033"/>
                  </a:cubicBezTo>
                  <a:cubicBezTo>
                    <a:pt x="155829" y="252222"/>
                    <a:pt x="161735" y="231267"/>
                    <a:pt x="161735" y="203073"/>
                  </a:cubicBezTo>
                  <a:cubicBezTo>
                    <a:pt x="161735" y="172022"/>
                    <a:pt x="155734" y="149162"/>
                    <a:pt x="143827" y="134588"/>
                  </a:cubicBezTo>
                  <a:cubicBezTo>
                    <a:pt x="131921" y="120015"/>
                    <a:pt x="117157" y="112776"/>
                    <a:pt x="99631" y="112776"/>
                  </a:cubicBezTo>
                  <a:cubicBezTo>
                    <a:pt x="82105" y="112776"/>
                    <a:pt x="68294" y="119729"/>
                    <a:pt x="56864" y="133731"/>
                  </a:cubicBezTo>
                  <a:cubicBezTo>
                    <a:pt x="45434" y="147733"/>
                    <a:pt x="39719" y="169736"/>
                    <a:pt x="39719" y="199835"/>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8" name="Freeform: Shape 537">
              <a:extLst>
                <a:ext uri="{FF2B5EF4-FFF2-40B4-BE49-F238E27FC236}">
                  <a16:creationId xmlns:a16="http://schemas.microsoft.com/office/drawing/2014/main" id="{979FE385-9A87-4BCA-9521-E96562ED7291}"/>
                </a:ext>
              </a:extLst>
            </p:cNvPr>
            <p:cNvSpPr/>
            <p:nvPr/>
          </p:nvSpPr>
          <p:spPr>
            <a:xfrm>
              <a:off x="10462400" y="5476215"/>
              <a:ext cx="212597" cy="237172"/>
            </a:xfrm>
            <a:custGeom>
              <a:avLst/>
              <a:gdLst>
                <a:gd name="connsiteX0" fmla="*/ 0 w 212597"/>
                <a:gd name="connsiteY0" fmla="*/ 118586 h 237172"/>
                <a:gd name="connsiteX1" fmla="*/ 35052 w 212597"/>
                <a:gd name="connsiteY1" fmla="*/ 25241 h 237172"/>
                <a:gd name="connsiteX2" fmla="*/ 106394 w 212597"/>
                <a:gd name="connsiteY2" fmla="*/ 0 h 237172"/>
                <a:gd name="connsiteX3" fmla="*/ 182880 w 212597"/>
                <a:gd name="connsiteY3" fmla="*/ 30671 h 237172"/>
                <a:gd name="connsiteX4" fmla="*/ 212598 w 212597"/>
                <a:gd name="connsiteY4" fmla="*/ 115348 h 237172"/>
                <a:gd name="connsiteX5" fmla="*/ 199453 w 212597"/>
                <a:gd name="connsiteY5" fmla="*/ 184309 h 237172"/>
                <a:gd name="connsiteX6" fmla="*/ 161163 w 212597"/>
                <a:gd name="connsiteY6" fmla="*/ 223266 h 237172"/>
                <a:gd name="connsiteX7" fmla="*/ 106394 w 212597"/>
                <a:gd name="connsiteY7" fmla="*/ 237173 h 237172"/>
                <a:gd name="connsiteX8" fmla="*/ 29337 w 212597"/>
                <a:gd name="connsiteY8" fmla="*/ 206597 h 237172"/>
                <a:gd name="connsiteX9" fmla="*/ 0 w 212597"/>
                <a:gd name="connsiteY9" fmla="*/ 118586 h 237172"/>
                <a:gd name="connsiteX10" fmla="*/ 39624 w 212597"/>
                <a:gd name="connsiteY10" fmla="*/ 118586 h 237172"/>
                <a:gd name="connsiteX11" fmla="*/ 58674 w 212597"/>
                <a:gd name="connsiteY11" fmla="*/ 183928 h 237172"/>
                <a:gd name="connsiteX12" fmla="*/ 106490 w 212597"/>
                <a:gd name="connsiteY12" fmla="*/ 205645 h 237172"/>
                <a:gd name="connsiteX13" fmla="*/ 154115 w 212597"/>
                <a:gd name="connsiteY13" fmla="*/ 183833 h 237172"/>
                <a:gd name="connsiteX14" fmla="*/ 173165 w 212597"/>
                <a:gd name="connsiteY14" fmla="*/ 117253 h 237172"/>
                <a:gd name="connsiteX15" fmla="*/ 154019 w 212597"/>
                <a:gd name="connsiteY15" fmla="*/ 53435 h 237172"/>
                <a:gd name="connsiteX16" fmla="*/ 106490 w 212597"/>
                <a:gd name="connsiteY16" fmla="*/ 31718 h 237172"/>
                <a:gd name="connsiteX17" fmla="*/ 58674 w 212597"/>
                <a:gd name="connsiteY17" fmla="*/ 53340 h 237172"/>
                <a:gd name="connsiteX18" fmla="*/ 39624 w 212597"/>
                <a:gd name="connsiteY18" fmla="*/ 118586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597" h="237172">
                  <a:moveTo>
                    <a:pt x="0" y="118586"/>
                  </a:moveTo>
                  <a:cubicBezTo>
                    <a:pt x="0" y="76581"/>
                    <a:pt x="11716" y="45434"/>
                    <a:pt x="35052" y="25241"/>
                  </a:cubicBezTo>
                  <a:cubicBezTo>
                    <a:pt x="54578" y="8382"/>
                    <a:pt x="78391" y="0"/>
                    <a:pt x="106394" y="0"/>
                  </a:cubicBezTo>
                  <a:cubicBezTo>
                    <a:pt x="137636" y="0"/>
                    <a:pt x="163068" y="10192"/>
                    <a:pt x="182880" y="30671"/>
                  </a:cubicBezTo>
                  <a:cubicBezTo>
                    <a:pt x="202692" y="51149"/>
                    <a:pt x="212598" y="79343"/>
                    <a:pt x="212598" y="115348"/>
                  </a:cubicBezTo>
                  <a:cubicBezTo>
                    <a:pt x="212598" y="144590"/>
                    <a:pt x="208217" y="167545"/>
                    <a:pt x="199453" y="184309"/>
                  </a:cubicBezTo>
                  <a:cubicBezTo>
                    <a:pt x="190690" y="201073"/>
                    <a:pt x="177927" y="214027"/>
                    <a:pt x="161163" y="223266"/>
                  </a:cubicBezTo>
                  <a:cubicBezTo>
                    <a:pt x="144399" y="232505"/>
                    <a:pt x="126111" y="237173"/>
                    <a:pt x="106394" y="237173"/>
                  </a:cubicBezTo>
                  <a:cubicBezTo>
                    <a:pt x="74676" y="237173"/>
                    <a:pt x="48958" y="226981"/>
                    <a:pt x="29337" y="206597"/>
                  </a:cubicBezTo>
                  <a:cubicBezTo>
                    <a:pt x="9715" y="186214"/>
                    <a:pt x="0" y="156877"/>
                    <a:pt x="0" y="118586"/>
                  </a:cubicBezTo>
                  <a:close/>
                  <a:moveTo>
                    <a:pt x="39624" y="118586"/>
                  </a:moveTo>
                  <a:cubicBezTo>
                    <a:pt x="39624" y="147733"/>
                    <a:pt x="45910" y="169450"/>
                    <a:pt x="58674" y="183928"/>
                  </a:cubicBezTo>
                  <a:cubicBezTo>
                    <a:pt x="71342" y="198406"/>
                    <a:pt x="87249" y="205645"/>
                    <a:pt x="106490" y="205645"/>
                  </a:cubicBezTo>
                  <a:cubicBezTo>
                    <a:pt x="125730" y="205645"/>
                    <a:pt x="141446" y="198406"/>
                    <a:pt x="154115" y="183833"/>
                  </a:cubicBezTo>
                  <a:cubicBezTo>
                    <a:pt x="166783" y="169259"/>
                    <a:pt x="173165" y="147066"/>
                    <a:pt x="173165" y="117253"/>
                  </a:cubicBezTo>
                  <a:cubicBezTo>
                    <a:pt x="173165" y="89154"/>
                    <a:pt x="166783" y="67913"/>
                    <a:pt x="154019" y="53435"/>
                  </a:cubicBezTo>
                  <a:cubicBezTo>
                    <a:pt x="141256" y="38957"/>
                    <a:pt x="125444" y="31718"/>
                    <a:pt x="106490" y="31718"/>
                  </a:cubicBezTo>
                  <a:cubicBezTo>
                    <a:pt x="87535" y="31718"/>
                    <a:pt x="71342" y="38957"/>
                    <a:pt x="58674" y="53340"/>
                  </a:cubicBezTo>
                  <a:cubicBezTo>
                    <a:pt x="46006" y="67723"/>
                    <a:pt x="39624" y="89535"/>
                    <a:pt x="39624" y="118586"/>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39" name="Freeform: Shape 538">
              <a:extLst>
                <a:ext uri="{FF2B5EF4-FFF2-40B4-BE49-F238E27FC236}">
                  <a16:creationId xmlns:a16="http://schemas.microsoft.com/office/drawing/2014/main" id="{BA8F31DD-09A1-4DFD-8CB7-F72CA354073E}"/>
                </a:ext>
              </a:extLst>
            </p:cNvPr>
            <p:cNvSpPr/>
            <p:nvPr/>
          </p:nvSpPr>
          <p:spPr>
            <a:xfrm>
              <a:off x="10723099" y="5395253"/>
              <a:ext cx="195548" cy="313086"/>
            </a:xfrm>
            <a:custGeom>
              <a:avLst/>
              <a:gdLst>
                <a:gd name="connsiteX0" fmla="*/ 95 w 195548"/>
                <a:gd name="connsiteY0" fmla="*/ 313087 h 313086"/>
                <a:gd name="connsiteX1" fmla="*/ 95 w 195548"/>
                <a:gd name="connsiteY1" fmla="*/ 0 h 313086"/>
                <a:gd name="connsiteX2" fmla="*/ 41434 w 195548"/>
                <a:gd name="connsiteY2" fmla="*/ 0 h 313086"/>
                <a:gd name="connsiteX3" fmla="*/ 41434 w 195548"/>
                <a:gd name="connsiteY3" fmla="*/ 276225 h 313086"/>
                <a:gd name="connsiteX4" fmla="*/ 195548 w 195548"/>
                <a:gd name="connsiteY4" fmla="*/ 276225 h 313086"/>
                <a:gd name="connsiteX5" fmla="*/ 195548 w 195548"/>
                <a:gd name="connsiteY5" fmla="*/ 313087 h 313086"/>
                <a:gd name="connsiteX6" fmla="*/ 0 w 195548"/>
                <a:gd name="connsiteY6" fmla="*/ 313087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48" h="313086">
                  <a:moveTo>
                    <a:pt x="95" y="313087"/>
                  </a:moveTo>
                  <a:lnTo>
                    <a:pt x="95" y="0"/>
                  </a:lnTo>
                  <a:lnTo>
                    <a:pt x="41434" y="0"/>
                  </a:lnTo>
                  <a:lnTo>
                    <a:pt x="41434" y="276225"/>
                  </a:lnTo>
                  <a:lnTo>
                    <a:pt x="195548" y="276225"/>
                  </a:lnTo>
                  <a:lnTo>
                    <a:pt x="195548"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0" name="Freeform: Shape 539">
              <a:extLst>
                <a:ext uri="{FF2B5EF4-FFF2-40B4-BE49-F238E27FC236}">
                  <a16:creationId xmlns:a16="http://schemas.microsoft.com/office/drawing/2014/main" id="{0CE05D31-C3BD-4771-90EB-5ADF59599A26}"/>
                </a:ext>
              </a:extLst>
            </p:cNvPr>
            <p:cNvSpPr/>
            <p:nvPr/>
          </p:nvSpPr>
          <p:spPr>
            <a:xfrm>
              <a:off x="10968748" y="5395253"/>
              <a:ext cx="233648" cy="313086"/>
            </a:xfrm>
            <a:custGeom>
              <a:avLst/>
              <a:gdLst>
                <a:gd name="connsiteX0" fmla="*/ 0 w 233648"/>
                <a:gd name="connsiteY0" fmla="*/ 313087 h 313086"/>
                <a:gd name="connsiteX1" fmla="*/ 0 w 233648"/>
                <a:gd name="connsiteY1" fmla="*/ 0 h 313086"/>
                <a:gd name="connsiteX2" fmla="*/ 226409 w 233648"/>
                <a:gd name="connsiteY2" fmla="*/ 0 h 313086"/>
                <a:gd name="connsiteX3" fmla="*/ 226409 w 233648"/>
                <a:gd name="connsiteY3" fmla="*/ 36862 h 313086"/>
                <a:gd name="connsiteX4" fmla="*/ 41434 w 233648"/>
                <a:gd name="connsiteY4" fmla="*/ 36862 h 313086"/>
                <a:gd name="connsiteX5" fmla="*/ 41434 w 233648"/>
                <a:gd name="connsiteY5" fmla="*/ 132588 h 313086"/>
                <a:gd name="connsiteX6" fmla="*/ 214789 w 233648"/>
                <a:gd name="connsiteY6" fmla="*/ 132588 h 313086"/>
                <a:gd name="connsiteX7" fmla="*/ 214789 w 233648"/>
                <a:gd name="connsiteY7" fmla="*/ 169450 h 313086"/>
                <a:gd name="connsiteX8" fmla="*/ 41434 w 233648"/>
                <a:gd name="connsiteY8" fmla="*/ 169450 h 313086"/>
                <a:gd name="connsiteX9" fmla="*/ 41434 w 233648"/>
                <a:gd name="connsiteY9" fmla="*/ 276225 h 313086"/>
                <a:gd name="connsiteX10" fmla="*/ 233648 w 233648"/>
                <a:gd name="connsiteY10" fmla="*/ 276225 h 313086"/>
                <a:gd name="connsiteX11" fmla="*/ 233648 w 233648"/>
                <a:gd name="connsiteY11" fmla="*/ 313087 h 313086"/>
                <a:gd name="connsiteX12" fmla="*/ 0 w 233648"/>
                <a:gd name="connsiteY12" fmla="*/ 313087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648" h="313086">
                  <a:moveTo>
                    <a:pt x="0" y="313087"/>
                  </a:moveTo>
                  <a:lnTo>
                    <a:pt x="0" y="0"/>
                  </a:lnTo>
                  <a:lnTo>
                    <a:pt x="226409" y="0"/>
                  </a:lnTo>
                  <a:lnTo>
                    <a:pt x="226409" y="36862"/>
                  </a:lnTo>
                  <a:lnTo>
                    <a:pt x="41434" y="36862"/>
                  </a:lnTo>
                  <a:lnTo>
                    <a:pt x="41434" y="132588"/>
                  </a:lnTo>
                  <a:lnTo>
                    <a:pt x="214789" y="132588"/>
                  </a:lnTo>
                  <a:lnTo>
                    <a:pt x="214789" y="169450"/>
                  </a:lnTo>
                  <a:lnTo>
                    <a:pt x="41434" y="169450"/>
                  </a:lnTo>
                  <a:lnTo>
                    <a:pt x="41434" y="276225"/>
                  </a:lnTo>
                  <a:lnTo>
                    <a:pt x="233648" y="276225"/>
                  </a:lnTo>
                  <a:lnTo>
                    <a:pt x="233648"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1" name="Freeform: Shape 540">
              <a:extLst>
                <a:ext uri="{FF2B5EF4-FFF2-40B4-BE49-F238E27FC236}">
                  <a16:creationId xmlns:a16="http://schemas.microsoft.com/office/drawing/2014/main" id="{A9CA21D5-A8A8-44A6-B2FF-87984DD5B840}"/>
                </a:ext>
              </a:extLst>
            </p:cNvPr>
            <p:cNvSpPr/>
            <p:nvPr/>
          </p:nvSpPr>
          <p:spPr>
            <a:xfrm>
              <a:off x="11259356" y="5395253"/>
              <a:ext cx="258794" cy="313086"/>
            </a:xfrm>
            <a:custGeom>
              <a:avLst/>
              <a:gdLst>
                <a:gd name="connsiteX0" fmla="*/ 0 w 258794"/>
                <a:gd name="connsiteY0" fmla="*/ 313087 h 313086"/>
                <a:gd name="connsiteX1" fmla="*/ 0 w 258794"/>
                <a:gd name="connsiteY1" fmla="*/ 0 h 313086"/>
                <a:gd name="connsiteX2" fmla="*/ 107823 w 258794"/>
                <a:gd name="connsiteY2" fmla="*/ 0 h 313086"/>
                <a:gd name="connsiteX3" fmla="*/ 163544 w 258794"/>
                <a:gd name="connsiteY3" fmla="*/ 4477 h 313086"/>
                <a:gd name="connsiteX4" fmla="*/ 209455 w 258794"/>
                <a:gd name="connsiteY4" fmla="*/ 26861 h 313086"/>
                <a:gd name="connsiteX5" fmla="*/ 246507 w 258794"/>
                <a:gd name="connsiteY5" fmla="*/ 80391 h 313086"/>
                <a:gd name="connsiteX6" fmla="*/ 258794 w 258794"/>
                <a:gd name="connsiteY6" fmla="*/ 154781 h 313086"/>
                <a:gd name="connsiteX7" fmla="*/ 250508 w 258794"/>
                <a:gd name="connsiteY7" fmla="*/ 218027 h 313086"/>
                <a:gd name="connsiteX8" fmla="*/ 229171 w 258794"/>
                <a:gd name="connsiteY8" fmla="*/ 263652 h 313086"/>
                <a:gd name="connsiteX9" fmla="*/ 200692 w 258794"/>
                <a:gd name="connsiteY9" fmla="*/ 292037 h 313086"/>
                <a:gd name="connsiteX10" fmla="*/ 163354 w 258794"/>
                <a:gd name="connsiteY10" fmla="*/ 307753 h 313086"/>
                <a:gd name="connsiteX11" fmla="*/ 113062 w 258794"/>
                <a:gd name="connsiteY11" fmla="*/ 313087 h 313086"/>
                <a:gd name="connsiteX12" fmla="*/ 95 w 258794"/>
                <a:gd name="connsiteY12" fmla="*/ 313087 h 313086"/>
                <a:gd name="connsiteX13" fmla="*/ 41434 w 258794"/>
                <a:gd name="connsiteY13" fmla="*/ 276225 h 313086"/>
                <a:gd name="connsiteX14" fmla="*/ 108299 w 258794"/>
                <a:gd name="connsiteY14" fmla="*/ 276225 h 313086"/>
                <a:gd name="connsiteX15" fmla="*/ 156877 w 258794"/>
                <a:gd name="connsiteY15" fmla="*/ 270415 h 313086"/>
                <a:gd name="connsiteX16" fmla="*/ 184975 w 258794"/>
                <a:gd name="connsiteY16" fmla="*/ 254222 h 313086"/>
                <a:gd name="connsiteX17" fmla="*/ 207931 w 258794"/>
                <a:gd name="connsiteY17" fmla="*/ 214598 h 313086"/>
                <a:gd name="connsiteX18" fmla="*/ 216122 w 258794"/>
                <a:gd name="connsiteY18" fmla="*/ 154210 h 313086"/>
                <a:gd name="connsiteX19" fmla="*/ 200025 w 258794"/>
                <a:gd name="connsiteY19" fmla="*/ 78677 h 313086"/>
                <a:gd name="connsiteX20" fmla="*/ 160782 w 258794"/>
                <a:gd name="connsiteY20" fmla="*/ 43339 h 313086"/>
                <a:gd name="connsiteX21" fmla="*/ 107156 w 258794"/>
                <a:gd name="connsiteY21" fmla="*/ 36957 h 313086"/>
                <a:gd name="connsiteX22" fmla="*/ 41338 w 258794"/>
                <a:gd name="connsiteY22" fmla="*/ 36957 h 313086"/>
                <a:gd name="connsiteX23" fmla="*/ 41338 w 258794"/>
                <a:gd name="connsiteY23" fmla="*/ 276225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794" h="313086">
                  <a:moveTo>
                    <a:pt x="0" y="313087"/>
                  </a:moveTo>
                  <a:lnTo>
                    <a:pt x="0" y="0"/>
                  </a:lnTo>
                  <a:lnTo>
                    <a:pt x="107823" y="0"/>
                  </a:lnTo>
                  <a:cubicBezTo>
                    <a:pt x="132207" y="0"/>
                    <a:pt x="150781" y="1524"/>
                    <a:pt x="163544" y="4477"/>
                  </a:cubicBezTo>
                  <a:cubicBezTo>
                    <a:pt x="181451" y="8573"/>
                    <a:pt x="196787" y="16097"/>
                    <a:pt x="209455" y="26861"/>
                  </a:cubicBezTo>
                  <a:cubicBezTo>
                    <a:pt x="225933" y="40767"/>
                    <a:pt x="238316" y="58674"/>
                    <a:pt x="246507" y="80391"/>
                  </a:cubicBezTo>
                  <a:cubicBezTo>
                    <a:pt x="254699" y="102108"/>
                    <a:pt x="258794" y="126873"/>
                    <a:pt x="258794" y="154781"/>
                  </a:cubicBezTo>
                  <a:cubicBezTo>
                    <a:pt x="258794" y="178594"/>
                    <a:pt x="256032" y="199644"/>
                    <a:pt x="250508" y="218027"/>
                  </a:cubicBezTo>
                  <a:cubicBezTo>
                    <a:pt x="244983" y="236411"/>
                    <a:pt x="237839" y="251555"/>
                    <a:pt x="229171" y="263652"/>
                  </a:cubicBezTo>
                  <a:cubicBezTo>
                    <a:pt x="220504" y="275654"/>
                    <a:pt x="210979" y="285179"/>
                    <a:pt x="200692" y="292037"/>
                  </a:cubicBezTo>
                  <a:cubicBezTo>
                    <a:pt x="190405" y="298895"/>
                    <a:pt x="177927" y="304133"/>
                    <a:pt x="163354" y="307753"/>
                  </a:cubicBezTo>
                  <a:cubicBezTo>
                    <a:pt x="148780" y="311277"/>
                    <a:pt x="132017" y="313087"/>
                    <a:pt x="113062" y="313087"/>
                  </a:cubicBezTo>
                  <a:lnTo>
                    <a:pt x="95" y="313087"/>
                  </a:lnTo>
                  <a:close/>
                  <a:moveTo>
                    <a:pt x="41434" y="276225"/>
                  </a:moveTo>
                  <a:lnTo>
                    <a:pt x="108299" y="276225"/>
                  </a:lnTo>
                  <a:cubicBezTo>
                    <a:pt x="128968" y="276225"/>
                    <a:pt x="145161" y="274320"/>
                    <a:pt x="156877" y="270415"/>
                  </a:cubicBezTo>
                  <a:cubicBezTo>
                    <a:pt x="168592" y="266605"/>
                    <a:pt x="178022" y="261176"/>
                    <a:pt x="184975" y="254222"/>
                  </a:cubicBezTo>
                  <a:cubicBezTo>
                    <a:pt x="194786" y="244412"/>
                    <a:pt x="202501" y="231172"/>
                    <a:pt x="207931" y="214598"/>
                  </a:cubicBezTo>
                  <a:cubicBezTo>
                    <a:pt x="213455" y="198025"/>
                    <a:pt x="216122" y="177927"/>
                    <a:pt x="216122" y="154210"/>
                  </a:cubicBezTo>
                  <a:cubicBezTo>
                    <a:pt x="216122" y="121444"/>
                    <a:pt x="210788" y="96298"/>
                    <a:pt x="200025" y="78677"/>
                  </a:cubicBezTo>
                  <a:cubicBezTo>
                    <a:pt x="189262" y="61055"/>
                    <a:pt x="176213" y="49340"/>
                    <a:pt x="160782" y="43339"/>
                  </a:cubicBezTo>
                  <a:cubicBezTo>
                    <a:pt x="149638" y="39053"/>
                    <a:pt x="131826" y="36957"/>
                    <a:pt x="107156" y="36957"/>
                  </a:cubicBezTo>
                  <a:lnTo>
                    <a:pt x="41338" y="36957"/>
                  </a:lnTo>
                  <a:lnTo>
                    <a:pt x="41338" y="27622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2" name="Freeform: Shape 541">
              <a:extLst>
                <a:ext uri="{FF2B5EF4-FFF2-40B4-BE49-F238E27FC236}">
                  <a16:creationId xmlns:a16="http://schemas.microsoft.com/office/drawing/2014/main" id="{3DE717A3-3EEF-42E0-BF88-81234D868C5A}"/>
                </a:ext>
              </a:extLst>
            </p:cNvPr>
            <p:cNvSpPr/>
            <p:nvPr/>
          </p:nvSpPr>
          <p:spPr>
            <a:xfrm>
              <a:off x="11505673" y="5398205"/>
              <a:ext cx="48291" cy="47339"/>
            </a:xfrm>
            <a:custGeom>
              <a:avLst/>
              <a:gdLst>
                <a:gd name="connsiteX0" fmla="*/ 48292 w 48291"/>
                <a:gd name="connsiteY0" fmla="*/ 23527 h 47339"/>
                <a:gd name="connsiteX1" fmla="*/ 24193 w 48291"/>
                <a:gd name="connsiteY1" fmla="*/ 47339 h 47339"/>
                <a:gd name="connsiteX2" fmla="*/ 0 w 48291"/>
                <a:gd name="connsiteY2" fmla="*/ 23527 h 47339"/>
                <a:gd name="connsiteX3" fmla="*/ 24193 w 48291"/>
                <a:gd name="connsiteY3" fmla="*/ 0 h 47339"/>
                <a:gd name="connsiteX4" fmla="*/ 48292 w 48291"/>
                <a:gd name="connsiteY4" fmla="*/ 23527 h 47339"/>
                <a:gd name="connsiteX5" fmla="*/ 6096 w 48291"/>
                <a:gd name="connsiteY5" fmla="*/ 23527 h 47339"/>
                <a:gd name="connsiteX6" fmla="*/ 24384 w 48291"/>
                <a:gd name="connsiteY6" fmla="*/ 42291 h 47339"/>
                <a:gd name="connsiteX7" fmla="*/ 42291 w 48291"/>
                <a:gd name="connsiteY7" fmla="*/ 23622 h 47339"/>
                <a:gd name="connsiteX8" fmla="*/ 24289 w 48291"/>
                <a:gd name="connsiteY8" fmla="*/ 4763 h 47339"/>
                <a:gd name="connsiteX9" fmla="*/ 6096 w 48291"/>
                <a:gd name="connsiteY9" fmla="*/ 23527 h 47339"/>
                <a:gd name="connsiteX10" fmla="*/ 20574 w 48291"/>
                <a:gd name="connsiteY10" fmla="*/ 35814 h 47339"/>
                <a:gd name="connsiteX11" fmla="*/ 15145 w 48291"/>
                <a:gd name="connsiteY11" fmla="*/ 35814 h 47339"/>
                <a:gd name="connsiteX12" fmla="*/ 15145 w 48291"/>
                <a:gd name="connsiteY12" fmla="*/ 12287 h 47339"/>
                <a:gd name="connsiteX13" fmla="*/ 24193 w 48291"/>
                <a:gd name="connsiteY13" fmla="*/ 11525 h 47339"/>
                <a:gd name="connsiteX14" fmla="*/ 32385 w 48291"/>
                <a:gd name="connsiteY14" fmla="*/ 13240 h 47339"/>
                <a:gd name="connsiteX15" fmla="*/ 34671 w 48291"/>
                <a:gd name="connsiteY15" fmla="*/ 18383 h 47339"/>
                <a:gd name="connsiteX16" fmla="*/ 29813 w 48291"/>
                <a:gd name="connsiteY16" fmla="*/ 23813 h 47339"/>
                <a:gd name="connsiteX17" fmla="*/ 29813 w 48291"/>
                <a:gd name="connsiteY17" fmla="*/ 24098 h 47339"/>
                <a:gd name="connsiteX18" fmla="*/ 34100 w 48291"/>
                <a:gd name="connsiteY18" fmla="*/ 29813 h 47339"/>
                <a:gd name="connsiteX19" fmla="*/ 35814 w 48291"/>
                <a:gd name="connsiteY19" fmla="*/ 35719 h 47339"/>
                <a:gd name="connsiteX20" fmla="*/ 29908 w 48291"/>
                <a:gd name="connsiteY20" fmla="*/ 35719 h 47339"/>
                <a:gd name="connsiteX21" fmla="*/ 28004 w 48291"/>
                <a:gd name="connsiteY21" fmla="*/ 30004 h 47339"/>
                <a:gd name="connsiteX22" fmla="*/ 23146 w 48291"/>
                <a:gd name="connsiteY22" fmla="*/ 26289 h 47339"/>
                <a:gd name="connsiteX23" fmla="*/ 20574 w 48291"/>
                <a:gd name="connsiteY23" fmla="*/ 26289 h 47339"/>
                <a:gd name="connsiteX24" fmla="*/ 20574 w 48291"/>
                <a:gd name="connsiteY24" fmla="*/ 35719 h 47339"/>
                <a:gd name="connsiteX25" fmla="*/ 20669 w 48291"/>
                <a:gd name="connsiteY25" fmla="*/ 22479 h 47339"/>
                <a:gd name="connsiteX26" fmla="*/ 23241 w 48291"/>
                <a:gd name="connsiteY26" fmla="*/ 22479 h 47339"/>
                <a:gd name="connsiteX27" fmla="*/ 28670 w 48291"/>
                <a:gd name="connsiteY27" fmla="*/ 19050 h 47339"/>
                <a:gd name="connsiteX28" fmla="*/ 23622 w 48291"/>
                <a:gd name="connsiteY28" fmla="*/ 15430 h 47339"/>
                <a:gd name="connsiteX29" fmla="*/ 20574 w 48291"/>
                <a:gd name="connsiteY29" fmla="*/ 15716 h 47339"/>
                <a:gd name="connsiteX30" fmla="*/ 20574 w 48291"/>
                <a:gd name="connsiteY30" fmla="*/ 22479 h 4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291" h="47339">
                  <a:moveTo>
                    <a:pt x="48292" y="23527"/>
                  </a:moveTo>
                  <a:cubicBezTo>
                    <a:pt x="48292" y="36862"/>
                    <a:pt x="37814" y="47339"/>
                    <a:pt x="24193" y="47339"/>
                  </a:cubicBezTo>
                  <a:cubicBezTo>
                    <a:pt x="10573" y="47339"/>
                    <a:pt x="0" y="36862"/>
                    <a:pt x="0" y="23527"/>
                  </a:cubicBezTo>
                  <a:cubicBezTo>
                    <a:pt x="0" y="10192"/>
                    <a:pt x="10763" y="0"/>
                    <a:pt x="24193" y="0"/>
                  </a:cubicBezTo>
                  <a:cubicBezTo>
                    <a:pt x="37624" y="0"/>
                    <a:pt x="48292" y="10478"/>
                    <a:pt x="48292" y="23527"/>
                  </a:cubicBezTo>
                  <a:close/>
                  <a:moveTo>
                    <a:pt x="6096" y="23527"/>
                  </a:moveTo>
                  <a:cubicBezTo>
                    <a:pt x="6096" y="34004"/>
                    <a:pt x="13811" y="42291"/>
                    <a:pt x="24384" y="42291"/>
                  </a:cubicBezTo>
                  <a:cubicBezTo>
                    <a:pt x="34957" y="42291"/>
                    <a:pt x="42291" y="34004"/>
                    <a:pt x="42291" y="23622"/>
                  </a:cubicBezTo>
                  <a:cubicBezTo>
                    <a:pt x="42291" y="13240"/>
                    <a:pt x="34766" y="4763"/>
                    <a:pt x="24289" y="4763"/>
                  </a:cubicBezTo>
                  <a:cubicBezTo>
                    <a:pt x="13811" y="4763"/>
                    <a:pt x="6096" y="13240"/>
                    <a:pt x="6096" y="23527"/>
                  </a:cubicBezTo>
                  <a:close/>
                  <a:moveTo>
                    <a:pt x="20574" y="35814"/>
                  </a:moveTo>
                  <a:lnTo>
                    <a:pt x="15145" y="35814"/>
                  </a:lnTo>
                  <a:lnTo>
                    <a:pt x="15145" y="12287"/>
                  </a:lnTo>
                  <a:cubicBezTo>
                    <a:pt x="17240" y="11811"/>
                    <a:pt x="20288" y="11525"/>
                    <a:pt x="24193" y="11525"/>
                  </a:cubicBezTo>
                  <a:cubicBezTo>
                    <a:pt x="28670" y="11525"/>
                    <a:pt x="30671" y="12287"/>
                    <a:pt x="32385" y="13240"/>
                  </a:cubicBezTo>
                  <a:cubicBezTo>
                    <a:pt x="33623" y="14287"/>
                    <a:pt x="34671" y="16097"/>
                    <a:pt x="34671" y="18383"/>
                  </a:cubicBezTo>
                  <a:cubicBezTo>
                    <a:pt x="34671" y="20955"/>
                    <a:pt x="32671" y="22955"/>
                    <a:pt x="29813" y="23813"/>
                  </a:cubicBezTo>
                  <a:lnTo>
                    <a:pt x="29813" y="24098"/>
                  </a:lnTo>
                  <a:cubicBezTo>
                    <a:pt x="32099" y="24956"/>
                    <a:pt x="33433" y="26670"/>
                    <a:pt x="34100" y="29813"/>
                  </a:cubicBezTo>
                  <a:cubicBezTo>
                    <a:pt x="34862" y="33433"/>
                    <a:pt x="35242" y="34862"/>
                    <a:pt x="35814" y="35719"/>
                  </a:cubicBezTo>
                  <a:lnTo>
                    <a:pt x="29908" y="35719"/>
                  </a:lnTo>
                  <a:cubicBezTo>
                    <a:pt x="29146" y="34862"/>
                    <a:pt x="28766" y="32671"/>
                    <a:pt x="28004" y="30004"/>
                  </a:cubicBezTo>
                  <a:cubicBezTo>
                    <a:pt x="27622" y="27432"/>
                    <a:pt x="26194" y="26289"/>
                    <a:pt x="23146" y="26289"/>
                  </a:cubicBezTo>
                  <a:lnTo>
                    <a:pt x="20574" y="26289"/>
                  </a:lnTo>
                  <a:lnTo>
                    <a:pt x="20574" y="35719"/>
                  </a:lnTo>
                  <a:close/>
                  <a:moveTo>
                    <a:pt x="20669" y="22479"/>
                  </a:moveTo>
                  <a:lnTo>
                    <a:pt x="23241" y="22479"/>
                  </a:lnTo>
                  <a:cubicBezTo>
                    <a:pt x="26289" y="22479"/>
                    <a:pt x="28670" y="21431"/>
                    <a:pt x="28670" y="19050"/>
                  </a:cubicBezTo>
                  <a:cubicBezTo>
                    <a:pt x="28670" y="16859"/>
                    <a:pt x="27051" y="15430"/>
                    <a:pt x="23622" y="15430"/>
                  </a:cubicBezTo>
                  <a:cubicBezTo>
                    <a:pt x="22193" y="15430"/>
                    <a:pt x="21146" y="15621"/>
                    <a:pt x="20574" y="15716"/>
                  </a:cubicBezTo>
                  <a:lnTo>
                    <a:pt x="20574" y="2247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43" name="Group 542">
            <a:extLst>
              <a:ext uri="{FF2B5EF4-FFF2-40B4-BE49-F238E27FC236}">
                <a16:creationId xmlns:a16="http://schemas.microsoft.com/office/drawing/2014/main" id="{28A030F7-6A1C-4959-9E38-8478A68ED6B2}"/>
              </a:ext>
            </a:extLst>
          </p:cNvPr>
          <p:cNvGrpSpPr/>
          <p:nvPr userDrawn="1"/>
        </p:nvGrpSpPr>
        <p:grpSpPr>
          <a:xfrm>
            <a:off x="4989824" y="4335777"/>
            <a:ext cx="430701" cy="293999"/>
            <a:chOff x="813175" y="2258166"/>
            <a:chExt cx="1764886" cy="1204722"/>
          </a:xfrm>
        </p:grpSpPr>
        <p:sp>
          <p:nvSpPr>
            <p:cNvPr id="544" name="Freeform: Shape 543">
              <a:extLst>
                <a:ext uri="{FF2B5EF4-FFF2-40B4-BE49-F238E27FC236}">
                  <a16:creationId xmlns:a16="http://schemas.microsoft.com/office/drawing/2014/main" id="{C116B562-7E45-498A-B353-64E488FB3058}"/>
                </a:ext>
              </a:extLst>
            </p:cNvPr>
            <p:cNvSpPr/>
            <p:nvPr/>
          </p:nvSpPr>
          <p:spPr>
            <a:xfrm>
              <a:off x="813175" y="2269501"/>
              <a:ext cx="111537" cy="631221"/>
            </a:xfrm>
            <a:custGeom>
              <a:avLst/>
              <a:gdLst>
                <a:gd name="connsiteX0" fmla="*/ 0 w 111537"/>
                <a:gd name="connsiteY0" fmla="*/ 0 h 631221"/>
                <a:gd name="connsiteX1" fmla="*/ 111538 w 111537"/>
                <a:gd name="connsiteY1" fmla="*/ 0 h 631221"/>
                <a:gd name="connsiteX2" fmla="*/ 111538 w 111537"/>
                <a:gd name="connsiteY2" fmla="*/ 631222 h 631221"/>
                <a:gd name="connsiteX3" fmla="*/ 0 w 111537"/>
                <a:gd name="connsiteY3" fmla="*/ 631222 h 631221"/>
              </a:gdLst>
              <a:ahLst/>
              <a:cxnLst>
                <a:cxn ang="0">
                  <a:pos x="connsiteX0" y="connsiteY0"/>
                </a:cxn>
                <a:cxn ang="0">
                  <a:pos x="connsiteX1" y="connsiteY1"/>
                </a:cxn>
                <a:cxn ang="0">
                  <a:pos x="connsiteX2" y="connsiteY2"/>
                </a:cxn>
                <a:cxn ang="0">
                  <a:pos x="connsiteX3" y="connsiteY3"/>
                </a:cxn>
              </a:cxnLst>
              <a:rect l="l" t="t" r="r" b="b"/>
              <a:pathLst>
                <a:path w="111537" h="631221">
                  <a:moveTo>
                    <a:pt x="0" y="0"/>
                  </a:moveTo>
                  <a:lnTo>
                    <a:pt x="111538" y="0"/>
                  </a:lnTo>
                  <a:lnTo>
                    <a:pt x="111538" y="631222"/>
                  </a:lnTo>
                  <a:lnTo>
                    <a:pt x="0" y="63122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5" name="Freeform: Shape 544">
              <a:extLst>
                <a:ext uri="{FF2B5EF4-FFF2-40B4-BE49-F238E27FC236}">
                  <a16:creationId xmlns:a16="http://schemas.microsoft.com/office/drawing/2014/main" id="{EE63982F-310E-495C-BFD9-E6F38C30D4CA}"/>
                </a:ext>
              </a:extLst>
            </p:cNvPr>
            <p:cNvSpPr/>
            <p:nvPr/>
          </p:nvSpPr>
          <p:spPr>
            <a:xfrm>
              <a:off x="998341" y="2258166"/>
              <a:ext cx="643604" cy="654272"/>
            </a:xfrm>
            <a:custGeom>
              <a:avLst/>
              <a:gdLst>
                <a:gd name="connsiteX0" fmla="*/ 320326 w 643604"/>
                <a:gd name="connsiteY0" fmla="*/ 654082 h 654272"/>
                <a:gd name="connsiteX1" fmla="*/ 92012 w 643604"/>
                <a:gd name="connsiteY1" fmla="*/ 558451 h 654272"/>
                <a:gd name="connsiteX2" fmla="*/ 0 w 643604"/>
                <a:gd name="connsiteY2" fmla="*/ 323469 h 654272"/>
                <a:gd name="connsiteX3" fmla="*/ 25336 w 643604"/>
                <a:gd name="connsiteY3" fmla="*/ 197930 h 654272"/>
                <a:gd name="connsiteX4" fmla="*/ 98489 w 643604"/>
                <a:gd name="connsiteY4" fmla="*/ 91345 h 654272"/>
                <a:gd name="connsiteX5" fmla="*/ 200501 w 643604"/>
                <a:gd name="connsiteY5" fmla="*/ 23051 h 654272"/>
                <a:gd name="connsiteX6" fmla="*/ 321278 w 643604"/>
                <a:gd name="connsiteY6" fmla="*/ 0 h 654272"/>
                <a:gd name="connsiteX7" fmla="*/ 443865 w 643604"/>
                <a:gd name="connsiteY7" fmla="*/ 23241 h 654272"/>
                <a:gd name="connsiteX8" fmla="*/ 547116 w 643604"/>
                <a:gd name="connsiteY8" fmla="*/ 92202 h 654272"/>
                <a:gd name="connsiteX9" fmla="*/ 619316 w 643604"/>
                <a:gd name="connsiteY9" fmla="*/ 197834 h 654272"/>
                <a:gd name="connsiteX10" fmla="*/ 643604 w 643604"/>
                <a:gd name="connsiteY10" fmla="*/ 323564 h 654272"/>
                <a:gd name="connsiteX11" fmla="*/ 622840 w 643604"/>
                <a:gd name="connsiteY11" fmla="*/ 445770 h 654272"/>
                <a:gd name="connsiteX12" fmla="*/ 560451 w 643604"/>
                <a:gd name="connsiteY12" fmla="*/ 547878 h 654272"/>
                <a:gd name="connsiteX13" fmla="*/ 451866 w 643604"/>
                <a:gd name="connsiteY13" fmla="*/ 627412 h 654272"/>
                <a:gd name="connsiteX14" fmla="*/ 320421 w 643604"/>
                <a:gd name="connsiteY14" fmla="*/ 654272 h 654272"/>
                <a:gd name="connsiteX15" fmla="*/ 320326 w 643604"/>
                <a:gd name="connsiteY15" fmla="*/ 109823 h 654272"/>
                <a:gd name="connsiteX16" fmla="*/ 252889 w 643604"/>
                <a:gd name="connsiteY16" fmla="*/ 121825 h 654272"/>
                <a:gd name="connsiteX17" fmla="*/ 192881 w 643604"/>
                <a:gd name="connsiteY17" fmla="*/ 157163 h 654272"/>
                <a:gd name="connsiteX18" fmla="*/ 135255 w 643604"/>
                <a:gd name="connsiteY18" fmla="*/ 232982 h 654272"/>
                <a:gd name="connsiteX19" fmla="*/ 114300 w 643604"/>
                <a:gd name="connsiteY19" fmla="*/ 324231 h 654272"/>
                <a:gd name="connsiteX20" fmla="*/ 175069 w 643604"/>
                <a:gd name="connsiteY20" fmla="*/ 481775 h 654272"/>
                <a:gd name="connsiteX21" fmla="*/ 324326 w 643604"/>
                <a:gd name="connsiteY21" fmla="*/ 544544 h 654272"/>
                <a:gd name="connsiteX22" fmla="*/ 470154 w 643604"/>
                <a:gd name="connsiteY22" fmla="*/ 481203 h 654272"/>
                <a:gd name="connsiteX23" fmla="*/ 530352 w 643604"/>
                <a:gd name="connsiteY23" fmla="*/ 322707 h 654272"/>
                <a:gd name="connsiteX24" fmla="*/ 468535 w 643604"/>
                <a:gd name="connsiteY24" fmla="*/ 172784 h 654272"/>
                <a:gd name="connsiteX25" fmla="*/ 320326 w 643604"/>
                <a:gd name="connsiteY25" fmla="*/ 109919 h 65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43604" h="654272">
                  <a:moveTo>
                    <a:pt x="320326" y="654082"/>
                  </a:moveTo>
                  <a:cubicBezTo>
                    <a:pt x="230124" y="654082"/>
                    <a:pt x="153257" y="621887"/>
                    <a:pt x="92012" y="558451"/>
                  </a:cubicBezTo>
                  <a:cubicBezTo>
                    <a:pt x="30956" y="495205"/>
                    <a:pt x="0" y="416147"/>
                    <a:pt x="0" y="323469"/>
                  </a:cubicBezTo>
                  <a:cubicBezTo>
                    <a:pt x="0" y="279845"/>
                    <a:pt x="8572" y="237649"/>
                    <a:pt x="25336" y="197930"/>
                  </a:cubicBezTo>
                  <a:cubicBezTo>
                    <a:pt x="42101" y="158401"/>
                    <a:pt x="66675" y="122492"/>
                    <a:pt x="98489" y="91345"/>
                  </a:cubicBezTo>
                  <a:cubicBezTo>
                    <a:pt x="129159" y="61246"/>
                    <a:pt x="163449" y="38291"/>
                    <a:pt x="200501" y="23051"/>
                  </a:cubicBezTo>
                  <a:cubicBezTo>
                    <a:pt x="237649" y="7715"/>
                    <a:pt x="278225" y="0"/>
                    <a:pt x="321278" y="0"/>
                  </a:cubicBezTo>
                  <a:cubicBezTo>
                    <a:pt x="364331" y="0"/>
                    <a:pt x="406241" y="7811"/>
                    <a:pt x="443865" y="23241"/>
                  </a:cubicBezTo>
                  <a:cubicBezTo>
                    <a:pt x="481489" y="38672"/>
                    <a:pt x="516160" y="61913"/>
                    <a:pt x="547116" y="92202"/>
                  </a:cubicBezTo>
                  <a:cubicBezTo>
                    <a:pt x="578930" y="123444"/>
                    <a:pt x="603218" y="158972"/>
                    <a:pt x="619316" y="197834"/>
                  </a:cubicBezTo>
                  <a:cubicBezTo>
                    <a:pt x="635413" y="236696"/>
                    <a:pt x="643604" y="278987"/>
                    <a:pt x="643604" y="323564"/>
                  </a:cubicBezTo>
                  <a:cubicBezTo>
                    <a:pt x="643604" y="368141"/>
                    <a:pt x="636651" y="408623"/>
                    <a:pt x="622840" y="445770"/>
                  </a:cubicBezTo>
                  <a:cubicBezTo>
                    <a:pt x="609029" y="483013"/>
                    <a:pt x="588074" y="517398"/>
                    <a:pt x="560451" y="547878"/>
                  </a:cubicBezTo>
                  <a:cubicBezTo>
                    <a:pt x="528733" y="582740"/>
                    <a:pt x="492157" y="609505"/>
                    <a:pt x="451866" y="627412"/>
                  </a:cubicBezTo>
                  <a:cubicBezTo>
                    <a:pt x="411575" y="645224"/>
                    <a:pt x="367379" y="654272"/>
                    <a:pt x="320421" y="654272"/>
                  </a:cubicBezTo>
                  <a:close/>
                  <a:moveTo>
                    <a:pt x="320326" y="109823"/>
                  </a:moveTo>
                  <a:cubicBezTo>
                    <a:pt x="297085" y="109823"/>
                    <a:pt x="274320" y="113824"/>
                    <a:pt x="252889" y="121825"/>
                  </a:cubicBezTo>
                  <a:cubicBezTo>
                    <a:pt x="231362" y="129731"/>
                    <a:pt x="211169" y="141637"/>
                    <a:pt x="192881" y="157163"/>
                  </a:cubicBezTo>
                  <a:cubicBezTo>
                    <a:pt x="168592" y="177737"/>
                    <a:pt x="149161" y="203264"/>
                    <a:pt x="135255" y="232982"/>
                  </a:cubicBezTo>
                  <a:cubicBezTo>
                    <a:pt x="121349" y="262700"/>
                    <a:pt x="114300" y="293370"/>
                    <a:pt x="114300" y="324231"/>
                  </a:cubicBezTo>
                  <a:cubicBezTo>
                    <a:pt x="114300" y="387668"/>
                    <a:pt x="134207" y="439198"/>
                    <a:pt x="175069" y="481775"/>
                  </a:cubicBezTo>
                  <a:cubicBezTo>
                    <a:pt x="215646" y="524066"/>
                    <a:pt x="264509" y="544544"/>
                    <a:pt x="324326" y="544544"/>
                  </a:cubicBezTo>
                  <a:cubicBezTo>
                    <a:pt x="384143" y="544544"/>
                    <a:pt x="430054" y="523780"/>
                    <a:pt x="470154" y="481203"/>
                  </a:cubicBezTo>
                  <a:cubicBezTo>
                    <a:pt x="510730" y="438055"/>
                    <a:pt x="530352" y="386144"/>
                    <a:pt x="530352" y="322707"/>
                  </a:cubicBezTo>
                  <a:cubicBezTo>
                    <a:pt x="530352" y="264224"/>
                    <a:pt x="510159" y="215170"/>
                    <a:pt x="468535" y="172784"/>
                  </a:cubicBezTo>
                  <a:cubicBezTo>
                    <a:pt x="427101" y="130493"/>
                    <a:pt x="378619" y="109919"/>
                    <a:pt x="320326" y="109919"/>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6" name="Freeform: Shape 545">
              <a:extLst>
                <a:ext uri="{FF2B5EF4-FFF2-40B4-BE49-F238E27FC236}">
                  <a16:creationId xmlns:a16="http://schemas.microsoft.com/office/drawing/2014/main" id="{FDC9D64C-C29F-4C94-A4A3-2BB04378134C}"/>
                </a:ext>
              </a:extLst>
            </p:cNvPr>
            <p:cNvSpPr/>
            <p:nvPr/>
          </p:nvSpPr>
          <p:spPr>
            <a:xfrm>
              <a:off x="1912360" y="2269501"/>
              <a:ext cx="594836" cy="631317"/>
            </a:xfrm>
            <a:custGeom>
              <a:avLst/>
              <a:gdLst>
                <a:gd name="connsiteX0" fmla="*/ 475202 w 594836"/>
                <a:gd name="connsiteY0" fmla="*/ 631317 h 631317"/>
                <a:gd name="connsiteX1" fmla="*/ 296418 w 594836"/>
                <a:gd name="connsiteY1" fmla="*/ 159544 h 631317"/>
                <a:gd name="connsiteX2" fmla="*/ 118967 w 594836"/>
                <a:gd name="connsiteY2" fmla="*/ 631317 h 631317"/>
                <a:gd name="connsiteX3" fmla="*/ 0 w 594836"/>
                <a:gd name="connsiteY3" fmla="*/ 631317 h 631317"/>
                <a:gd name="connsiteX4" fmla="*/ 244983 w 594836"/>
                <a:gd name="connsiteY4" fmla="*/ 0 h 631317"/>
                <a:gd name="connsiteX5" fmla="*/ 350711 w 594836"/>
                <a:gd name="connsiteY5" fmla="*/ 0 h 631317"/>
                <a:gd name="connsiteX6" fmla="*/ 594836 w 594836"/>
                <a:gd name="connsiteY6" fmla="*/ 631317 h 631317"/>
                <a:gd name="connsiteX7" fmla="*/ 475202 w 594836"/>
                <a:gd name="connsiteY7" fmla="*/ 631317 h 63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836" h="631317">
                  <a:moveTo>
                    <a:pt x="475202" y="631317"/>
                  </a:moveTo>
                  <a:lnTo>
                    <a:pt x="296418" y="159544"/>
                  </a:lnTo>
                  <a:lnTo>
                    <a:pt x="118967" y="631317"/>
                  </a:lnTo>
                  <a:lnTo>
                    <a:pt x="0" y="631317"/>
                  </a:lnTo>
                  <a:lnTo>
                    <a:pt x="244983" y="0"/>
                  </a:lnTo>
                  <a:lnTo>
                    <a:pt x="350711" y="0"/>
                  </a:lnTo>
                  <a:lnTo>
                    <a:pt x="594836" y="631317"/>
                  </a:lnTo>
                  <a:lnTo>
                    <a:pt x="475202" y="63131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547" name="Graphic 644">
              <a:extLst>
                <a:ext uri="{FF2B5EF4-FFF2-40B4-BE49-F238E27FC236}">
                  <a16:creationId xmlns:a16="http://schemas.microsoft.com/office/drawing/2014/main" id="{7F740300-5F22-48AE-B5E6-24828640E447}"/>
                </a:ext>
              </a:extLst>
            </p:cNvPr>
            <p:cNvGrpSpPr/>
            <p:nvPr/>
          </p:nvGrpSpPr>
          <p:grpSpPr>
            <a:xfrm>
              <a:off x="813175" y="2973303"/>
              <a:ext cx="1753838" cy="111537"/>
              <a:chOff x="813175" y="2973303"/>
              <a:chExt cx="1753838" cy="111537"/>
            </a:xfrm>
            <a:solidFill>
              <a:srgbClr val="A1ABB2"/>
            </a:solidFill>
          </p:grpSpPr>
          <p:sp>
            <p:nvSpPr>
              <p:cNvPr id="554" name="Freeform: Shape 553">
                <a:extLst>
                  <a:ext uri="{FF2B5EF4-FFF2-40B4-BE49-F238E27FC236}">
                    <a16:creationId xmlns:a16="http://schemas.microsoft.com/office/drawing/2014/main" id="{804FE693-1C4C-467A-BD9C-20631EE48FE1}"/>
                  </a:ext>
                </a:extLst>
              </p:cNvPr>
              <p:cNvSpPr/>
              <p:nvPr/>
            </p:nvSpPr>
            <p:spPr>
              <a:xfrm>
                <a:off x="2418804" y="2973303"/>
                <a:ext cx="148208" cy="111537"/>
              </a:xfrm>
              <a:custGeom>
                <a:avLst/>
                <a:gdLst>
                  <a:gd name="connsiteX0" fmla="*/ 43148 w 148208"/>
                  <a:gd name="connsiteY0" fmla="*/ 111538 h 111537"/>
                  <a:gd name="connsiteX1" fmla="*/ 148209 w 148208"/>
                  <a:gd name="connsiteY1" fmla="*/ 111538 h 111537"/>
                  <a:gd name="connsiteX2" fmla="*/ 109252 w 148208"/>
                  <a:gd name="connsiteY2" fmla="*/ 0 h 111537"/>
                  <a:gd name="connsiteX3" fmla="*/ 0 w 148208"/>
                  <a:gd name="connsiteY3" fmla="*/ 0 h 111537"/>
                  <a:gd name="connsiteX4" fmla="*/ 43148 w 148208"/>
                  <a:gd name="connsiteY4" fmla="*/ 111538 h 11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08" h="111537">
                    <a:moveTo>
                      <a:pt x="43148" y="111538"/>
                    </a:moveTo>
                    <a:lnTo>
                      <a:pt x="148209" y="111538"/>
                    </a:lnTo>
                    <a:lnTo>
                      <a:pt x="109252" y="0"/>
                    </a:lnTo>
                    <a:lnTo>
                      <a:pt x="0" y="0"/>
                    </a:lnTo>
                    <a:lnTo>
                      <a:pt x="43148" y="1115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55" name="Freeform: Shape 554">
                <a:extLst>
                  <a:ext uri="{FF2B5EF4-FFF2-40B4-BE49-F238E27FC236}">
                    <a16:creationId xmlns:a16="http://schemas.microsoft.com/office/drawing/2014/main" id="{F56FF5FB-DC9C-4462-AFAC-F25B657B2B7E}"/>
                  </a:ext>
                </a:extLst>
              </p:cNvPr>
              <p:cNvSpPr/>
              <p:nvPr/>
            </p:nvSpPr>
            <p:spPr>
              <a:xfrm>
                <a:off x="813175" y="2973303"/>
                <a:ext cx="1187767" cy="111537"/>
              </a:xfrm>
              <a:custGeom>
                <a:avLst/>
                <a:gdLst>
                  <a:gd name="connsiteX0" fmla="*/ 1187768 w 1187767"/>
                  <a:gd name="connsiteY0" fmla="*/ 0 h 111537"/>
                  <a:gd name="connsiteX1" fmla="*/ 0 w 1187767"/>
                  <a:gd name="connsiteY1" fmla="*/ 0 h 111537"/>
                  <a:gd name="connsiteX2" fmla="*/ 0 w 1187767"/>
                  <a:gd name="connsiteY2" fmla="*/ 111538 h 111537"/>
                  <a:gd name="connsiteX3" fmla="*/ 1144524 w 1187767"/>
                  <a:gd name="connsiteY3" fmla="*/ 111538 h 111537"/>
                  <a:gd name="connsiteX4" fmla="*/ 1187768 w 1187767"/>
                  <a:gd name="connsiteY4" fmla="*/ 0 h 11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767" h="111537">
                    <a:moveTo>
                      <a:pt x="1187768" y="0"/>
                    </a:moveTo>
                    <a:lnTo>
                      <a:pt x="0" y="0"/>
                    </a:lnTo>
                    <a:lnTo>
                      <a:pt x="0" y="111538"/>
                    </a:lnTo>
                    <a:lnTo>
                      <a:pt x="1144524" y="111538"/>
                    </a:lnTo>
                    <a:lnTo>
                      <a:pt x="118776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548" name="Freeform: Shape 547">
              <a:extLst>
                <a:ext uri="{FF2B5EF4-FFF2-40B4-BE49-F238E27FC236}">
                  <a16:creationId xmlns:a16="http://schemas.microsoft.com/office/drawing/2014/main" id="{8A84CE1A-A435-4927-B961-E2BB72ADF0A8}"/>
                </a:ext>
              </a:extLst>
            </p:cNvPr>
            <p:cNvSpPr/>
            <p:nvPr/>
          </p:nvSpPr>
          <p:spPr>
            <a:xfrm>
              <a:off x="2423852" y="2745751"/>
              <a:ext cx="95" cy="9525"/>
            </a:xfrm>
            <a:custGeom>
              <a:avLst/>
              <a:gdLst>
                <a:gd name="connsiteX0" fmla="*/ 95 w 95"/>
                <a:gd name="connsiteY0" fmla="*/ 0 h 9525"/>
                <a:gd name="connsiteX1" fmla="*/ 0 w 95"/>
                <a:gd name="connsiteY1" fmla="*/ 0 h 9525"/>
                <a:gd name="connsiteX2" fmla="*/ 0 w 95"/>
                <a:gd name="connsiteY2" fmla="*/ 0 h 9525"/>
                <a:gd name="connsiteX3" fmla="*/ 95 w 95"/>
                <a:gd name="connsiteY3" fmla="*/ 0 h 9525"/>
              </a:gdLst>
              <a:ahLst/>
              <a:cxnLst>
                <a:cxn ang="0">
                  <a:pos x="connsiteX0" y="connsiteY0"/>
                </a:cxn>
                <a:cxn ang="0">
                  <a:pos x="connsiteX1" y="connsiteY1"/>
                </a:cxn>
                <a:cxn ang="0">
                  <a:pos x="connsiteX2" y="connsiteY2"/>
                </a:cxn>
                <a:cxn ang="0">
                  <a:pos x="connsiteX3" y="connsiteY3"/>
                </a:cxn>
              </a:cxnLst>
              <a:rect l="l" t="t" r="r" b="b"/>
              <a:pathLst>
                <a:path w="95" h="9525">
                  <a:moveTo>
                    <a:pt x="95" y="0"/>
                  </a:moveTo>
                  <a:lnTo>
                    <a:pt x="0" y="0"/>
                  </a:lnTo>
                  <a:lnTo>
                    <a:pt x="0" y="0"/>
                  </a:lnTo>
                  <a:lnTo>
                    <a:pt x="9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49" name="Freeform: Shape 548">
              <a:extLst>
                <a:ext uri="{FF2B5EF4-FFF2-40B4-BE49-F238E27FC236}">
                  <a16:creationId xmlns:a16="http://schemas.microsoft.com/office/drawing/2014/main" id="{2F845C64-8541-4413-9582-40DBDA0763D4}"/>
                </a:ext>
              </a:extLst>
            </p:cNvPr>
            <p:cNvSpPr/>
            <p:nvPr/>
          </p:nvSpPr>
          <p:spPr>
            <a:xfrm>
              <a:off x="2039042" y="2595256"/>
              <a:ext cx="341471" cy="867632"/>
            </a:xfrm>
            <a:custGeom>
              <a:avLst/>
              <a:gdLst>
                <a:gd name="connsiteX0" fmla="*/ 341471 w 341471"/>
                <a:gd name="connsiteY0" fmla="*/ 378047 h 867632"/>
                <a:gd name="connsiteX1" fmla="*/ 170688 w 341471"/>
                <a:gd name="connsiteY1" fmla="*/ 378047 h 867632"/>
                <a:gd name="connsiteX2" fmla="*/ 170688 w 341471"/>
                <a:gd name="connsiteY2" fmla="*/ 0 h 867632"/>
                <a:gd name="connsiteX3" fmla="*/ 0 w 341471"/>
                <a:gd name="connsiteY3" fmla="*/ 489585 h 867632"/>
                <a:gd name="connsiteX4" fmla="*/ 170688 w 341471"/>
                <a:gd name="connsiteY4" fmla="*/ 489585 h 867632"/>
                <a:gd name="connsiteX5" fmla="*/ 170688 w 341471"/>
                <a:gd name="connsiteY5" fmla="*/ 867632 h 867632"/>
                <a:gd name="connsiteX6" fmla="*/ 341471 w 341471"/>
                <a:gd name="connsiteY6" fmla="*/ 378047 h 86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71" h="867632">
                  <a:moveTo>
                    <a:pt x="341471" y="378047"/>
                  </a:moveTo>
                  <a:lnTo>
                    <a:pt x="170688" y="378047"/>
                  </a:lnTo>
                  <a:lnTo>
                    <a:pt x="170688" y="0"/>
                  </a:lnTo>
                  <a:lnTo>
                    <a:pt x="0" y="489585"/>
                  </a:lnTo>
                  <a:lnTo>
                    <a:pt x="170688" y="489585"/>
                  </a:lnTo>
                  <a:lnTo>
                    <a:pt x="170688" y="867632"/>
                  </a:lnTo>
                  <a:lnTo>
                    <a:pt x="341471" y="3780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50" name="Freeform: Shape 549">
              <a:extLst>
                <a:ext uri="{FF2B5EF4-FFF2-40B4-BE49-F238E27FC236}">
                  <a16:creationId xmlns:a16="http://schemas.microsoft.com/office/drawing/2014/main" id="{227C6B7A-EDC7-4989-BB61-1D766D399638}"/>
                </a:ext>
              </a:extLst>
            </p:cNvPr>
            <p:cNvSpPr/>
            <p:nvPr/>
          </p:nvSpPr>
          <p:spPr>
            <a:xfrm>
              <a:off x="1617942" y="2269501"/>
              <a:ext cx="353568" cy="631317"/>
            </a:xfrm>
            <a:custGeom>
              <a:avLst/>
              <a:gdLst>
                <a:gd name="connsiteX0" fmla="*/ 353568 w 353568"/>
                <a:gd name="connsiteY0" fmla="*/ 0 h 631317"/>
                <a:gd name="connsiteX1" fmla="*/ 232601 w 353568"/>
                <a:gd name="connsiteY1" fmla="*/ 0 h 631317"/>
                <a:gd name="connsiteX2" fmla="*/ 121063 w 353568"/>
                <a:gd name="connsiteY2" fmla="*/ 0 h 631317"/>
                <a:gd name="connsiteX3" fmla="*/ 0 w 353568"/>
                <a:gd name="connsiteY3" fmla="*/ 0 h 631317"/>
                <a:gd name="connsiteX4" fmla="*/ 0 w 353568"/>
                <a:gd name="connsiteY4" fmla="*/ 111633 h 631317"/>
                <a:gd name="connsiteX5" fmla="*/ 121063 w 353568"/>
                <a:gd name="connsiteY5" fmla="*/ 111633 h 631317"/>
                <a:gd name="connsiteX6" fmla="*/ 121063 w 353568"/>
                <a:gd name="connsiteY6" fmla="*/ 631317 h 631317"/>
                <a:gd name="connsiteX7" fmla="*/ 232601 w 353568"/>
                <a:gd name="connsiteY7" fmla="*/ 631317 h 631317"/>
                <a:gd name="connsiteX8" fmla="*/ 232601 w 353568"/>
                <a:gd name="connsiteY8" fmla="*/ 111633 h 631317"/>
                <a:gd name="connsiteX9" fmla="*/ 353568 w 353568"/>
                <a:gd name="connsiteY9" fmla="*/ 111633 h 631317"/>
                <a:gd name="connsiteX10" fmla="*/ 353568 w 353568"/>
                <a:gd name="connsiteY10" fmla="*/ 0 h 63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568" h="631317">
                  <a:moveTo>
                    <a:pt x="353568" y="0"/>
                  </a:moveTo>
                  <a:lnTo>
                    <a:pt x="232601" y="0"/>
                  </a:lnTo>
                  <a:lnTo>
                    <a:pt x="121063" y="0"/>
                  </a:lnTo>
                  <a:lnTo>
                    <a:pt x="0" y="0"/>
                  </a:lnTo>
                  <a:lnTo>
                    <a:pt x="0" y="111633"/>
                  </a:lnTo>
                  <a:lnTo>
                    <a:pt x="121063" y="111633"/>
                  </a:lnTo>
                  <a:lnTo>
                    <a:pt x="121063" y="631317"/>
                  </a:lnTo>
                  <a:lnTo>
                    <a:pt x="232601" y="631317"/>
                  </a:lnTo>
                  <a:lnTo>
                    <a:pt x="232601" y="111633"/>
                  </a:lnTo>
                  <a:lnTo>
                    <a:pt x="353568" y="111633"/>
                  </a:lnTo>
                  <a:lnTo>
                    <a:pt x="35356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551" name="Graphic 644">
              <a:extLst>
                <a:ext uri="{FF2B5EF4-FFF2-40B4-BE49-F238E27FC236}">
                  <a16:creationId xmlns:a16="http://schemas.microsoft.com/office/drawing/2014/main" id="{4AF80F25-7303-48D5-852E-D4B68229ABDF}"/>
                </a:ext>
              </a:extLst>
            </p:cNvPr>
            <p:cNvGrpSpPr/>
            <p:nvPr/>
          </p:nvGrpSpPr>
          <p:grpSpPr>
            <a:xfrm>
              <a:off x="2506434" y="3155992"/>
              <a:ext cx="71627" cy="71628"/>
              <a:chOff x="2506434" y="3155992"/>
              <a:chExt cx="71627" cy="71628"/>
            </a:xfrm>
            <a:solidFill>
              <a:srgbClr val="A1ABB2"/>
            </a:solidFill>
          </p:grpSpPr>
          <p:sp>
            <p:nvSpPr>
              <p:cNvPr id="552" name="Freeform: Shape 551">
                <a:extLst>
                  <a:ext uri="{FF2B5EF4-FFF2-40B4-BE49-F238E27FC236}">
                    <a16:creationId xmlns:a16="http://schemas.microsoft.com/office/drawing/2014/main" id="{5D2B09B6-1543-4540-A777-3E0ED354AB36}"/>
                  </a:ext>
                </a:extLst>
              </p:cNvPr>
              <p:cNvSpPr/>
              <p:nvPr/>
            </p:nvSpPr>
            <p:spPr>
              <a:xfrm>
                <a:off x="2506434" y="3155992"/>
                <a:ext cx="71627" cy="71628"/>
              </a:xfrm>
              <a:custGeom>
                <a:avLst/>
                <a:gdLst>
                  <a:gd name="connsiteX0" fmla="*/ 35814 w 71627"/>
                  <a:gd name="connsiteY0" fmla="*/ 71628 h 71628"/>
                  <a:gd name="connsiteX1" fmla="*/ 0 w 71627"/>
                  <a:gd name="connsiteY1" fmla="*/ 35814 h 71628"/>
                  <a:gd name="connsiteX2" fmla="*/ 35814 w 71627"/>
                  <a:gd name="connsiteY2" fmla="*/ 0 h 71628"/>
                  <a:gd name="connsiteX3" fmla="*/ 71628 w 71627"/>
                  <a:gd name="connsiteY3" fmla="*/ 35814 h 71628"/>
                  <a:gd name="connsiteX4" fmla="*/ 35814 w 71627"/>
                  <a:gd name="connsiteY4" fmla="*/ 71628 h 71628"/>
                  <a:gd name="connsiteX5" fmla="*/ 35814 w 71627"/>
                  <a:gd name="connsiteY5" fmla="*/ 4763 h 71628"/>
                  <a:gd name="connsiteX6" fmla="*/ 4763 w 71627"/>
                  <a:gd name="connsiteY6" fmla="*/ 35814 h 71628"/>
                  <a:gd name="connsiteX7" fmla="*/ 35814 w 71627"/>
                  <a:gd name="connsiteY7" fmla="*/ 66866 h 71628"/>
                  <a:gd name="connsiteX8" fmla="*/ 66865 w 71627"/>
                  <a:gd name="connsiteY8" fmla="*/ 35814 h 71628"/>
                  <a:gd name="connsiteX9" fmla="*/ 35814 w 71627"/>
                  <a:gd name="connsiteY9" fmla="*/ 4763 h 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27" h="71628">
                    <a:moveTo>
                      <a:pt x="35814" y="71628"/>
                    </a:moveTo>
                    <a:cubicBezTo>
                      <a:pt x="16097" y="71628"/>
                      <a:pt x="0" y="55531"/>
                      <a:pt x="0" y="35814"/>
                    </a:cubicBezTo>
                    <a:cubicBezTo>
                      <a:pt x="0" y="16097"/>
                      <a:pt x="16097" y="0"/>
                      <a:pt x="35814" y="0"/>
                    </a:cubicBezTo>
                    <a:cubicBezTo>
                      <a:pt x="55531" y="0"/>
                      <a:pt x="71628" y="16097"/>
                      <a:pt x="71628" y="35814"/>
                    </a:cubicBezTo>
                    <a:cubicBezTo>
                      <a:pt x="71628" y="55531"/>
                      <a:pt x="55531" y="71628"/>
                      <a:pt x="35814" y="71628"/>
                    </a:cubicBezTo>
                    <a:close/>
                    <a:moveTo>
                      <a:pt x="35814" y="4763"/>
                    </a:moveTo>
                    <a:cubicBezTo>
                      <a:pt x="18669" y="4763"/>
                      <a:pt x="4763" y="18669"/>
                      <a:pt x="4763" y="35814"/>
                    </a:cubicBezTo>
                    <a:cubicBezTo>
                      <a:pt x="4763" y="52959"/>
                      <a:pt x="18669" y="66866"/>
                      <a:pt x="35814" y="66866"/>
                    </a:cubicBezTo>
                    <a:cubicBezTo>
                      <a:pt x="52959" y="66866"/>
                      <a:pt x="66865" y="52959"/>
                      <a:pt x="66865" y="35814"/>
                    </a:cubicBezTo>
                    <a:cubicBezTo>
                      <a:pt x="66865" y="18669"/>
                      <a:pt x="52959" y="4763"/>
                      <a:pt x="35814" y="4763"/>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53" name="Freeform: Shape 552">
                <a:extLst>
                  <a:ext uri="{FF2B5EF4-FFF2-40B4-BE49-F238E27FC236}">
                    <a16:creationId xmlns:a16="http://schemas.microsoft.com/office/drawing/2014/main" id="{9DEFB9B8-7E00-4EA8-B92D-BC57F278854B}"/>
                  </a:ext>
                </a:extLst>
              </p:cNvPr>
              <p:cNvSpPr/>
              <p:nvPr/>
            </p:nvSpPr>
            <p:spPr>
              <a:xfrm>
                <a:off x="2531104" y="3171423"/>
                <a:ext cx="25050" cy="38862"/>
              </a:xfrm>
              <a:custGeom>
                <a:avLst/>
                <a:gdLst>
                  <a:gd name="connsiteX0" fmla="*/ 0 w 25050"/>
                  <a:gd name="connsiteY0" fmla="*/ 762 h 38862"/>
                  <a:gd name="connsiteX1" fmla="*/ 9525 w 25050"/>
                  <a:gd name="connsiteY1" fmla="*/ 0 h 38862"/>
                  <a:gd name="connsiteX2" fmla="*/ 20669 w 25050"/>
                  <a:gd name="connsiteY2" fmla="*/ 3143 h 38862"/>
                  <a:gd name="connsiteX3" fmla="*/ 23717 w 25050"/>
                  <a:gd name="connsiteY3" fmla="*/ 10477 h 38862"/>
                  <a:gd name="connsiteX4" fmla="*/ 16478 w 25050"/>
                  <a:gd name="connsiteY4" fmla="*/ 20288 h 38862"/>
                  <a:gd name="connsiteX5" fmla="*/ 16478 w 25050"/>
                  <a:gd name="connsiteY5" fmla="*/ 20479 h 38862"/>
                  <a:gd name="connsiteX6" fmla="*/ 22098 w 25050"/>
                  <a:gd name="connsiteY6" fmla="*/ 28289 h 38862"/>
                  <a:gd name="connsiteX7" fmla="*/ 25051 w 25050"/>
                  <a:gd name="connsiteY7" fmla="*/ 38862 h 38862"/>
                  <a:gd name="connsiteX8" fmla="*/ 19907 w 25050"/>
                  <a:gd name="connsiteY8" fmla="*/ 38862 h 38862"/>
                  <a:gd name="connsiteX9" fmla="*/ 17335 w 25050"/>
                  <a:gd name="connsiteY9" fmla="*/ 29623 h 38862"/>
                  <a:gd name="connsiteX10" fmla="*/ 9620 w 25050"/>
                  <a:gd name="connsiteY10" fmla="*/ 22098 h 38862"/>
                  <a:gd name="connsiteX11" fmla="*/ 4953 w 25050"/>
                  <a:gd name="connsiteY11" fmla="*/ 22098 h 38862"/>
                  <a:gd name="connsiteX12" fmla="*/ 4953 w 25050"/>
                  <a:gd name="connsiteY12" fmla="*/ 38767 h 38862"/>
                  <a:gd name="connsiteX13" fmla="*/ 0 w 25050"/>
                  <a:gd name="connsiteY13" fmla="*/ 38767 h 38862"/>
                  <a:gd name="connsiteX14" fmla="*/ 0 w 25050"/>
                  <a:gd name="connsiteY14" fmla="*/ 762 h 38862"/>
                  <a:gd name="connsiteX15" fmla="*/ 4953 w 25050"/>
                  <a:gd name="connsiteY15" fmla="*/ 18288 h 38862"/>
                  <a:gd name="connsiteX16" fmla="*/ 10001 w 25050"/>
                  <a:gd name="connsiteY16" fmla="*/ 18288 h 38862"/>
                  <a:gd name="connsiteX17" fmla="*/ 18669 w 25050"/>
                  <a:gd name="connsiteY17" fmla="*/ 10954 h 38862"/>
                  <a:gd name="connsiteX18" fmla="*/ 9811 w 25050"/>
                  <a:gd name="connsiteY18" fmla="*/ 3715 h 38862"/>
                  <a:gd name="connsiteX19" fmla="*/ 4858 w 25050"/>
                  <a:gd name="connsiteY19" fmla="*/ 4191 h 38862"/>
                  <a:gd name="connsiteX20" fmla="*/ 4858 w 25050"/>
                  <a:gd name="connsiteY20" fmla="*/ 18288 h 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050" h="38862">
                    <a:moveTo>
                      <a:pt x="0" y="762"/>
                    </a:moveTo>
                    <a:cubicBezTo>
                      <a:pt x="2476" y="286"/>
                      <a:pt x="6096" y="0"/>
                      <a:pt x="9525" y="0"/>
                    </a:cubicBezTo>
                    <a:cubicBezTo>
                      <a:pt x="14859" y="0"/>
                      <a:pt x="18288" y="952"/>
                      <a:pt x="20669" y="3143"/>
                    </a:cubicBezTo>
                    <a:cubicBezTo>
                      <a:pt x="22574" y="4858"/>
                      <a:pt x="23717" y="7525"/>
                      <a:pt x="23717" y="10477"/>
                    </a:cubicBezTo>
                    <a:cubicBezTo>
                      <a:pt x="23717" y="15526"/>
                      <a:pt x="20479" y="18955"/>
                      <a:pt x="16478" y="20288"/>
                    </a:cubicBezTo>
                    <a:lnTo>
                      <a:pt x="16478" y="20479"/>
                    </a:lnTo>
                    <a:cubicBezTo>
                      <a:pt x="19431" y="21527"/>
                      <a:pt x="21241" y="24289"/>
                      <a:pt x="22098" y="28289"/>
                    </a:cubicBezTo>
                    <a:cubicBezTo>
                      <a:pt x="23336" y="33623"/>
                      <a:pt x="24289" y="37338"/>
                      <a:pt x="25051" y="38862"/>
                    </a:cubicBezTo>
                    <a:lnTo>
                      <a:pt x="19907" y="38862"/>
                    </a:lnTo>
                    <a:cubicBezTo>
                      <a:pt x="19241" y="37814"/>
                      <a:pt x="18383" y="34481"/>
                      <a:pt x="17335" y="29623"/>
                    </a:cubicBezTo>
                    <a:cubicBezTo>
                      <a:pt x="16192" y="24289"/>
                      <a:pt x="14192" y="22289"/>
                      <a:pt x="9620" y="22098"/>
                    </a:cubicBezTo>
                    <a:lnTo>
                      <a:pt x="4953" y="22098"/>
                    </a:lnTo>
                    <a:lnTo>
                      <a:pt x="4953" y="38767"/>
                    </a:lnTo>
                    <a:lnTo>
                      <a:pt x="0" y="38767"/>
                    </a:lnTo>
                    <a:lnTo>
                      <a:pt x="0" y="762"/>
                    </a:lnTo>
                    <a:close/>
                    <a:moveTo>
                      <a:pt x="4953" y="18288"/>
                    </a:moveTo>
                    <a:lnTo>
                      <a:pt x="10001" y="18288"/>
                    </a:lnTo>
                    <a:cubicBezTo>
                      <a:pt x="15335" y="18288"/>
                      <a:pt x="18669" y="15335"/>
                      <a:pt x="18669" y="10954"/>
                    </a:cubicBezTo>
                    <a:cubicBezTo>
                      <a:pt x="18669" y="6001"/>
                      <a:pt x="15050" y="3810"/>
                      <a:pt x="9811" y="3715"/>
                    </a:cubicBezTo>
                    <a:cubicBezTo>
                      <a:pt x="7429" y="3715"/>
                      <a:pt x="5715" y="3905"/>
                      <a:pt x="4858" y="4191"/>
                    </a:cubicBezTo>
                    <a:lnTo>
                      <a:pt x="4858" y="1828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556" name="Group 555">
            <a:extLst>
              <a:ext uri="{FF2B5EF4-FFF2-40B4-BE49-F238E27FC236}">
                <a16:creationId xmlns:a16="http://schemas.microsoft.com/office/drawing/2014/main" id="{2A7F9411-48B6-45C1-990A-8CAB47749057}"/>
              </a:ext>
            </a:extLst>
          </p:cNvPr>
          <p:cNvGrpSpPr/>
          <p:nvPr userDrawn="1"/>
        </p:nvGrpSpPr>
        <p:grpSpPr>
          <a:xfrm>
            <a:off x="7970555" y="4361409"/>
            <a:ext cx="1247542" cy="242736"/>
            <a:chOff x="2981977" y="6196095"/>
            <a:chExt cx="2723291" cy="529875"/>
          </a:xfrm>
        </p:grpSpPr>
        <p:grpSp>
          <p:nvGrpSpPr>
            <p:cNvPr id="557" name="Graphic 660">
              <a:extLst>
                <a:ext uri="{FF2B5EF4-FFF2-40B4-BE49-F238E27FC236}">
                  <a16:creationId xmlns:a16="http://schemas.microsoft.com/office/drawing/2014/main" id="{9719B64C-0761-4D26-9E5C-63BD659493E3}"/>
                </a:ext>
              </a:extLst>
            </p:cNvPr>
            <p:cNvGrpSpPr/>
            <p:nvPr/>
          </p:nvGrpSpPr>
          <p:grpSpPr>
            <a:xfrm>
              <a:off x="2981977" y="6196095"/>
              <a:ext cx="2650712" cy="529875"/>
              <a:chOff x="2981977" y="6196095"/>
              <a:chExt cx="2650712" cy="529875"/>
            </a:xfrm>
            <a:solidFill>
              <a:srgbClr val="A1ABB2"/>
            </a:solidFill>
          </p:grpSpPr>
          <p:grpSp>
            <p:nvGrpSpPr>
              <p:cNvPr id="559" name="Graphic 660">
                <a:extLst>
                  <a:ext uri="{FF2B5EF4-FFF2-40B4-BE49-F238E27FC236}">
                    <a16:creationId xmlns:a16="http://schemas.microsoft.com/office/drawing/2014/main" id="{3DE92A2F-2C4A-43D2-8CF0-30A68EB1607E}"/>
                  </a:ext>
                </a:extLst>
              </p:cNvPr>
              <p:cNvGrpSpPr/>
              <p:nvPr/>
            </p:nvGrpSpPr>
            <p:grpSpPr>
              <a:xfrm>
                <a:off x="3557001" y="6238862"/>
                <a:ext cx="2075688" cy="480726"/>
                <a:chOff x="3557001" y="6238862"/>
                <a:chExt cx="2075688" cy="480726"/>
              </a:xfrm>
              <a:solidFill>
                <a:srgbClr val="A1ABB2"/>
              </a:solidFill>
            </p:grpSpPr>
            <p:sp>
              <p:nvSpPr>
                <p:cNvPr id="562" name="Freeform: Shape 561">
                  <a:extLst>
                    <a:ext uri="{FF2B5EF4-FFF2-40B4-BE49-F238E27FC236}">
                      <a16:creationId xmlns:a16="http://schemas.microsoft.com/office/drawing/2014/main" id="{8AB5DCB3-FBEF-4A39-837E-B3BCD010E140}"/>
                    </a:ext>
                  </a:extLst>
                </p:cNvPr>
                <p:cNvSpPr/>
                <p:nvPr/>
              </p:nvSpPr>
              <p:spPr>
                <a:xfrm>
                  <a:off x="3563573" y="6242481"/>
                  <a:ext cx="400240" cy="326612"/>
                </a:xfrm>
                <a:custGeom>
                  <a:avLst/>
                  <a:gdLst>
                    <a:gd name="connsiteX0" fmla="*/ 0 w 400240"/>
                    <a:gd name="connsiteY0" fmla="*/ 0 h 326612"/>
                    <a:gd name="connsiteX1" fmla="*/ 302324 w 400240"/>
                    <a:gd name="connsiteY1" fmla="*/ 0 h 326612"/>
                    <a:gd name="connsiteX2" fmla="*/ 400241 w 400240"/>
                    <a:gd name="connsiteY2" fmla="*/ 97060 h 326612"/>
                    <a:gd name="connsiteX3" fmla="*/ 400241 w 400240"/>
                    <a:gd name="connsiteY3" fmla="*/ 117824 h 326612"/>
                    <a:gd name="connsiteX4" fmla="*/ 344233 w 400240"/>
                    <a:gd name="connsiteY4" fmla="*/ 198120 h 326612"/>
                    <a:gd name="connsiteX5" fmla="*/ 344233 w 400240"/>
                    <a:gd name="connsiteY5" fmla="*/ 198977 h 326612"/>
                    <a:gd name="connsiteX6" fmla="*/ 398812 w 400240"/>
                    <a:gd name="connsiteY6" fmla="*/ 271177 h 326612"/>
                    <a:gd name="connsiteX7" fmla="*/ 398812 w 400240"/>
                    <a:gd name="connsiteY7" fmla="*/ 326612 h 326612"/>
                    <a:gd name="connsiteX8" fmla="*/ 298704 w 400240"/>
                    <a:gd name="connsiteY8" fmla="*/ 326612 h 326612"/>
                    <a:gd name="connsiteX9" fmla="*/ 298704 w 400240"/>
                    <a:gd name="connsiteY9" fmla="*/ 287369 h 326612"/>
                    <a:gd name="connsiteX10" fmla="*/ 257651 w 400240"/>
                    <a:gd name="connsiteY10" fmla="*/ 241840 h 326612"/>
                    <a:gd name="connsiteX11" fmla="*/ 100203 w 400240"/>
                    <a:gd name="connsiteY11" fmla="*/ 241840 h 326612"/>
                    <a:gd name="connsiteX12" fmla="*/ 100203 w 400240"/>
                    <a:gd name="connsiteY12" fmla="*/ 326612 h 326612"/>
                    <a:gd name="connsiteX13" fmla="*/ 0 w 400240"/>
                    <a:gd name="connsiteY13" fmla="*/ 326612 h 326612"/>
                    <a:gd name="connsiteX14" fmla="*/ 0 w 400240"/>
                    <a:gd name="connsiteY14" fmla="*/ 0 h 326612"/>
                    <a:gd name="connsiteX15" fmla="*/ 100203 w 400240"/>
                    <a:gd name="connsiteY15" fmla="*/ 160687 h 326612"/>
                    <a:gd name="connsiteX16" fmla="*/ 265843 w 400240"/>
                    <a:gd name="connsiteY16" fmla="*/ 160687 h 326612"/>
                    <a:gd name="connsiteX17" fmla="*/ 302800 w 400240"/>
                    <a:gd name="connsiteY17" fmla="*/ 126397 h 326612"/>
                    <a:gd name="connsiteX18" fmla="*/ 302800 w 400240"/>
                    <a:gd name="connsiteY18" fmla="*/ 115538 h 326612"/>
                    <a:gd name="connsiteX19" fmla="*/ 256794 w 400240"/>
                    <a:gd name="connsiteY19" fmla="*/ 81248 h 326612"/>
                    <a:gd name="connsiteX20" fmla="*/ 100203 w 400240"/>
                    <a:gd name="connsiteY20" fmla="*/ 81248 h 326612"/>
                    <a:gd name="connsiteX21" fmla="*/ 100203 w 400240"/>
                    <a:gd name="connsiteY21" fmla="*/ 160592 h 32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240" h="326612">
                      <a:moveTo>
                        <a:pt x="0" y="0"/>
                      </a:moveTo>
                      <a:lnTo>
                        <a:pt x="302324" y="0"/>
                      </a:lnTo>
                      <a:cubicBezTo>
                        <a:pt x="379476" y="0"/>
                        <a:pt x="400241" y="38386"/>
                        <a:pt x="400241" y="97060"/>
                      </a:cubicBezTo>
                      <a:lnTo>
                        <a:pt x="400241" y="117824"/>
                      </a:lnTo>
                      <a:cubicBezTo>
                        <a:pt x="400241" y="161544"/>
                        <a:pt x="390335" y="187357"/>
                        <a:pt x="344233" y="198120"/>
                      </a:cubicBezTo>
                      <a:lnTo>
                        <a:pt x="344233" y="198977"/>
                      </a:lnTo>
                      <a:cubicBezTo>
                        <a:pt x="374047" y="204407"/>
                        <a:pt x="398812" y="217456"/>
                        <a:pt x="398812" y="271177"/>
                      </a:cubicBezTo>
                      <a:lnTo>
                        <a:pt x="398812" y="326612"/>
                      </a:lnTo>
                      <a:lnTo>
                        <a:pt x="298704" y="326612"/>
                      </a:lnTo>
                      <a:lnTo>
                        <a:pt x="298704" y="287369"/>
                      </a:lnTo>
                      <a:cubicBezTo>
                        <a:pt x="298704" y="253079"/>
                        <a:pt x="288703" y="241840"/>
                        <a:pt x="257651" y="241840"/>
                      </a:cubicBezTo>
                      <a:lnTo>
                        <a:pt x="100203" y="241840"/>
                      </a:lnTo>
                      <a:lnTo>
                        <a:pt x="100203" y="326612"/>
                      </a:lnTo>
                      <a:lnTo>
                        <a:pt x="0" y="326612"/>
                      </a:lnTo>
                      <a:lnTo>
                        <a:pt x="0" y="0"/>
                      </a:lnTo>
                      <a:close/>
                      <a:moveTo>
                        <a:pt x="100203" y="160687"/>
                      </a:moveTo>
                      <a:lnTo>
                        <a:pt x="265843" y="160687"/>
                      </a:lnTo>
                      <a:cubicBezTo>
                        <a:pt x="292894" y="160687"/>
                        <a:pt x="302800" y="149828"/>
                        <a:pt x="302800" y="126397"/>
                      </a:cubicBezTo>
                      <a:lnTo>
                        <a:pt x="302800" y="115538"/>
                      </a:lnTo>
                      <a:cubicBezTo>
                        <a:pt x="302800" y="86678"/>
                        <a:pt x="288322" y="81248"/>
                        <a:pt x="256794" y="81248"/>
                      </a:cubicBezTo>
                      <a:lnTo>
                        <a:pt x="100203" y="81248"/>
                      </a:lnTo>
                      <a:lnTo>
                        <a:pt x="100203" y="16059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3" name="Freeform: Shape 562">
                  <a:extLst>
                    <a:ext uri="{FF2B5EF4-FFF2-40B4-BE49-F238E27FC236}">
                      <a16:creationId xmlns:a16="http://schemas.microsoft.com/office/drawing/2014/main" id="{961B7777-C78C-49EB-9C5C-E2208CCC8B5A}"/>
                    </a:ext>
                  </a:extLst>
                </p:cNvPr>
                <p:cNvSpPr/>
                <p:nvPr/>
              </p:nvSpPr>
              <p:spPr>
                <a:xfrm>
                  <a:off x="3987435" y="6242481"/>
                  <a:ext cx="363283" cy="326802"/>
                </a:xfrm>
                <a:custGeom>
                  <a:avLst/>
                  <a:gdLst>
                    <a:gd name="connsiteX0" fmla="*/ 0 w 363283"/>
                    <a:gd name="connsiteY0" fmla="*/ 0 h 326802"/>
                    <a:gd name="connsiteX1" fmla="*/ 357378 w 363283"/>
                    <a:gd name="connsiteY1" fmla="*/ 0 h 326802"/>
                    <a:gd name="connsiteX2" fmla="*/ 357378 w 363283"/>
                    <a:gd name="connsiteY2" fmla="*/ 75819 h 326802"/>
                    <a:gd name="connsiteX3" fmla="*/ 100203 w 363283"/>
                    <a:gd name="connsiteY3" fmla="*/ 75819 h 326802"/>
                    <a:gd name="connsiteX4" fmla="*/ 100203 w 363283"/>
                    <a:gd name="connsiteY4" fmla="*/ 128207 h 326802"/>
                    <a:gd name="connsiteX5" fmla="*/ 343853 w 363283"/>
                    <a:gd name="connsiteY5" fmla="*/ 128207 h 326802"/>
                    <a:gd name="connsiteX6" fmla="*/ 343853 w 363283"/>
                    <a:gd name="connsiteY6" fmla="*/ 195929 h 326802"/>
                    <a:gd name="connsiteX7" fmla="*/ 100203 w 363283"/>
                    <a:gd name="connsiteY7" fmla="*/ 195929 h 326802"/>
                    <a:gd name="connsiteX8" fmla="*/ 100203 w 363283"/>
                    <a:gd name="connsiteY8" fmla="*/ 248317 h 326802"/>
                    <a:gd name="connsiteX9" fmla="*/ 363284 w 363283"/>
                    <a:gd name="connsiteY9" fmla="*/ 248317 h 326802"/>
                    <a:gd name="connsiteX10" fmla="*/ 363284 w 363283"/>
                    <a:gd name="connsiteY10" fmla="*/ 326803 h 326802"/>
                    <a:gd name="connsiteX11" fmla="*/ 0 w 363283"/>
                    <a:gd name="connsiteY11" fmla="*/ 326803 h 326802"/>
                    <a:gd name="connsiteX12" fmla="*/ 0 w 363283"/>
                    <a:gd name="connsiteY12" fmla="*/ 0 h 32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283" h="326802">
                      <a:moveTo>
                        <a:pt x="0" y="0"/>
                      </a:moveTo>
                      <a:lnTo>
                        <a:pt x="357378" y="0"/>
                      </a:lnTo>
                      <a:lnTo>
                        <a:pt x="357378" y="75819"/>
                      </a:lnTo>
                      <a:lnTo>
                        <a:pt x="100203" y="75819"/>
                      </a:lnTo>
                      <a:lnTo>
                        <a:pt x="100203" y="128207"/>
                      </a:lnTo>
                      <a:lnTo>
                        <a:pt x="343853" y="128207"/>
                      </a:lnTo>
                      <a:lnTo>
                        <a:pt x="343853" y="195929"/>
                      </a:lnTo>
                      <a:lnTo>
                        <a:pt x="100203" y="195929"/>
                      </a:lnTo>
                      <a:lnTo>
                        <a:pt x="100203" y="248317"/>
                      </a:lnTo>
                      <a:lnTo>
                        <a:pt x="363284" y="248317"/>
                      </a:lnTo>
                      <a:lnTo>
                        <a:pt x="363284" y="326803"/>
                      </a:lnTo>
                      <a:lnTo>
                        <a:pt x="0" y="32680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4" name="Freeform: Shape 563">
                  <a:extLst>
                    <a:ext uri="{FF2B5EF4-FFF2-40B4-BE49-F238E27FC236}">
                      <a16:creationId xmlns:a16="http://schemas.microsoft.com/office/drawing/2014/main" id="{6E3854C4-99ED-4460-B636-FEF414480787}"/>
                    </a:ext>
                  </a:extLst>
                </p:cNvPr>
                <p:cNvSpPr/>
                <p:nvPr/>
              </p:nvSpPr>
              <p:spPr>
                <a:xfrm>
                  <a:off x="4384723" y="6242481"/>
                  <a:ext cx="325373" cy="326707"/>
                </a:xfrm>
                <a:custGeom>
                  <a:avLst/>
                  <a:gdLst>
                    <a:gd name="connsiteX0" fmla="*/ 0 w 325373"/>
                    <a:gd name="connsiteY0" fmla="*/ 0 h 326707"/>
                    <a:gd name="connsiteX1" fmla="*/ 100203 w 325373"/>
                    <a:gd name="connsiteY1" fmla="*/ 0 h 326707"/>
                    <a:gd name="connsiteX2" fmla="*/ 100203 w 325373"/>
                    <a:gd name="connsiteY2" fmla="*/ 242792 h 326707"/>
                    <a:gd name="connsiteX3" fmla="*/ 325374 w 325373"/>
                    <a:gd name="connsiteY3" fmla="*/ 242792 h 326707"/>
                    <a:gd name="connsiteX4" fmla="*/ 325374 w 325373"/>
                    <a:gd name="connsiteY4" fmla="*/ 326707 h 326707"/>
                    <a:gd name="connsiteX5" fmla="*/ 0 w 325373"/>
                    <a:gd name="connsiteY5" fmla="*/ 326707 h 326707"/>
                    <a:gd name="connsiteX6" fmla="*/ 0 w 325373"/>
                    <a:gd name="connsiteY6" fmla="*/ 0 h 32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373" h="326707">
                      <a:moveTo>
                        <a:pt x="0" y="0"/>
                      </a:moveTo>
                      <a:lnTo>
                        <a:pt x="100203" y="0"/>
                      </a:lnTo>
                      <a:lnTo>
                        <a:pt x="100203" y="242792"/>
                      </a:lnTo>
                      <a:lnTo>
                        <a:pt x="325374" y="242792"/>
                      </a:lnTo>
                      <a:lnTo>
                        <a:pt x="325374" y="326707"/>
                      </a:lnTo>
                      <a:lnTo>
                        <a:pt x="0" y="326707"/>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5" name="Freeform: Shape 564">
                  <a:extLst>
                    <a:ext uri="{FF2B5EF4-FFF2-40B4-BE49-F238E27FC236}">
                      <a16:creationId xmlns:a16="http://schemas.microsoft.com/office/drawing/2014/main" id="{91948854-7C16-48CA-BB13-C3802A4D8248}"/>
                    </a:ext>
                  </a:extLst>
                </p:cNvPr>
                <p:cNvSpPr/>
                <p:nvPr/>
              </p:nvSpPr>
              <p:spPr>
                <a:xfrm>
                  <a:off x="4724671" y="6238862"/>
                  <a:ext cx="448532" cy="333851"/>
                </a:xfrm>
                <a:custGeom>
                  <a:avLst/>
                  <a:gdLst>
                    <a:gd name="connsiteX0" fmla="*/ 0 w 448532"/>
                    <a:gd name="connsiteY0" fmla="*/ 118205 h 333851"/>
                    <a:gd name="connsiteX1" fmla="*/ 143923 w 448532"/>
                    <a:gd name="connsiteY1" fmla="*/ 0 h 333851"/>
                    <a:gd name="connsiteX2" fmla="*/ 304609 w 448532"/>
                    <a:gd name="connsiteY2" fmla="*/ 0 h 333851"/>
                    <a:gd name="connsiteX3" fmla="*/ 448532 w 448532"/>
                    <a:gd name="connsiteY3" fmla="*/ 118205 h 333851"/>
                    <a:gd name="connsiteX4" fmla="*/ 448532 w 448532"/>
                    <a:gd name="connsiteY4" fmla="*/ 215646 h 333851"/>
                    <a:gd name="connsiteX5" fmla="*/ 304609 w 448532"/>
                    <a:gd name="connsiteY5" fmla="*/ 333851 h 333851"/>
                    <a:gd name="connsiteX6" fmla="*/ 143923 w 448532"/>
                    <a:gd name="connsiteY6" fmla="*/ 333851 h 333851"/>
                    <a:gd name="connsiteX7" fmla="*/ 0 w 448532"/>
                    <a:gd name="connsiteY7" fmla="*/ 215646 h 333851"/>
                    <a:gd name="connsiteX8" fmla="*/ 0 w 448532"/>
                    <a:gd name="connsiteY8" fmla="*/ 118205 h 333851"/>
                    <a:gd name="connsiteX9" fmla="*/ 102870 w 448532"/>
                    <a:gd name="connsiteY9" fmla="*/ 184499 h 333851"/>
                    <a:gd name="connsiteX10" fmla="*/ 160115 w 448532"/>
                    <a:gd name="connsiteY10" fmla="*/ 249936 h 333851"/>
                    <a:gd name="connsiteX11" fmla="*/ 288226 w 448532"/>
                    <a:gd name="connsiteY11" fmla="*/ 249936 h 333851"/>
                    <a:gd name="connsiteX12" fmla="*/ 345567 w 448532"/>
                    <a:gd name="connsiteY12" fmla="*/ 184499 h 333851"/>
                    <a:gd name="connsiteX13" fmla="*/ 345567 w 448532"/>
                    <a:gd name="connsiteY13" fmla="*/ 149257 h 333851"/>
                    <a:gd name="connsiteX14" fmla="*/ 282797 w 448532"/>
                    <a:gd name="connsiteY14" fmla="*/ 83820 h 333851"/>
                    <a:gd name="connsiteX15" fmla="*/ 165449 w 448532"/>
                    <a:gd name="connsiteY15" fmla="*/ 83820 h 333851"/>
                    <a:gd name="connsiteX16" fmla="*/ 102775 w 448532"/>
                    <a:gd name="connsiteY16" fmla="*/ 149257 h 333851"/>
                    <a:gd name="connsiteX17" fmla="*/ 102775 w 448532"/>
                    <a:gd name="connsiteY17" fmla="*/ 184499 h 33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532" h="333851">
                      <a:moveTo>
                        <a:pt x="0" y="118205"/>
                      </a:moveTo>
                      <a:cubicBezTo>
                        <a:pt x="0" y="22574"/>
                        <a:pt x="53721" y="0"/>
                        <a:pt x="143923" y="0"/>
                      </a:cubicBezTo>
                      <a:lnTo>
                        <a:pt x="304609" y="0"/>
                      </a:lnTo>
                      <a:cubicBezTo>
                        <a:pt x="394906" y="0"/>
                        <a:pt x="448532" y="22574"/>
                        <a:pt x="448532" y="118205"/>
                      </a:cubicBezTo>
                      <a:lnTo>
                        <a:pt x="448532" y="215646"/>
                      </a:lnTo>
                      <a:cubicBezTo>
                        <a:pt x="448532" y="311277"/>
                        <a:pt x="394811" y="333851"/>
                        <a:pt x="304609" y="333851"/>
                      </a:cubicBezTo>
                      <a:lnTo>
                        <a:pt x="143923" y="333851"/>
                      </a:lnTo>
                      <a:cubicBezTo>
                        <a:pt x="53721" y="333851"/>
                        <a:pt x="0" y="311277"/>
                        <a:pt x="0" y="215646"/>
                      </a:cubicBezTo>
                      <a:lnTo>
                        <a:pt x="0" y="118205"/>
                      </a:lnTo>
                      <a:close/>
                      <a:moveTo>
                        <a:pt x="102870" y="184499"/>
                      </a:moveTo>
                      <a:cubicBezTo>
                        <a:pt x="102870" y="231934"/>
                        <a:pt x="112776" y="249936"/>
                        <a:pt x="160115" y="249936"/>
                      </a:cubicBezTo>
                      <a:lnTo>
                        <a:pt x="288226" y="249936"/>
                      </a:lnTo>
                      <a:cubicBezTo>
                        <a:pt x="335566" y="249936"/>
                        <a:pt x="345567" y="231839"/>
                        <a:pt x="345567" y="184499"/>
                      </a:cubicBezTo>
                      <a:lnTo>
                        <a:pt x="345567" y="149257"/>
                      </a:lnTo>
                      <a:cubicBezTo>
                        <a:pt x="345567" y="108680"/>
                        <a:pt x="335661" y="83820"/>
                        <a:pt x="282797" y="83820"/>
                      </a:cubicBezTo>
                      <a:lnTo>
                        <a:pt x="165449" y="83820"/>
                      </a:lnTo>
                      <a:cubicBezTo>
                        <a:pt x="112681" y="83820"/>
                        <a:pt x="102775" y="108680"/>
                        <a:pt x="102775" y="149257"/>
                      </a:cubicBezTo>
                      <a:lnTo>
                        <a:pt x="102775" y="18449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6" name="Freeform: Shape 565">
                  <a:extLst>
                    <a:ext uri="{FF2B5EF4-FFF2-40B4-BE49-F238E27FC236}">
                      <a16:creationId xmlns:a16="http://schemas.microsoft.com/office/drawing/2014/main" id="{244DD82D-A21C-47AB-845E-E261813C0CB3}"/>
                    </a:ext>
                  </a:extLst>
                </p:cNvPr>
                <p:cNvSpPr/>
                <p:nvPr/>
              </p:nvSpPr>
              <p:spPr>
                <a:xfrm>
                  <a:off x="5191110" y="6238862"/>
                  <a:ext cx="426148" cy="334041"/>
                </a:xfrm>
                <a:custGeom>
                  <a:avLst/>
                  <a:gdLst>
                    <a:gd name="connsiteX0" fmla="*/ 0 w 426148"/>
                    <a:gd name="connsiteY0" fmla="*/ 118205 h 334041"/>
                    <a:gd name="connsiteX1" fmla="*/ 143923 w 426148"/>
                    <a:gd name="connsiteY1" fmla="*/ 0 h 334041"/>
                    <a:gd name="connsiteX2" fmla="*/ 261747 w 426148"/>
                    <a:gd name="connsiteY2" fmla="*/ 0 h 334041"/>
                    <a:gd name="connsiteX3" fmla="*/ 421958 w 426148"/>
                    <a:gd name="connsiteY3" fmla="*/ 123254 h 334041"/>
                    <a:gd name="connsiteX4" fmla="*/ 321850 w 426148"/>
                    <a:gd name="connsiteY4" fmla="*/ 123254 h 334041"/>
                    <a:gd name="connsiteX5" fmla="*/ 321850 w 426148"/>
                    <a:gd name="connsiteY5" fmla="*/ 114205 h 334041"/>
                    <a:gd name="connsiteX6" fmla="*/ 274892 w 426148"/>
                    <a:gd name="connsiteY6" fmla="*/ 84011 h 334041"/>
                    <a:gd name="connsiteX7" fmla="*/ 165640 w 426148"/>
                    <a:gd name="connsiteY7" fmla="*/ 84011 h 334041"/>
                    <a:gd name="connsiteX8" fmla="*/ 102965 w 426148"/>
                    <a:gd name="connsiteY8" fmla="*/ 149447 h 334041"/>
                    <a:gd name="connsiteX9" fmla="*/ 102965 w 426148"/>
                    <a:gd name="connsiteY9" fmla="*/ 184690 h 334041"/>
                    <a:gd name="connsiteX10" fmla="*/ 160306 w 426148"/>
                    <a:gd name="connsiteY10" fmla="*/ 250127 h 334041"/>
                    <a:gd name="connsiteX11" fmla="*/ 267271 w 426148"/>
                    <a:gd name="connsiteY11" fmla="*/ 250127 h 334041"/>
                    <a:gd name="connsiteX12" fmla="*/ 325946 w 426148"/>
                    <a:gd name="connsiteY12" fmla="*/ 204978 h 334041"/>
                    <a:gd name="connsiteX13" fmla="*/ 426149 w 426148"/>
                    <a:gd name="connsiteY13" fmla="*/ 204978 h 334041"/>
                    <a:gd name="connsiteX14" fmla="*/ 426149 w 426148"/>
                    <a:gd name="connsiteY14" fmla="*/ 235649 h 334041"/>
                    <a:gd name="connsiteX15" fmla="*/ 305657 w 426148"/>
                    <a:gd name="connsiteY15" fmla="*/ 334042 h 334041"/>
                    <a:gd name="connsiteX16" fmla="*/ 144113 w 426148"/>
                    <a:gd name="connsiteY16" fmla="*/ 334042 h 334041"/>
                    <a:gd name="connsiteX17" fmla="*/ 191 w 426148"/>
                    <a:gd name="connsiteY17" fmla="*/ 215837 h 334041"/>
                    <a:gd name="connsiteX18" fmla="*/ 191 w 426148"/>
                    <a:gd name="connsiteY18" fmla="*/ 118396 h 3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148" h="334041">
                      <a:moveTo>
                        <a:pt x="0" y="118205"/>
                      </a:moveTo>
                      <a:cubicBezTo>
                        <a:pt x="0" y="22574"/>
                        <a:pt x="53626" y="0"/>
                        <a:pt x="143923" y="0"/>
                      </a:cubicBezTo>
                      <a:lnTo>
                        <a:pt x="261747" y="0"/>
                      </a:lnTo>
                      <a:cubicBezTo>
                        <a:pt x="404336" y="0"/>
                        <a:pt x="422815" y="30671"/>
                        <a:pt x="421958" y="123254"/>
                      </a:cubicBezTo>
                      <a:lnTo>
                        <a:pt x="321850" y="123254"/>
                      </a:lnTo>
                      <a:lnTo>
                        <a:pt x="321850" y="114205"/>
                      </a:lnTo>
                      <a:cubicBezTo>
                        <a:pt x="321850" y="90773"/>
                        <a:pt x="304705" y="84011"/>
                        <a:pt x="274892" y="84011"/>
                      </a:cubicBezTo>
                      <a:lnTo>
                        <a:pt x="165640" y="84011"/>
                      </a:lnTo>
                      <a:cubicBezTo>
                        <a:pt x="112871" y="84011"/>
                        <a:pt x="102965" y="108871"/>
                        <a:pt x="102965" y="149447"/>
                      </a:cubicBezTo>
                      <a:lnTo>
                        <a:pt x="102965" y="184690"/>
                      </a:lnTo>
                      <a:cubicBezTo>
                        <a:pt x="102965" y="232124"/>
                        <a:pt x="112871" y="250127"/>
                        <a:pt x="160306" y="250127"/>
                      </a:cubicBezTo>
                      <a:lnTo>
                        <a:pt x="267271" y="250127"/>
                      </a:lnTo>
                      <a:cubicBezTo>
                        <a:pt x="312420" y="250127"/>
                        <a:pt x="325946" y="245650"/>
                        <a:pt x="325946" y="204978"/>
                      </a:cubicBezTo>
                      <a:lnTo>
                        <a:pt x="426149" y="204978"/>
                      </a:lnTo>
                      <a:lnTo>
                        <a:pt x="426149" y="235649"/>
                      </a:lnTo>
                      <a:cubicBezTo>
                        <a:pt x="426149" y="290703"/>
                        <a:pt x="406337" y="334042"/>
                        <a:pt x="305657" y="334042"/>
                      </a:cubicBezTo>
                      <a:lnTo>
                        <a:pt x="144113" y="334042"/>
                      </a:lnTo>
                      <a:cubicBezTo>
                        <a:pt x="53912" y="334042"/>
                        <a:pt x="191" y="311468"/>
                        <a:pt x="191" y="215837"/>
                      </a:cubicBezTo>
                      <a:lnTo>
                        <a:pt x="191" y="11839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567" name="Graphic 660">
                  <a:extLst>
                    <a:ext uri="{FF2B5EF4-FFF2-40B4-BE49-F238E27FC236}">
                      <a16:creationId xmlns:a16="http://schemas.microsoft.com/office/drawing/2014/main" id="{DFF6390F-BD94-4F25-AB12-807E50E75ED3}"/>
                    </a:ext>
                  </a:extLst>
                </p:cNvPr>
                <p:cNvGrpSpPr/>
                <p:nvPr/>
              </p:nvGrpSpPr>
              <p:grpSpPr>
                <a:xfrm>
                  <a:off x="3557001" y="6617100"/>
                  <a:ext cx="2075688" cy="102488"/>
                  <a:chOff x="3557001" y="6617100"/>
                  <a:chExt cx="2075688" cy="102488"/>
                </a:xfrm>
                <a:solidFill>
                  <a:srgbClr val="A1ABB2"/>
                </a:solidFill>
              </p:grpSpPr>
              <p:sp>
                <p:nvSpPr>
                  <p:cNvPr id="568" name="Freeform: Shape 567">
                    <a:extLst>
                      <a:ext uri="{FF2B5EF4-FFF2-40B4-BE49-F238E27FC236}">
                        <a16:creationId xmlns:a16="http://schemas.microsoft.com/office/drawing/2014/main" id="{1F5940D3-2143-4F47-8D8D-A6A1A96129CB}"/>
                      </a:ext>
                    </a:extLst>
                  </p:cNvPr>
                  <p:cNvSpPr/>
                  <p:nvPr/>
                </p:nvSpPr>
                <p:spPr>
                  <a:xfrm>
                    <a:off x="3557001" y="6618147"/>
                    <a:ext cx="180784" cy="100012"/>
                  </a:xfrm>
                  <a:custGeom>
                    <a:avLst/>
                    <a:gdLst>
                      <a:gd name="connsiteX0" fmla="*/ 0 w 180784"/>
                      <a:gd name="connsiteY0" fmla="*/ 0 h 100012"/>
                      <a:gd name="connsiteX1" fmla="*/ 13145 w 180784"/>
                      <a:gd name="connsiteY1" fmla="*/ 0 h 100012"/>
                      <a:gd name="connsiteX2" fmla="*/ 47816 w 180784"/>
                      <a:gd name="connsiteY2" fmla="*/ 87440 h 100012"/>
                      <a:gd name="connsiteX3" fmla="*/ 81820 w 180784"/>
                      <a:gd name="connsiteY3" fmla="*/ 0 h 100012"/>
                      <a:gd name="connsiteX4" fmla="*/ 99060 w 180784"/>
                      <a:gd name="connsiteY4" fmla="*/ 0 h 100012"/>
                      <a:gd name="connsiteX5" fmla="*/ 132588 w 180784"/>
                      <a:gd name="connsiteY5" fmla="*/ 87820 h 100012"/>
                      <a:gd name="connsiteX6" fmla="*/ 167640 w 180784"/>
                      <a:gd name="connsiteY6" fmla="*/ 0 h 100012"/>
                      <a:gd name="connsiteX7" fmla="*/ 180785 w 180784"/>
                      <a:gd name="connsiteY7" fmla="*/ 0 h 100012"/>
                      <a:gd name="connsiteX8" fmla="*/ 141351 w 180784"/>
                      <a:gd name="connsiteY8" fmla="*/ 100013 h 100012"/>
                      <a:gd name="connsiteX9" fmla="*/ 124111 w 180784"/>
                      <a:gd name="connsiteY9" fmla="*/ 100013 h 100012"/>
                      <a:gd name="connsiteX10" fmla="*/ 90392 w 180784"/>
                      <a:gd name="connsiteY10" fmla="*/ 12192 h 100012"/>
                      <a:gd name="connsiteX11" fmla="*/ 56674 w 180784"/>
                      <a:gd name="connsiteY11" fmla="*/ 100013 h 100012"/>
                      <a:gd name="connsiteX12" fmla="*/ 39434 w 180784"/>
                      <a:gd name="connsiteY12" fmla="*/ 100013 h 100012"/>
                      <a:gd name="connsiteX13" fmla="*/ 0 w 180784"/>
                      <a:gd name="connsiteY13"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784" h="100012">
                        <a:moveTo>
                          <a:pt x="0" y="0"/>
                        </a:moveTo>
                        <a:lnTo>
                          <a:pt x="13145" y="0"/>
                        </a:lnTo>
                        <a:lnTo>
                          <a:pt x="47816" y="87440"/>
                        </a:lnTo>
                        <a:lnTo>
                          <a:pt x="81820" y="0"/>
                        </a:lnTo>
                        <a:lnTo>
                          <a:pt x="99060" y="0"/>
                        </a:lnTo>
                        <a:lnTo>
                          <a:pt x="132588" y="87820"/>
                        </a:lnTo>
                        <a:lnTo>
                          <a:pt x="167640" y="0"/>
                        </a:lnTo>
                        <a:lnTo>
                          <a:pt x="180785" y="0"/>
                        </a:lnTo>
                        <a:lnTo>
                          <a:pt x="141351" y="100013"/>
                        </a:lnTo>
                        <a:lnTo>
                          <a:pt x="124111" y="100013"/>
                        </a:lnTo>
                        <a:lnTo>
                          <a:pt x="90392" y="12192"/>
                        </a:lnTo>
                        <a:lnTo>
                          <a:pt x="56674" y="100013"/>
                        </a:lnTo>
                        <a:lnTo>
                          <a:pt x="39434"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9" name="Freeform: Shape 568">
                    <a:extLst>
                      <a:ext uri="{FF2B5EF4-FFF2-40B4-BE49-F238E27FC236}">
                        <a16:creationId xmlns:a16="http://schemas.microsoft.com/office/drawing/2014/main" id="{07C76497-1756-4215-9D8F-C05CCFFFE8AA}"/>
                      </a:ext>
                    </a:extLst>
                  </p:cNvPr>
                  <p:cNvSpPr/>
                  <p:nvPr/>
                </p:nvSpPr>
                <p:spPr>
                  <a:xfrm>
                    <a:off x="3765789"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0" name="Freeform: Shape 569">
                    <a:extLst>
                      <a:ext uri="{FF2B5EF4-FFF2-40B4-BE49-F238E27FC236}">
                        <a16:creationId xmlns:a16="http://schemas.microsoft.com/office/drawing/2014/main" id="{E7C7786A-8BE2-4EB7-929F-8A9BE70FDD16}"/>
                      </a:ext>
                    </a:extLst>
                  </p:cNvPr>
                  <p:cNvSpPr/>
                  <p:nvPr/>
                </p:nvSpPr>
                <p:spPr>
                  <a:xfrm>
                    <a:off x="3818748" y="6618147"/>
                    <a:ext cx="112490" cy="100012"/>
                  </a:xfrm>
                  <a:custGeom>
                    <a:avLst/>
                    <a:gdLst>
                      <a:gd name="connsiteX0" fmla="*/ 0 w 112490"/>
                      <a:gd name="connsiteY0" fmla="*/ 0 h 100012"/>
                      <a:gd name="connsiteX1" fmla="*/ 79343 w 112490"/>
                      <a:gd name="connsiteY1" fmla="*/ 0 h 100012"/>
                      <a:gd name="connsiteX2" fmla="*/ 112490 w 112490"/>
                      <a:gd name="connsiteY2" fmla="*/ 28289 h 100012"/>
                      <a:gd name="connsiteX3" fmla="*/ 112490 w 112490"/>
                      <a:gd name="connsiteY3" fmla="*/ 36481 h 100012"/>
                      <a:gd name="connsiteX4" fmla="*/ 94298 w 112490"/>
                      <a:gd name="connsiteY4" fmla="*/ 55435 h 100012"/>
                      <a:gd name="connsiteX5" fmla="*/ 94298 w 112490"/>
                      <a:gd name="connsiteY5" fmla="*/ 55721 h 100012"/>
                      <a:gd name="connsiteX6" fmla="*/ 111252 w 112490"/>
                      <a:gd name="connsiteY6" fmla="*/ 74486 h 100012"/>
                      <a:gd name="connsiteX7" fmla="*/ 111252 w 112490"/>
                      <a:gd name="connsiteY7" fmla="*/ 100013 h 100012"/>
                      <a:gd name="connsiteX8" fmla="*/ 98679 w 112490"/>
                      <a:gd name="connsiteY8" fmla="*/ 100013 h 100012"/>
                      <a:gd name="connsiteX9" fmla="*/ 98679 w 112490"/>
                      <a:gd name="connsiteY9" fmla="*/ 78010 h 100012"/>
                      <a:gd name="connsiteX10" fmla="*/ 78962 w 112490"/>
                      <a:gd name="connsiteY10" fmla="*/ 60484 h 100012"/>
                      <a:gd name="connsiteX11" fmla="*/ 13430 w 112490"/>
                      <a:gd name="connsiteY11" fmla="*/ 60484 h 100012"/>
                      <a:gd name="connsiteX12" fmla="*/ 13430 w 112490"/>
                      <a:gd name="connsiteY12" fmla="*/ 100013 h 100012"/>
                      <a:gd name="connsiteX13" fmla="*/ 0 w 112490"/>
                      <a:gd name="connsiteY13" fmla="*/ 100013 h 100012"/>
                      <a:gd name="connsiteX14" fmla="*/ 0 w 112490"/>
                      <a:gd name="connsiteY14" fmla="*/ 0 h 100012"/>
                      <a:gd name="connsiteX15" fmla="*/ 77819 w 112490"/>
                      <a:gd name="connsiteY15" fmla="*/ 49435 h 100012"/>
                      <a:gd name="connsiteX16" fmla="*/ 99060 w 112490"/>
                      <a:gd name="connsiteY16" fmla="*/ 34957 h 100012"/>
                      <a:gd name="connsiteX17" fmla="*/ 99060 w 112490"/>
                      <a:gd name="connsiteY17" fmla="*/ 25813 h 100012"/>
                      <a:gd name="connsiteX18" fmla="*/ 74486 w 112490"/>
                      <a:gd name="connsiteY18" fmla="*/ 11049 h 100012"/>
                      <a:gd name="connsiteX19" fmla="*/ 13335 w 112490"/>
                      <a:gd name="connsiteY19" fmla="*/ 11049 h 100012"/>
                      <a:gd name="connsiteX20" fmla="*/ 13335 w 112490"/>
                      <a:gd name="connsiteY20" fmla="*/ 49435 h 100012"/>
                      <a:gd name="connsiteX21" fmla="*/ 77724 w 112490"/>
                      <a:gd name="connsiteY21" fmla="*/ 49435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490" h="100012">
                        <a:moveTo>
                          <a:pt x="0" y="0"/>
                        </a:moveTo>
                        <a:lnTo>
                          <a:pt x="79343" y="0"/>
                        </a:lnTo>
                        <a:cubicBezTo>
                          <a:pt x="108014" y="0"/>
                          <a:pt x="112490" y="9525"/>
                          <a:pt x="112490" y="28289"/>
                        </a:cubicBezTo>
                        <a:lnTo>
                          <a:pt x="112490" y="36481"/>
                        </a:lnTo>
                        <a:cubicBezTo>
                          <a:pt x="112490" y="50578"/>
                          <a:pt x="104585" y="54388"/>
                          <a:pt x="94298" y="55435"/>
                        </a:cubicBezTo>
                        <a:lnTo>
                          <a:pt x="94298" y="55721"/>
                        </a:lnTo>
                        <a:cubicBezTo>
                          <a:pt x="108014" y="58198"/>
                          <a:pt x="111252" y="65437"/>
                          <a:pt x="111252" y="74486"/>
                        </a:cubicBezTo>
                        <a:lnTo>
                          <a:pt x="111252" y="100013"/>
                        </a:lnTo>
                        <a:lnTo>
                          <a:pt x="98679" y="100013"/>
                        </a:lnTo>
                        <a:lnTo>
                          <a:pt x="98679" y="78010"/>
                        </a:lnTo>
                        <a:cubicBezTo>
                          <a:pt x="98679" y="62389"/>
                          <a:pt x="91154" y="60484"/>
                          <a:pt x="78962" y="60484"/>
                        </a:cubicBezTo>
                        <a:lnTo>
                          <a:pt x="13430" y="60484"/>
                        </a:lnTo>
                        <a:lnTo>
                          <a:pt x="13430" y="100013"/>
                        </a:lnTo>
                        <a:lnTo>
                          <a:pt x="0" y="100013"/>
                        </a:lnTo>
                        <a:lnTo>
                          <a:pt x="0" y="0"/>
                        </a:lnTo>
                        <a:close/>
                        <a:moveTo>
                          <a:pt x="77819" y="49435"/>
                        </a:moveTo>
                        <a:cubicBezTo>
                          <a:pt x="92773" y="49435"/>
                          <a:pt x="99060" y="45434"/>
                          <a:pt x="99060" y="34957"/>
                        </a:cubicBezTo>
                        <a:lnTo>
                          <a:pt x="99060" y="25813"/>
                        </a:lnTo>
                        <a:cubicBezTo>
                          <a:pt x="99060" y="14668"/>
                          <a:pt x="94298" y="11049"/>
                          <a:pt x="74486" y="11049"/>
                        </a:cubicBezTo>
                        <a:lnTo>
                          <a:pt x="13335" y="11049"/>
                        </a:lnTo>
                        <a:lnTo>
                          <a:pt x="13335" y="49435"/>
                        </a:lnTo>
                        <a:lnTo>
                          <a:pt x="77724" y="494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1" name="Freeform: Shape 570">
                    <a:extLst>
                      <a:ext uri="{FF2B5EF4-FFF2-40B4-BE49-F238E27FC236}">
                        <a16:creationId xmlns:a16="http://schemas.microsoft.com/office/drawing/2014/main" id="{ADC33663-9C4B-4FCA-9491-896813C18B5F}"/>
                      </a:ext>
                    </a:extLst>
                  </p:cNvPr>
                  <p:cNvSpPr/>
                  <p:nvPr/>
                </p:nvSpPr>
                <p:spPr>
                  <a:xfrm>
                    <a:off x="3968766"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2" name="Freeform: Shape 571">
                    <a:extLst>
                      <a:ext uri="{FF2B5EF4-FFF2-40B4-BE49-F238E27FC236}">
                        <a16:creationId xmlns:a16="http://schemas.microsoft.com/office/drawing/2014/main" id="{519E8056-954B-48E9-8778-782B14855559}"/>
                      </a:ext>
                    </a:extLst>
                  </p:cNvPr>
                  <p:cNvSpPr/>
                  <p:nvPr/>
                </p:nvSpPr>
                <p:spPr>
                  <a:xfrm>
                    <a:off x="4021821" y="6618147"/>
                    <a:ext cx="124301" cy="100012"/>
                  </a:xfrm>
                  <a:custGeom>
                    <a:avLst/>
                    <a:gdLst>
                      <a:gd name="connsiteX0" fmla="*/ 0 w 124301"/>
                      <a:gd name="connsiteY0" fmla="*/ 0 h 100012"/>
                      <a:gd name="connsiteX1" fmla="*/ 20002 w 124301"/>
                      <a:gd name="connsiteY1" fmla="*/ 0 h 100012"/>
                      <a:gd name="connsiteX2" fmla="*/ 110871 w 124301"/>
                      <a:gd name="connsiteY2" fmla="*/ 87820 h 100012"/>
                      <a:gd name="connsiteX3" fmla="*/ 110871 w 124301"/>
                      <a:gd name="connsiteY3" fmla="*/ 0 h 100012"/>
                      <a:gd name="connsiteX4" fmla="*/ 124301 w 124301"/>
                      <a:gd name="connsiteY4" fmla="*/ 0 h 100012"/>
                      <a:gd name="connsiteX5" fmla="*/ 124301 w 124301"/>
                      <a:gd name="connsiteY5" fmla="*/ 100013 h 100012"/>
                      <a:gd name="connsiteX6" fmla="*/ 104299 w 124301"/>
                      <a:gd name="connsiteY6" fmla="*/ 100013 h 100012"/>
                      <a:gd name="connsiteX7" fmla="*/ 13430 w 124301"/>
                      <a:gd name="connsiteY7" fmla="*/ 12192 h 100012"/>
                      <a:gd name="connsiteX8" fmla="*/ 13430 w 124301"/>
                      <a:gd name="connsiteY8" fmla="*/ 100013 h 100012"/>
                      <a:gd name="connsiteX9" fmla="*/ 0 w 124301"/>
                      <a:gd name="connsiteY9" fmla="*/ 100013 h 100012"/>
                      <a:gd name="connsiteX10" fmla="*/ 0 w 124301"/>
                      <a:gd name="connsiteY10"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1" h="100012">
                        <a:moveTo>
                          <a:pt x="0" y="0"/>
                        </a:moveTo>
                        <a:lnTo>
                          <a:pt x="20002" y="0"/>
                        </a:lnTo>
                        <a:lnTo>
                          <a:pt x="110871" y="87820"/>
                        </a:lnTo>
                        <a:lnTo>
                          <a:pt x="110871" y="0"/>
                        </a:lnTo>
                        <a:lnTo>
                          <a:pt x="124301" y="0"/>
                        </a:lnTo>
                        <a:lnTo>
                          <a:pt x="124301" y="100013"/>
                        </a:lnTo>
                        <a:lnTo>
                          <a:pt x="104299" y="100013"/>
                        </a:lnTo>
                        <a:lnTo>
                          <a:pt x="13430" y="12192"/>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3" name="Freeform: Shape 572">
                    <a:extLst>
                      <a:ext uri="{FF2B5EF4-FFF2-40B4-BE49-F238E27FC236}">
                        <a16:creationId xmlns:a16="http://schemas.microsoft.com/office/drawing/2014/main" id="{0FDB315D-1A63-460F-BD91-CFDF789316CA}"/>
                      </a:ext>
                    </a:extLst>
                  </p:cNvPr>
                  <p:cNvSpPr/>
                  <p:nvPr/>
                </p:nvSpPr>
                <p:spPr>
                  <a:xfrm>
                    <a:off x="4182603" y="6617100"/>
                    <a:ext cx="124396" cy="102203"/>
                  </a:xfrm>
                  <a:custGeom>
                    <a:avLst/>
                    <a:gdLst>
                      <a:gd name="connsiteX0" fmla="*/ 124206 w 124396"/>
                      <a:gd name="connsiteY0" fmla="*/ 65342 h 102203"/>
                      <a:gd name="connsiteX1" fmla="*/ 90678 w 124396"/>
                      <a:gd name="connsiteY1" fmla="*/ 102203 h 102203"/>
                      <a:gd name="connsiteX2" fmla="*/ 35338 w 124396"/>
                      <a:gd name="connsiteY2" fmla="*/ 102203 h 102203"/>
                      <a:gd name="connsiteX3" fmla="*/ 0 w 124396"/>
                      <a:gd name="connsiteY3" fmla="*/ 64770 h 102203"/>
                      <a:gd name="connsiteX4" fmla="*/ 0 w 124396"/>
                      <a:gd name="connsiteY4" fmla="*/ 37433 h 102203"/>
                      <a:gd name="connsiteX5" fmla="*/ 35338 w 124396"/>
                      <a:gd name="connsiteY5" fmla="*/ 0 h 102203"/>
                      <a:gd name="connsiteX6" fmla="*/ 86011 w 124396"/>
                      <a:gd name="connsiteY6" fmla="*/ 0 h 102203"/>
                      <a:gd name="connsiteX7" fmla="*/ 122872 w 124396"/>
                      <a:gd name="connsiteY7" fmla="*/ 27527 h 102203"/>
                      <a:gd name="connsiteX8" fmla="*/ 122872 w 124396"/>
                      <a:gd name="connsiteY8" fmla="*/ 31147 h 102203"/>
                      <a:gd name="connsiteX9" fmla="*/ 110300 w 124396"/>
                      <a:gd name="connsiteY9" fmla="*/ 31147 h 102203"/>
                      <a:gd name="connsiteX10" fmla="*/ 71533 w 124396"/>
                      <a:gd name="connsiteY10" fmla="*/ 11144 h 102203"/>
                      <a:gd name="connsiteX11" fmla="*/ 36767 w 124396"/>
                      <a:gd name="connsiteY11" fmla="*/ 11144 h 102203"/>
                      <a:gd name="connsiteX12" fmla="*/ 13430 w 124396"/>
                      <a:gd name="connsiteY12" fmla="*/ 32385 h 102203"/>
                      <a:gd name="connsiteX13" fmla="*/ 13430 w 124396"/>
                      <a:gd name="connsiteY13" fmla="*/ 70009 h 102203"/>
                      <a:gd name="connsiteX14" fmla="*/ 36767 w 124396"/>
                      <a:gd name="connsiteY14" fmla="*/ 91345 h 102203"/>
                      <a:gd name="connsiteX15" fmla="*/ 89249 w 124396"/>
                      <a:gd name="connsiteY15" fmla="*/ 91345 h 102203"/>
                      <a:gd name="connsiteX16" fmla="*/ 110871 w 124396"/>
                      <a:gd name="connsiteY16" fmla="*/ 72866 h 102203"/>
                      <a:gd name="connsiteX17" fmla="*/ 110871 w 124396"/>
                      <a:gd name="connsiteY17" fmla="*/ 62770 h 102203"/>
                      <a:gd name="connsiteX18" fmla="*/ 60103 w 124396"/>
                      <a:gd name="connsiteY18" fmla="*/ 62770 h 102203"/>
                      <a:gd name="connsiteX19" fmla="*/ 60103 w 124396"/>
                      <a:gd name="connsiteY19" fmla="*/ 51721 h 102203"/>
                      <a:gd name="connsiteX20" fmla="*/ 124396 w 124396"/>
                      <a:gd name="connsiteY20" fmla="*/ 51721 h 102203"/>
                      <a:gd name="connsiteX21" fmla="*/ 124396 w 124396"/>
                      <a:gd name="connsiteY21" fmla="*/ 65532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396" h="102203">
                        <a:moveTo>
                          <a:pt x="124206" y="65342"/>
                        </a:moveTo>
                        <a:cubicBezTo>
                          <a:pt x="124206" y="92583"/>
                          <a:pt x="115443" y="102203"/>
                          <a:pt x="90678" y="102203"/>
                        </a:cubicBezTo>
                        <a:lnTo>
                          <a:pt x="35338" y="102203"/>
                        </a:lnTo>
                        <a:cubicBezTo>
                          <a:pt x="8477" y="102203"/>
                          <a:pt x="0" y="90106"/>
                          <a:pt x="0" y="64770"/>
                        </a:cubicBezTo>
                        <a:lnTo>
                          <a:pt x="0" y="37433"/>
                        </a:lnTo>
                        <a:cubicBezTo>
                          <a:pt x="0" y="12192"/>
                          <a:pt x="8477" y="0"/>
                          <a:pt x="35338" y="0"/>
                        </a:cubicBezTo>
                        <a:lnTo>
                          <a:pt x="86011" y="0"/>
                        </a:lnTo>
                        <a:cubicBezTo>
                          <a:pt x="103822" y="0"/>
                          <a:pt x="122872" y="4381"/>
                          <a:pt x="122872" y="27527"/>
                        </a:cubicBezTo>
                        <a:lnTo>
                          <a:pt x="122872" y="31147"/>
                        </a:lnTo>
                        <a:lnTo>
                          <a:pt x="110300" y="31147"/>
                        </a:lnTo>
                        <a:cubicBezTo>
                          <a:pt x="110300" y="12478"/>
                          <a:pt x="104680" y="11144"/>
                          <a:pt x="71533" y="11144"/>
                        </a:cubicBezTo>
                        <a:lnTo>
                          <a:pt x="36767" y="11144"/>
                        </a:lnTo>
                        <a:cubicBezTo>
                          <a:pt x="23908" y="11144"/>
                          <a:pt x="13430" y="15049"/>
                          <a:pt x="13430" y="32385"/>
                        </a:cubicBezTo>
                        <a:lnTo>
                          <a:pt x="13430" y="70009"/>
                        </a:lnTo>
                        <a:cubicBezTo>
                          <a:pt x="13430" y="87440"/>
                          <a:pt x="23813" y="91345"/>
                          <a:pt x="36767" y="91345"/>
                        </a:cubicBezTo>
                        <a:lnTo>
                          <a:pt x="89249" y="91345"/>
                        </a:lnTo>
                        <a:cubicBezTo>
                          <a:pt x="102679" y="91345"/>
                          <a:pt x="110871" y="86677"/>
                          <a:pt x="110871" y="72866"/>
                        </a:cubicBezTo>
                        <a:lnTo>
                          <a:pt x="110871" y="62770"/>
                        </a:lnTo>
                        <a:lnTo>
                          <a:pt x="60103" y="62770"/>
                        </a:lnTo>
                        <a:lnTo>
                          <a:pt x="60103" y="51721"/>
                        </a:lnTo>
                        <a:lnTo>
                          <a:pt x="124396" y="51721"/>
                        </a:lnTo>
                        <a:lnTo>
                          <a:pt x="124396" y="655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4" name="Freeform: Shape 573">
                    <a:extLst>
                      <a:ext uri="{FF2B5EF4-FFF2-40B4-BE49-F238E27FC236}">
                        <a16:creationId xmlns:a16="http://schemas.microsoft.com/office/drawing/2014/main" id="{F4F08DC6-08AE-44CD-A963-3390BBEA0890}"/>
                      </a:ext>
                    </a:extLst>
                  </p:cNvPr>
                  <p:cNvSpPr/>
                  <p:nvPr/>
                </p:nvSpPr>
                <p:spPr>
                  <a:xfrm>
                    <a:off x="4421204" y="6617290"/>
                    <a:ext cx="114109" cy="102298"/>
                  </a:xfrm>
                  <a:custGeom>
                    <a:avLst/>
                    <a:gdLst>
                      <a:gd name="connsiteX0" fmla="*/ 95 w 114109"/>
                      <a:gd name="connsiteY0" fmla="*/ 69437 h 102298"/>
                      <a:gd name="connsiteX1" fmla="*/ 12668 w 114109"/>
                      <a:gd name="connsiteY1" fmla="*/ 69437 h 102298"/>
                      <a:gd name="connsiteX2" fmla="*/ 12668 w 114109"/>
                      <a:gd name="connsiteY2" fmla="*/ 76486 h 102298"/>
                      <a:gd name="connsiteX3" fmla="*/ 34576 w 114109"/>
                      <a:gd name="connsiteY3" fmla="*/ 91059 h 102298"/>
                      <a:gd name="connsiteX4" fmla="*/ 76200 w 114109"/>
                      <a:gd name="connsiteY4" fmla="*/ 91059 h 102298"/>
                      <a:gd name="connsiteX5" fmla="*/ 101441 w 114109"/>
                      <a:gd name="connsiteY5" fmla="*/ 72580 h 102298"/>
                      <a:gd name="connsiteX6" fmla="*/ 79819 w 114109"/>
                      <a:gd name="connsiteY6" fmla="*/ 56864 h 102298"/>
                      <a:gd name="connsiteX7" fmla="*/ 54388 w 114109"/>
                      <a:gd name="connsiteY7" fmla="*/ 56864 h 102298"/>
                      <a:gd name="connsiteX8" fmla="*/ 0 w 114109"/>
                      <a:gd name="connsiteY8" fmla="*/ 27908 h 102298"/>
                      <a:gd name="connsiteX9" fmla="*/ 41053 w 114109"/>
                      <a:gd name="connsiteY9" fmla="*/ 0 h 102298"/>
                      <a:gd name="connsiteX10" fmla="*/ 70009 w 114109"/>
                      <a:gd name="connsiteY10" fmla="*/ 0 h 102298"/>
                      <a:gd name="connsiteX11" fmla="*/ 111633 w 114109"/>
                      <a:gd name="connsiteY11" fmla="*/ 26384 h 102298"/>
                      <a:gd name="connsiteX12" fmla="*/ 111633 w 114109"/>
                      <a:gd name="connsiteY12" fmla="*/ 29908 h 102298"/>
                      <a:gd name="connsiteX13" fmla="*/ 99060 w 114109"/>
                      <a:gd name="connsiteY13" fmla="*/ 29908 h 102298"/>
                      <a:gd name="connsiteX14" fmla="*/ 61913 w 114109"/>
                      <a:gd name="connsiteY14" fmla="*/ 11144 h 102298"/>
                      <a:gd name="connsiteX15" fmla="*/ 47625 w 114109"/>
                      <a:gd name="connsiteY15" fmla="*/ 11144 h 102298"/>
                      <a:gd name="connsiteX16" fmla="*/ 12573 w 114109"/>
                      <a:gd name="connsiteY16" fmla="*/ 28956 h 102298"/>
                      <a:gd name="connsiteX17" fmla="*/ 37243 w 114109"/>
                      <a:gd name="connsiteY17" fmla="*/ 44863 h 102298"/>
                      <a:gd name="connsiteX18" fmla="*/ 76962 w 114109"/>
                      <a:gd name="connsiteY18" fmla="*/ 44863 h 102298"/>
                      <a:gd name="connsiteX19" fmla="*/ 114109 w 114109"/>
                      <a:gd name="connsiteY19" fmla="*/ 69437 h 102298"/>
                      <a:gd name="connsiteX20" fmla="*/ 114109 w 114109"/>
                      <a:gd name="connsiteY20" fmla="*/ 75914 h 102298"/>
                      <a:gd name="connsiteX21" fmla="*/ 74200 w 114109"/>
                      <a:gd name="connsiteY21" fmla="*/ 102298 h 102298"/>
                      <a:gd name="connsiteX22" fmla="*/ 36957 w 114109"/>
                      <a:gd name="connsiteY22" fmla="*/ 102298 h 102298"/>
                      <a:gd name="connsiteX23" fmla="*/ 95 w 114109"/>
                      <a:gd name="connsiteY23" fmla="*/ 77057 h 102298"/>
                      <a:gd name="connsiteX24" fmla="*/ 95 w 114109"/>
                      <a:gd name="connsiteY24" fmla="*/ 69723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109" h="102298">
                        <a:moveTo>
                          <a:pt x="95" y="69437"/>
                        </a:moveTo>
                        <a:lnTo>
                          <a:pt x="12668" y="69437"/>
                        </a:lnTo>
                        <a:lnTo>
                          <a:pt x="12668" y="76486"/>
                        </a:lnTo>
                        <a:cubicBezTo>
                          <a:pt x="12668" y="86296"/>
                          <a:pt x="17907" y="91059"/>
                          <a:pt x="34576" y="91059"/>
                        </a:cubicBezTo>
                        <a:lnTo>
                          <a:pt x="76200" y="91059"/>
                        </a:lnTo>
                        <a:cubicBezTo>
                          <a:pt x="95631" y="91059"/>
                          <a:pt x="101441" y="86868"/>
                          <a:pt x="101441" y="72580"/>
                        </a:cubicBezTo>
                        <a:cubicBezTo>
                          <a:pt x="101441" y="60007"/>
                          <a:pt x="96488" y="56864"/>
                          <a:pt x="79819" y="56864"/>
                        </a:cubicBezTo>
                        <a:lnTo>
                          <a:pt x="54388" y="56864"/>
                        </a:lnTo>
                        <a:cubicBezTo>
                          <a:pt x="13430" y="56864"/>
                          <a:pt x="0" y="54388"/>
                          <a:pt x="0" y="27908"/>
                        </a:cubicBezTo>
                        <a:cubicBezTo>
                          <a:pt x="0" y="5143"/>
                          <a:pt x="13430" y="0"/>
                          <a:pt x="41053" y="0"/>
                        </a:cubicBezTo>
                        <a:lnTo>
                          <a:pt x="70009" y="0"/>
                        </a:lnTo>
                        <a:cubicBezTo>
                          <a:pt x="103251" y="0"/>
                          <a:pt x="111633" y="8572"/>
                          <a:pt x="111633" y="26384"/>
                        </a:cubicBezTo>
                        <a:lnTo>
                          <a:pt x="111633" y="29908"/>
                        </a:lnTo>
                        <a:lnTo>
                          <a:pt x="99060" y="29908"/>
                        </a:lnTo>
                        <a:cubicBezTo>
                          <a:pt x="98774" y="14002"/>
                          <a:pt x="97155" y="11144"/>
                          <a:pt x="61913" y="11144"/>
                        </a:cubicBezTo>
                        <a:lnTo>
                          <a:pt x="47625" y="11144"/>
                        </a:lnTo>
                        <a:cubicBezTo>
                          <a:pt x="21717" y="11144"/>
                          <a:pt x="12573" y="12478"/>
                          <a:pt x="12573" y="28956"/>
                        </a:cubicBezTo>
                        <a:cubicBezTo>
                          <a:pt x="12573" y="40862"/>
                          <a:pt x="16288" y="44863"/>
                          <a:pt x="37243" y="44863"/>
                        </a:cubicBezTo>
                        <a:lnTo>
                          <a:pt x="76962" y="44863"/>
                        </a:lnTo>
                        <a:cubicBezTo>
                          <a:pt x="103156" y="44863"/>
                          <a:pt x="114109" y="52483"/>
                          <a:pt x="114109" y="69437"/>
                        </a:cubicBezTo>
                        <a:lnTo>
                          <a:pt x="114109" y="75914"/>
                        </a:lnTo>
                        <a:cubicBezTo>
                          <a:pt x="114109" y="100489"/>
                          <a:pt x="94107" y="102298"/>
                          <a:pt x="74200" y="102298"/>
                        </a:cubicBezTo>
                        <a:lnTo>
                          <a:pt x="36957" y="102298"/>
                        </a:lnTo>
                        <a:cubicBezTo>
                          <a:pt x="17335" y="102298"/>
                          <a:pt x="95" y="98869"/>
                          <a:pt x="95" y="77057"/>
                        </a:cubicBezTo>
                        <a:lnTo>
                          <a:pt x="95" y="6972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5" name="Freeform: Shape 574">
                    <a:extLst>
                      <a:ext uri="{FF2B5EF4-FFF2-40B4-BE49-F238E27FC236}">
                        <a16:creationId xmlns:a16="http://schemas.microsoft.com/office/drawing/2014/main" id="{BE0A17D4-19BC-4157-8E6A-6D0AA2CEB39C}"/>
                      </a:ext>
                    </a:extLst>
                  </p:cNvPr>
                  <p:cNvSpPr/>
                  <p:nvPr/>
                </p:nvSpPr>
                <p:spPr>
                  <a:xfrm>
                    <a:off x="4569985" y="6617100"/>
                    <a:ext cx="127825" cy="102203"/>
                  </a:xfrm>
                  <a:custGeom>
                    <a:avLst/>
                    <a:gdLst>
                      <a:gd name="connsiteX0" fmla="*/ 0 w 127825"/>
                      <a:gd name="connsiteY0" fmla="*/ 37433 h 102203"/>
                      <a:gd name="connsiteX1" fmla="*/ 35338 w 127825"/>
                      <a:gd name="connsiteY1" fmla="*/ 0 h 102203"/>
                      <a:gd name="connsiteX2" fmla="*/ 92488 w 127825"/>
                      <a:gd name="connsiteY2" fmla="*/ 0 h 102203"/>
                      <a:gd name="connsiteX3" fmla="*/ 127825 w 127825"/>
                      <a:gd name="connsiteY3" fmla="*/ 37433 h 102203"/>
                      <a:gd name="connsiteX4" fmla="*/ 127825 w 127825"/>
                      <a:gd name="connsiteY4" fmla="*/ 64770 h 102203"/>
                      <a:gd name="connsiteX5" fmla="*/ 92488 w 127825"/>
                      <a:gd name="connsiteY5" fmla="*/ 102203 h 102203"/>
                      <a:gd name="connsiteX6" fmla="*/ 35338 w 127825"/>
                      <a:gd name="connsiteY6" fmla="*/ 102203 h 102203"/>
                      <a:gd name="connsiteX7" fmla="*/ 0 w 127825"/>
                      <a:gd name="connsiteY7" fmla="*/ 64770 h 102203"/>
                      <a:gd name="connsiteX8" fmla="*/ 0 w 127825"/>
                      <a:gd name="connsiteY8" fmla="*/ 37433 h 102203"/>
                      <a:gd name="connsiteX9" fmla="*/ 114395 w 127825"/>
                      <a:gd name="connsiteY9" fmla="*/ 32290 h 102203"/>
                      <a:gd name="connsiteX10" fmla="*/ 91059 w 127825"/>
                      <a:gd name="connsiteY10" fmla="*/ 11049 h 102203"/>
                      <a:gd name="connsiteX11" fmla="*/ 36671 w 127825"/>
                      <a:gd name="connsiteY11" fmla="*/ 11049 h 102203"/>
                      <a:gd name="connsiteX12" fmla="*/ 13335 w 127825"/>
                      <a:gd name="connsiteY12" fmla="*/ 32290 h 102203"/>
                      <a:gd name="connsiteX13" fmla="*/ 13335 w 127825"/>
                      <a:gd name="connsiteY13" fmla="*/ 69914 h 102203"/>
                      <a:gd name="connsiteX14" fmla="*/ 36671 w 127825"/>
                      <a:gd name="connsiteY14" fmla="*/ 91249 h 102203"/>
                      <a:gd name="connsiteX15" fmla="*/ 91059 w 127825"/>
                      <a:gd name="connsiteY15" fmla="*/ 91249 h 102203"/>
                      <a:gd name="connsiteX16" fmla="*/ 114395 w 127825"/>
                      <a:gd name="connsiteY16" fmla="*/ 69914 h 102203"/>
                      <a:gd name="connsiteX17" fmla="*/ 114395 w 127825"/>
                      <a:gd name="connsiteY17" fmla="*/ 32290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825" h="102203">
                        <a:moveTo>
                          <a:pt x="0" y="37433"/>
                        </a:moveTo>
                        <a:cubicBezTo>
                          <a:pt x="0" y="12192"/>
                          <a:pt x="8477" y="0"/>
                          <a:pt x="35338" y="0"/>
                        </a:cubicBezTo>
                        <a:lnTo>
                          <a:pt x="92488" y="0"/>
                        </a:lnTo>
                        <a:cubicBezTo>
                          <a:pt x="119348" y="0"/>
                          <a:pt x="127825" y="12192"/>
                          <a:pt x="127825" y="37433"/>
                        </a:cubicBezTo>
                        <a:lnTo>
                          <a:pt x="127825" y="64770"/>
                        </a:lnTo>
                        <a:cubicBezTo>
                          <a:pt x="127825" y="90106"/>
                          <a:pt x="119348" y="102203"/>
                          <a:pt x="92488" y="102203"/>
                        </a:cubicBezTo>
                        <a:lnTo>
                          <a:pt x="35338" y="102203"/>
                        </a:lnTo>
                        <a:cubicBezTo>
                          <a:pt x="8477" y="102203"/>
                          <a:pt x="0" y="90106"/>
                          <a:pt x="0" y="64770"/>
                        </a:cubicBezTo>
                        <a:lnTo>
                          <a:pt x="0" y="37433"/>
                        </a:lnTo>
                        <a:close/>
                        <a:moveTo>
                          <a:pt x="114395" y="32290"/>
                        </a:moveTo>
                        <a:cubicBezTo>
                          <a:pt x="114395" y="14859"/>
                          <a:pt x="104013" y="11049"/>
                          <a:pt x="91059" y="11049"/>
                        </a:cubicBezTo>
                        <a:lnTo>
                          <a:pt x="36671" y="11049"/>
                        </a:lnTo>
                        <a:cubicBezTo>
                          <a:pt x="23813" y="11049"/>
                          <a:pt x="13335" y="14954"/>
                          <a:pt x="13335" y="32290"/>
                        </a:cubicBezTo>
                        <a:lnTo>
                          <a:pt x="13335" y="69914"/>
                        </a:lnTo>
                        <a:cubicBezTo>
                          <a:pt x="13335" y="87344"/>
                          <a:pt x="23717" y="91249"/>
                          <a:pt x="36671" y="91249"/>
                        </a:cubicBezTo>
                        <a:lnTo>
                          <a:pt x="91059" y="91249"/>
                        </a:lnTo>
                        <a:cubicBezTo>
                          <a:pt x="103918" y="91249"/>
                          <a:pt x="114395" y="87344"/>
                          <a:pt x="114395" y="69914"/>
                        </a:cubicBezTo>
                        <a:lnTo>
                          <a:pt x="114395" y="322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6" name="Freeform: Shape 575">
                    <a:extLst>
                      <a:ext uri="{FF2B5EF4-FFF2-40B4-BE49-F238E27FC236}">
                        <a16:creationId xmlns:a16="http://schemas.microsoft.com/office/drawing/2014/main" id="{1014F5BC-2E5B-4723-B18E-7242D3957E7E}"/>
                      </a:ext>
                    </a:extLst>
                  </p:cNvPr>
                  <p:cNvSpPr/>
                  <p:nvPr/>
                </p:nvSpPr>
                <p:spPr>
                  <a:xfrm>
                    <a:off x="4735148" y="6618147"/>
                    <a:ext cx="90392" cy="100012"/>
                  </a:xfrm>
                  <a:custGeom>
                    <a:avLst/>
                    <a:gdLst>
                      <a:gd name="connsiteX0" fmla="*/ 0 w 90392"/>
                      <a:gd name="connsiteY0" fmla="*/ 0 h 100012"/>
                      <a:gd name="connsiteX1" fmla="*/ 13430 w 90392"/>
                      <a:gd name="connsiteY1" fmla="*/ 0 h 100012"/>
                      <a:gd name="connsiteX2" fmla="*/ 13430 w 90392"/>
                      <a:gd name="connsiteY2" fmla="*/ 88964 h 100012"/>
                      <a:gd name="connsiteX3" fmla="*/ 90392 w 90392"/>
                      <a:gd name="connsiteY3" fmla="*/ 88964 h 100012"/>
                      <a:gd name="connsiteX4" fmla="*/ 90392 w 90392"/>
                      <a:gd name="connsiteY4" fmla="*/ 100013 h 100012"/>
                      <a:gd name="connsiteX5" fmla="*/ 0 w 90392"/>
                      <a:gd name="connsiteY5" fmla="*/ 100013 h 100012"/>
                      <a:gd name="connsiteX6" fmla="*/ 0 w 90392"/>
                      <a:gd name="connsiteY6"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92" h="100012">
                        <a:moveTo>
                          <a:pt x="0" y="0"/>
                        </a:moveTo>
                        <a:lnTo>
                          <a:pt x="13430" y="0"/>
                        </a:lnTo>
                        <a:lnTo>
                          <a:pt x="13430" y="88964"/>
                        </a:lnTo>
                        <a:lnTo>
                          <a:pt x="90392" y="88964"/>
                        </a:lnTo>
                        <a:lnTo>
                          <a:pt x="90392"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7" name="Freeform: Shape 576">
                    <a:extLst>
                      <a:ext uri="{FF2B5EF4-FFF2-40B4-BE49-F238E27FC236}">
                        <a16:creationId xmlns:a16="http://schemas.microsoft.com/office/drawing/2014/main" id="{811855A4-1500-4B82-AC95-543A60034E53}"/>
                      </a:ext>
                    </a:extLst>
                  </p:cNvPr>
                  <p:cNvSpPr/>
                  <p:nvPr/>
                </p:nvSpPr>
                <p:spPr>
                  <a:xfrm>
                    <a:off x="4853544" y="6618147"/>
                    <a:ext cx="116490" cy="101060"/>
                  </a:xfrm>
                  <a:custGeom>
                    <a:avLst/>
                    <a:gdLst>
                      <a:gd name="connsiteX0" fmla="*/ 0 w 116490"/>
                      <a:gd name="connsiteY0" fmla="*/ 0 h 101060"/>
                      <a:gd name="connsiteX1" fmla="*/ 13430 w 116490"/>
                      <a:gd name="connsiteY1" fmla="*/ 0 h 101060"/>
                      <a:gd name="connsiteX2" fmla="*/ 13430 w 116490"/>
                      <a:gd name="connsiteY2" fmla="*/ 74771 h 101060"/>
                      <a:gd name="connsiteX3" fmla="*/ 34957 w 116490"/>
                      <a:gd name="connsiteY3" fmla="*/ 90106 h 101060"/>
                      <a:gd name="connsiteX4" fmla="*/ 81534 w 116490"/>
                      <a:gd name="connsiteY4" fmla="*/ 90106 h 101060"/>
                      <a:gd name="connsiteX5" fmla="*/ 103060 w 116490"/>
                      <a:gd name="connsiteY5" fmla="*/ 74771 h 101060"/>
                      <a:gd name="connsiteX6" fmla="*/ 103060 w 116490"/>
                      <a:gd name="connsiteY6" fmla="*/ 0 h 101060"/>
                      <a:gd name="connsiteX7" fmla="*/ 116491 w 116490"/>
                      <a:gd name="connsiteY7" fmla="*/ 0 h 101060"/>
                      <a:gd name="connsiteX8" fmla="*/ 116491 w 116490"/>
                      <a:gd name="connsiteY8" fmla="*/ 74866 h 101060"/>
                      <a:gd name="connsiteX9" fmla="*/ 81153 w 116490"/>
                      <a:gd name="connsiteY9" fmla="*/ 101060 h 101060"/>
                      <a:gd name="connsiteX10" fmla="*/ 35433 w 116490"/>
                      <a:gd name="connsiteY10" fmla="*/ 101060 h 101060"/>
                      <a:gd name="connsiteX11" fmla="*/ 95 w 116490"/>
                      <a:gd name="connsiteY11" fmla="*/ 74866 h 101060"/>
                      <a:gd name="connsiteX12" fmla="*/ 95 w 116490"/>
                      <a:gd name="connsiteY12" fmla="*/ 0 h 10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490" h="101060">
                        <a:moveTo>
                          <a:pt x="0" y="0"/>
                        </a:moveTo>
                        <a:lnTo>
                          <a:pt x="13430" y="0"/>
                        </a:lnTo>
                        <a:lnTo>
                          <a:pt x="13430" y="74771"/>
                        </a:lnTo>
                        <a:cubicBezTo>
                          <a:pt x="13430" y="84391"/>
                          <a:pt x="16669" y="90106"/>
                          <a:pt x="34957" y="90106"/>
                        </a:cubicBezTo>
                        <a:lnTo>
                          <a:pt x="81534" y="90106"/>
                        </a:lnTo>
                        <a:cubicBezTo>
                          <a:pt x="99822" y="90106"/>
                          <a:pt x="103060" y="84391"/>
                          <a:pt x="103060" y="74771"/>
                        </a:cubicBezTo>
                        <a:lnTo>
                          <a:pt x="103060" y="0"/>
                        </a:lnTo>
                        <a:lnTo>
                          <a:pt x="116491" y="0"/>
                        </a:lnTo>
                        <a:lnTo>
                          <a:pt x="116491" y="74866"/>
                        </a:lnTo>
                        <a:cubicBezTo>
                          <a:pt x="116491" y="95155"/>
                          <a:pt x="106394" y="101060"/>
                          <a:pt x="81153" y="101060"/>
                        </a:cubicBezTo>
                        <a:lnTo>
                          <a:pt x="35433" y="101060"/>
                        </a:lnTo>
                        <a:cubicBezTo>
                          <a:pt x="10192" y="101060"/>
                          <a:pt x="95" y="95155"/>
                          <a:pt x="95" y="74866"/>
                        </a:cubicBezTo>
                        <a:lnTo>
                          <a:pt x="9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8" name="Freeform: Shape 577">
                    <a:extLst>
                      <a:ext uri="{FF2B5EF4-FFF2-40B4-BE49-F238E27FC236}">
                        <a16:creationId xmlns:a16="http://schemas.microsoft.com/office/drawing/2014/main" id="{EFCA5B1C-F44F-44E0-8C71-BAE42A4DEA18}"/>
                      </a:ext>
                    </a:extLst>
                  </p:cNvPr>
                  <p:cNvSpPr/>
                  <p:nvPr/>
                </p:nvSpPr>
                <p:spPr>
                  <a:xfrm>
                    <a:off x="4999086" y="6618147"/>
                    <a:ext cx="113728" cy="100012"/>
                  </a:xfrm>
                  <a:custGeom>
                    <a:avLst/>
                    <a:gdLst>
                      <a:gd name="connsiteX0" fmla="*/ 50101 w 113728"/>
                      <a:gd name="connsiteY0" fmla="*/ 11049 h 100012"/>
                      <a:gd name="connsiteX1" fmla="*/ 0 w 113728"/>
                      <a:gd name="connsiteY1" fmla="*/ 11049 h 100012"/>
                      <a:gd name="connsiteX2" fmla="*/ 0 w 113728"/>
                      <a:gd name="connsiteY2" fmla="*/ 0 h 100012"/>
                      <a:gd name="connsiteX3" fmla="*/ 113729 w 113728"/>
                      <a:gd name="connsiteY3" fmla="*/ 0 h 100012"/>
                      <a:gd name="connsiteX4" fmla="*/ 113729 w 113728"/>
                      <a:gd name="connsiteY4" fmla="*/ 11049 h 100012"/>
                      <a:gd name="connsiteX5" fmla="*/ 63532 w 113728"/>
                      <a:gd name="connsiteY5" fmla="*/ 11049 h 100012"/>
                      <a:gd name="connsiteX6" fmla="*/ 63532 w 113728"/>
                      <a:gd name="connsiteY6" fmla="*/ 100013 h 100012"/>
                      <a:gd name="connsiteX7" fmla="*/ 50101 w 113728"/>
                      <a:gd name="connsiteY7" fmla="*/ 100013 h 100012"/>
                      <a:gd name="connsiteX8" fmla="*/ 50101 w 113728"/>
                      <a:gd name="connsiteY8" fmla="*/ 11049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728" h="100012">
                        <a:moveTo>
                          <a:pt x="50101" y="11049"/>
                        </a:moveTo>
                        <a:lnTo>
                          <a:pt x="0" y="11049"/>
                        </a:lnTo>
                        <a:lnTo>
                          <a:pt x="0" y="0"/>
                        </a:lnTo>
                        <a:lnTo>
                          <a:pt x="113729" y="0"/>
                        </a:lnTo>
                        <a:lnTo>
                          <a:pt x="113729" y="11049"/>
                        </a:lnTo>
                        <a:lnTo>
                          <a:pt x="63532" y="11049"/>
                        </a:lnTo>
                        <a:lnTo>
                          <a:pt x="63532" y="100013"/>
                        </a:lnTo>
                        <a:lnTo>
                          <a:pt x="50101" y="100013"/>
                        </a:lnTo>
                        <a:lnTo>
                          <a:pt x="50101" y="1104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79" name="Freeform: Shape 578">
                    <a:extLst>
                      <a:ext uri="{FF2B5EF4-FFF2-40B4-BE49-F238E27FC236}">
                        <a16:creationId xmlns:a16="http://schemas.microsoft.com/office/drawing/2014/main" id="{D9C9EB2A-EF52-42E7-88FD-3A08CAF0D70B}"/>
                      </a:ext>
                    </a:extLst>
                  </p:cNvPr>
                  <p:cNvSpPr/>
                  <p:nvPr/>
                </p:nvSpPr>
                <p:spPr>
                  <a:xfrm>
                    <a:off x="5142342"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0" name="Freeform: Shape 579">
                    <a:extLst>
                      <a:ext uri="{FF2B5EF4-FFF2-40B4-BE49-F238E27FC236}">
                        <a16:creationId xmlns:a16="http://schemas.microsoft.com/office/drawing/2014/main" id="{7C82BA84-D401-4119-BE25-C42F478A6583}"/>
                      </a:ext>
                    </a:extLst>
                  </p:cNvPr>
                  <p:cNvSpPr/>
                  <p:nvPr/>
                </p:nvSpPr>
                <p:spPr>
                  <a:xfrm>
                    <a:off x="5193491" y="6617100"/>
                    <a:ext cx="127825" cy="102203"/>
                  </a:xfrm>
                  <a:custGeom>
                    <a:avLst/>
                    <a:gdLst>
                      <a:gd name="connsiteX0" fmla="*/ 0 w 127825"/>
                      <a:gd name="connsiteY0" fmla="*/ 37433 h 102203"/>
                      <a:gd name="connsiteX1" fmla="*/ 35338 w 127825"/>
                      <a:gd name="connsiteY1" fmla="*/ 0 h 102203"/>
                      <a:gd name="connsiteX2" fmla="*/ 92488 w 127825"/>
                      <a:gd name="connsiteY2" fmla="*/ 0 h 102203"/>
                      <a:gd name="connsiteX3" fmla="*/ 127826 w 127825"/>
                      <a:gd name="connsiteY3" fmla="*/ 37433 h 102203"/>
                      <a:gd name="connsiteX4" fmla="*/ 127826 w 127825"/>
                      <a:gd name="connsiteY4" fmla="*/ 64770 h 102203"/>
                      <a:gd name="connsiteX5" fmla="*/ 92488 w 127825"/>
                      <a:gd name="connsiteY5" fmla="*/ 102203 h 102203"/>
                      <a:gd name="connsiteX6" fmla="*/ 35338 w 127825"/>
                      <a:gd name="connsiteY6" fmla="*/ 102203 h 102203"/>
                      <a:gd name="connsiteX7" fmla="*/ 0 w 127825"/>
                      <a:gd name="connsiteY7" fmla="*/ 64770 h 102203"/>
                      <a:gd name="connsiteX8" fmla="*/ 0 w 127825"/>
                      <a:gd name="connsiteY8" fmla="*/ 37433 h 102203"/>
                      <a:gd name="connsiteX9" fmla="*/ 114395 w 127825"/>
                      <a:gd name="connsiteY9" fmla="*/ 32290 h 102203"/>
                      <a:gd name="connsiteX10" fmla="*/ 91154 w 127825"/>
                      <a:gd name="connsiteY10" fmla="*/ 11049 h 102203"/>
                      <a:gd name="connsiteX11" fmla="*/ 36767 w 127825"/>
                      <a:gd name="connsiteY11" fmla="*/ 11049 h 102203"/>
                      <a:gd name="connsiteX12" fmla="*/ 13430 w 127825"/>
                      <a:gd name="connsiteY12" fmla="*/ 32290 h 102203"/>
                      <a:gd name="connsiteX13" fmla="*/ 13430 w 127825"/>
                      <a:gd name="connsiteY13" fmla="*/ 69914 h 102203"/>
                      <a:gd name="connsiteX14" fmla="*/ 36767 w 127825"/>
                      <a:gd name="connsiteY14" fmla="*/ 91249 h 102203"/>
                      <a:gd name="connsiteX15" fmla="*/ 91154 w 127825"/>
                      <a:gd name="connsiteY15" fmla="*/ 91249 h 102203"/>
                      <a:gd name="connsiteX16" fmla="*/ 114395 w 127825"/>
                      <a:gd name="connsiteY16" fmla="*/ 69914 h 102203"/>
                      <a:gd name="connsiteX17" fmla="*/ 114395 w 127825"/>
                      <a:gd name="connsiteY17" fmla="*/ 32290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825" h="102203">
                        <a:moveTo>
                          <a:pt x="0" y="37433"/>
                        </a:moveTo>
                        <a:cubicBezTo>
                          <a:pt x="0" y="12192"/>
                          <a:pt x="8477" y="0"/>
                          <a:pt x="35338" y="0"/>
                        </a:cubicBezTo>
                        <a:lnTo>
                          <a:pt x="92488" y="0"/>
                        </a:lnTo>
                        <a:cubicBezTo>
                          <a:pt x="119348" y="0"/>
                          <a:pt x="127826" y="12192"/>
                          <a:pt x="127826" y="37433"/>
                        </a:cubicBezTo>
                        <a:lnTo>
                          <a:pt x="127826" y="64770"/>
                        </a:lnTo>
                        <a:cubicBezTo>
                          <a:pt x="127826" y="90106"/>
                          <a:pt x="119348" y="102203"/>
                          <a:pt x="92488" y="102203"/>
                        </a:cubicBezTo>
                        <a:lnTo>
                          <a:pt x="35338" y="102203"/>
                        </a:lnTo>
                        <a:cubicBezTo>
                          <a:pt x="8477" y="102203"/>
                          <a:pt x="0" y="90106"/>
                          <a:pt x="0" y="64770"/>
                        </a:cubicBezTo>
                        <a:lnTo>
                          <a:pt x="0" y="37433"/>
                        </a:lnTo>
                        <a:close/>
                        <a:moveTo>
                          <a:pt x="114395" y="32290"/>
                        </a:moveTo>
                        <a:cubicBezTo>
                          <a:pt x="114395" y="14859"/>
                          <a:pt x="104013" y="11049"/>
                          <a:pt x="91154" y="11049"/>
                        </a:cubicBezTo>
                        <a:lnTo>
                          <a:pt x="36767" y="11049"/>
                        </a:lnTo>
                        <a:cubicBezTo>
                          <a:pt x="23908" y="11049"/>
                          <a:pt x="13430" y="14954"/>
                          <a:pt x="13430" y="32290"/>
                        </a:cubicBezTo>
                        <a:lnTo>
                          <a:pt x="13430" y="69914"/>
                        </a:lnTo>
                        <a:cubicBezTo>
                          <a:pt x="13430" y="87344"/>
                          <a:pt x="23813" y="91249"/>
                          <a:pt x="36767" y="91249"/>
                        </a:cubicBezTo>
                        <a:lnTo>
                          <a:pt x="91154" y="91249"/>
                        </a:lnTo>
                        <a:cubicBezTo>
                          <a:pt x="104013" y="91249"/>
                          <a:pt x="114395" y="87344"/>
                          <a:pt x="114395" y="69914"/>
                        </a:cubicBezTo>
                        <a:lnTo>
                          <a:pt x="114395" y="322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1" name="Freeform: Shape 580">
                    <a:extLst>
                      <a:ext uri="{FF2B5EF4-FFF2-40B4-BE49-F238E27FC236}">
                        <a16:creationId xmlns:a16="http://schemas.microsoft.com/office/drawing/2014/main" id="{8A31C7DC-43CD-45DD-BF64-D4DCED49FC8A}"/>
                      </a:ext>
                    </a:extLst>
                  </p:cNvPr>
                  <p:cNvSpPr/>
                  <p:nvPr/>
                </p:nvSpPr>
                <p:spPr>
                  <a:xfrm>
                    <a:off x="5357797" y="6618147"/>
                    <a:ext cx="124301" cy="100012"/>
                  </a:xfrm>
                  <a:custGeom>
                    <a:avLst/>
                    <a:gdLst>
                      <a:gd name="connsiteX0" fmla="*/ 0 w 124301"/>
                      <a:gd name="connsiteY0" fmla="*/ 0 h 100012"/>
                      <a:gd name="connsiteX1" fmla="*/ 20003 w 124301"/>
                      <a:gd name="connsiteY1" fmla="*/ 0 h 100012"/>
                      <a:gd name="connsiteX2" fmla="*/ 110871 w 124301"/>
                      <a:gd name="connsiteY2" fmla="*/ 87820 h 100012"/>
                      <a:gd name="connsiteX3" fmla="*/ 110871 w 124301"/>
                      <a:gd name="connsiteY3" fmla="*/ 0 h 100012"/>
                      <a:gd name="connsiteX4" fmla="*/ 124301 w 124301"/>
                      <a:gd name="connsiteY4" fmla="*/ 0 h 100012"/>
                      <a:gd name="connsiteX5" fmla="*/ 124301 w 124301"/>
                      <a:gd name="connsiteY5" fmla="*/ 100013 h 100012"/>
                      <a:gd name="connsiteX6" fmla="*/ 104299 w 124301"/>
                      <a:gd name="connsiteY6" fmla="*/ 100013 h 100012"/>
                      <a:gd name="connsiteX7" fmla="*/ 13430 w 124301"/>
                      <a:gd name="connsiteY7" fmla="*/ 12192 h 100012"/>
                      <a:gd name="connsiteX8" fmla="*/ 13430 w 124301"/>
                      <a:gd name="connsiteY8" fmla="*/ 100013 h 100012"/>
                      <a:gd name="connsiteX9" fmla="*/ 0 w 124301"/>
                      <a:gd name="connsiteY9" fmla="*/ 100013 h 100012"/>
                      <a:gd name="connsiteX10" fmla="*/ 0 w 124301"/>
                      <a:gd name="connsiteY10"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1" h="100012">
                        <a:moveTo>
                          <a:pt x="0" y="0"/>
                        </a:moveTo>
                        <a:lnTo>
                          <a:pt x="20003" y="0"/>
                        </a:lnTo>
                        <a:lnTo>
                          <a:pt x="110871" y="87820"/>
                        </a:lnTo>
                        <a:lnTo>
                          <a:pt x="110871" y="0"/>
                        </a:lnTo>
                        <a:lnTo>
                          <a:pt x="124301" y="0"/>
                        </a:lnTo>
                        <a:lnTo>
                          <a:pt x="124301" y="100013"/>
                        </a:lnTo>
                        <a:lnTo>
                          <a:pt x="104299" y="100013"/>
                        </a:lnTo>
                        <a:lnTo>
                          <a:pt x="13430" y="12192"/>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2" name="Freeform: Shape 581">
                    <a:extLst>
                      <a:ext uri="{FF2B5EF4-FFF2-40B4-BE49-F238E27FC236}">
                        <a16:creationId xmlns:a16="http://schemas.microsoft.com/office/drawing/2014/main" id="{F0238414-206B-4C5A-A8FF-AF2663296C1A}"/>
                      </a:ext>
                    </a:extLst>
                  </p:cNvPr>
                  <p:cNvSpPr/>
                  <p:nvPr/>
                </p:nvSpPr>
                <p:spPr>
                  <a:xfrm>
                    <a:off x="5518579" y="6617290"/>
                    <a:ext cx="114109" cy="102298"/>
                  </a:xfrm>
                  <a:custGeom>
                    <a:avLst/>
                    <a:gdLst>
                      <a:gd name="connsiteX0" fmla="*/ 95 w 114109"/>
                      <a:gd name="connsiteY0" fmla="*/ 69437 h 102298"/>
                      <a:gd name="connsiteX1" fmla="*/ 12668 w 114109"/>
                      <a:gd name="connsiteY1" fmla="*/ 69437 h 102298"/>
                      <a:gd name="connsiteX2" fmla="*/ 12668 w 114109"/>
                      <a:gd name="connsiteY2" fmla="*/ 76486 h 102298"/>
                      <a:gd name="connsiteX3" fmla="*/ 34576 w 114109"/>
                      <a:gd name="connsiteY3" fmla="*/ 91059 h 102298"/>
                      <a:gd name="connsiteX4" fmla="*/ 76200 w 114109"/>
                      <a:gd name="connsiteY4" fmla="*/ 91059 h 102298"/>
                      <a:gd name="connsiteX5" fmla="*/ 101441 w 114109"/>
                      <a:gd name="connsiteY5" fmla="*/ 72580 h 102298"/>
                      <a:gd name="connsiteX6" fmla="*/ 79820 w 114109"/>
                      <a:gd name="connsiteY6" fmla="*/ 56864 h 102298"/>
                      <a:gd name="connsiteX7" fmla="*/ 54388 w 114109"/>
                      <a:gd name="connsiteY7" fmla="*/ 56864 h 102298"/>
                      <a:gd name="connsiteX8" fmla="*/ 0 w 114109"/>
                      <a:gd name="connsiteY8" fmla="*/ 27908 h 102298"/>
                      <a:gd name="connsiteX9" fmla="*/ 41053 w 114109"/>
                      <a:gd name="connsiteY9" fmla="*/ 0 h 102298"/>
                      <a:gd name="connsiteX10" fmla="*/ 70009 w 114109"/>
                      <a:gd name="connsiteY10" fmla="*/ 0 h 102298"/>
                      <a:gd name="connsiteX11" fmla="*/ 111633 w 114109"/>
                      <a:gd name="connsiteY11" fmla="*/ 26384 h 102298"/>
                      <a:gd name="connsiteX12" fmla="*/ 111633 w 114109"/>
                      <a:gd name="connsiteY12" fmla="*/ 29908 h 102298"/>
                      <a:gd name="connsiteX13" fmla="*/ 99060 w 114109"/>
                      <a:gd name="connsiteY13" fmla="*/ 29908 h 102298"/>
                      <a:gd name="connsiteX14" fmla="*/ 61913 w 114109"/>
                      <a:gd name="connsiteY14" fmla="*/ 11144 h 102298"/>
                      <a:gd name="connsiteX15" fmla="*/ 47625 w 114109"/>
                      <a:gd name="connsiteY15" fmla="*/ 11144 h 102298"/>
                      <a:gd name="connsiteX16" fmla="*/ 12573 w 114109"/>
                      <a:gd name="connsiteY16" fmla="*/ 28956 h 102298"/>
                      <a:gd name="connsiteX17" fmla="*/ 37243 w 114109"/>
                      <a:gd name="connsiteY17" fmla="*/ 44863 h 102298"/>
                      <a:gd name="connsiteX18" fmla="*/ 76962 w 114109"/>
                      <a:gd name="connsiteY18" fmla="*/ 44863 h 102298"/>
                      <a:gd name="connsiteX19" fmla="*/ 114110 w 114109"/>
                      <a:gd name="connsiteY19" fmla="*/ 69437 h 102298"/>
                      <a:gd name="connsiteX20" fmla="*/ 114110 w 114109"/>
                      <a:gd name="connsiteY20" fmla="*/ 75914 h 102298"/>
                      <a:gd name="connsiteX21" fmla="*/ 74295 w 114109"/>
                      <a:gd name="connsiteY21" fmla="*/ 102298 h 102298"/>
                      <a:gd name="connsiteX22" fmla="*/ 36957 w 114109"/>
                      <a:gd name="connsiteY22" fmla="*/ 102298 h 102298"/>
                      <a:gd name="connsiteX23" fmla="*/ 95 w 114109"/>
                      <a:gd name="connsiteY23" fmla="*/ 77057 h 102298"/>
                      <a:gd name="connsiteX24" fmla="*/ 95 w 114109"/>
                      <a:gd name="connsiteY24" fmla="*/ 69723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109" h="102298">
                        <a:moveTo>
                          <a:pt x="95" y="69437"/>
                        </a:moveTo>
                        <a:lnTo>
                          <a:pt x="12668" y="69437"/>
                        </a:lnTo>
                        <a:lnTo>
                          <a:pt x="12668" y="76486"/>
                        </a:lnTo>
                        <a:cubicBezTo>
                          <a:pt x="12668" y="86296"/>
                          <a:pt x="17907" y="91059"/>
                          <a:pt x="34576" y="91059"/>
                        </a:cubicBezTo>
                        <a:lnTo>
                          <a:pt x="76200" y="91059"/>
                        </a:lnTo>
                        <a:cubicBezTo>
                          <a:pt x="95631" y="91059"/>
                          <a:pt x="101441" y="86868"/>
                          <a:pt x="101441" y="72580"/>
                        </a:cubicBezTo>
                        <a:cubicBezTo>
                          <a:pt x="101441" y="60007"/>
                          <a:pt x="96488" y="56864"/>
                          <a:pt x="79820" y="56864"/>
                        </a:cubicBezTo>
                        <a:lnTo>
                          <a:pt x="54388" y="56864"/>
                        </a:lnTo>
                        <a:cubicBezTo>
                          <a:pt x="13430" y="56864"/>
                          <a:pt x="0" y="54388"/>
                          <a:pt x="0" y="27908"/>
                        </a:cubicBezTo>
                        <a:cubicBezTo>
                          <a:pt x="0" y="5143"/>
                          <a:pt x="13430" y="0"/>
                          <a:pt x="41053" y="0"/>
                        </a:cubicBezTo>
                        <a:lnTo>
                          <a:pt x="70009" y="0"/>
                        </a:lnTo>
                        <a:cubicBezTo>
                          <a:pt x="103251" y="0"/>
                          <a:pt x="111633" y="8572"/>
                          <a:pt x="111633" y="26384"/>
                        </a:cubicBezTo>
                        <a:lnTo>
                          <a:pt x="111633" y="29908"/>
                        </a:lnTo>
                        <a:lnTo>
                          <a:pt x="99060" y="29908"/>
                        </a:lnTo>
                        <a:cubicBezTo>
                          <a:pt x="98774" y="14002"/>
                          <a:pt x="97155" y="11144"/>
                          <a:pt x="61913" y="11144"/>
                        </a:cubicBezTo>
                        <a:lnTo>
                          <a:pt x="47625" y="11144"/>
                        </a:lnTo>
                        <a:cubicBezTo>
                          <a:pt x="21717" y="11144"/>
                          <a:pt x="12573" y="12478"/>
                          <a:pt x="12573" y="28956"/>
                        </a:cubicBezTo>
                        <a:cubicBezTo>
                          <a:pt x="12573" y="40862"/>
                          <a:pt x="16288" y="44863"/>
                          <a:pt x="37243" y="44863"/>
                        </a:cubicBezTo>
                        <a:lnTo>
                          <a:pt x="76962" y="44863"/>
                        </a:lnTo>
                        <a:cubicBezTo>
                          <a:pt x="103156" y="44863"/>
                          <a:pt x="114110" y="52483"/>
                          <a:pt x="114110" y="69437"/>
                        </a:cubicBezTo>
                        <a:lnTo>
                          <a:pt x="114110" y="75914"/>
                        </a:lnTo>
                        <a:cubicBezTo>
                          <a:pt x="114110" y="100489"/>
                          <a:pt x="94107" y="102298"/>
                          <a:pt x="74295" y="102298"/>
                        </a:cubicBezTo>
                        <a:lnTo>
                          <a:pt x="36957" y="102298"/>
                        </a:lnTo>
                        <a:cubicBezTo>
                          <a:pt x="17431" y="102298"/>
                          <a:pt x="95" y="98869"/>
                          <a:pt x="95" y="77057"/>
                        </a:cubicBezTo>
                        <a:lnTo>
                          <a:pt x="95" y="6972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sp>
            <p:nvSpPr>
              <p:cNvPr id="560" name="Freeform: Shape 559">
                <a:extLst>
                  <a:ext uri="{FF2B5EF4-FFF2-40B4-BE49-F238E27FC236}">
                    <a16:creationId xmlns:a16="http://schemas.microsoft.com/office/drawing/2014/main" id="{7AF4E77E-EDBA-47BA-A1AF-4B595000F09F}"/>
                  </a:ext>
                </a:extLst>
              </p:cNvPr>
              <p:cNvSpPr/>
              <p:nvPr/>
            </p:nvSpPr>
            <p:spPr>
              <a:xfrm>
                <a:off x="3504232" y="6513277"/>
                <a:ext cx="380" cy="571"/>
              </a:xfrm>
              <a:custGeom>
                <a:avLst/>
                <a:gdLst>
                  <a:gd name="connsiteX0" fmla="*/ 381 w 380"/>
                  <a:gd name="connsiteY0" fmla="*/ 0 h 571"/>
                  <a:gd name="connsiteX1" fmla="*/ 381 w 380"/>
                  <a:gd name="connsiteY1" fmla="*/ 0 h 571"/>
                  <a:gd name="connsiteX2" fmla="*/ 0 w 380"/>
                  <a:gd name="connsiteY2" fmla="*/ 572 h 571"/>
                  <a:gd name="connsiteX3" fmla="*/ 381 w 380"/>
                  <a:gd name="connsiteY3" fmla="*/ 0 h 571"/>
                </a:gdLst>
                <a:ahLst/>
                <a:cxnLst>
                  <a:cxn ang="0">
                    <a:pos x="connsiteX0" y="connsiteY0"/>
                  </a:cxn>
                  <a:cxn ang="0">
                    <a:pos x="connsiteX1" y="connsiteY1"/>
                  </a:cxn>
                  <a:cxn ang="0">
                    <a:pos x="connsiteX2" y="connsiteY2"/>
                  </a:cxn>
                  <a:cxn ang="0">
                    <a:pos x="connsiteX3" y="connsiteY3"/>
                  </a:cxn>
                </a:cxnLst>
                <a:rect l="l" t="t" r="r" b="b"/>
                <a:pathLst>
                  <a:path w="380" h="571">
                    <a:moveTo>
                      <a:pt x="381" y="0"/>
                    </a:moveTo>
                    <a:lnTo>
                      <a:pt x="381" y="0"/>
                    </a:lnTo>
                    <a:cubicBezTo>
                      <a:pt x="381" y="0"/>
                      <a:pt x="0" y="572"/>
                      <a:pt x="0" y="572"/>
                    </a:cubicBezTo>
                    <a:cubicBezTo>
                      <a:pt x="0" y="572"/>
                      <a:pt x="95" y="381"/>
                      <a:pt x="381" y="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61" name="Freeform: Shape 560">
                <a:extLst>
                  <a:ext uri="{FF2B5EF4-FFF2-40B4-BE49-F238E27FC236}">
                    <a16:creationId xmlns:a16="http://schemas.microsoft.com/office/drawing/2014/main" id="{ED6977A3-B15B-467A-8D86-9AD27E987825}"/>
                  </a:ext>
                </a:extLst>
              </p:cNvPr>
              <p:cNvSpPr/>
              <p:nvPr/>
            </p:nvSpPr>
            <p:spPr>
              <a:xfrm>
                <a:off x="2981977" y="6196095"/>
                <a:ext cx="525017" cy="529875"/>
              </a:xfrm>
              <a:custGeom>
                <a:avLst/>
                <a:gdLst>
                  <a:gd name="connsiteX0" fmla="*/ 243173 w 525017"/>
                  <a:gd name="connsiteY0" fmla="*/ 503777 h 529875"/>
                  <a:gd name="connsiteX1" fmla="*/ 87630 w 525017"/>
                  <a:gd name="connsiteY1" fmla="*/ 403860 h 529875"/>
                  <a:gd name="connsiteX2" fmla="*/ 83630 w 525017"/>
                  <a:gd name="connsiteY2" fmla="*/ 385096 h 529875"/>
                  <a:gd name="connsiteX3" fmla="*/ 87535 w 525017"/>
                  <a:gd name="connsiteY3" fmla="*/ 375475 h 529875"/>
                  <a:gd name="connsiteX4" fmla="*/ 90011 w 525017"/>
                  <a:gd name="connsiteY4" fmla="*/ 372428 h 529875"/>
                  <a:gd name="connsiteX5" fmla="*/ 92869 w 525017"/>
                  <a:gd name="connsiteY5" fmla="*/ 369570 h 529875"/>
                  <a:gd name="connsiteX6" fmla="*/ 97631 w 525017"/>
                  <a:gd name="connsiteY6" fmla="*/ 365665 h 529875"/>
                  <a:gd name="connsiteX7" fmla="*/ 110490 w 525017"/>
                  <a:gd name="connsiteY7" fmla="*/ 356235 h 529875"/>
                  <a:gd name="connsiteX8" fmla="*/ 147066 w 525017"/>
                  <a:gd name="connsiteY8" fmla="*/ 330803 h 529875"/>
                  <a:gd name="connsiteX9" fmla="*/ 180880 w 525017"/>
                  <a:gd name="connsiteY9" fmla="*/ 307943 h 529875"/>
                  <a:gd name="connsiteX10" fmla="*/ 169450 w 525017"/>
                  <a:gd name="connsiteY10" fmla="*/ 292037 h 529875"/>
                  <a:gd name="connsiteX11" fmla="*/ 167164 w 525017"/>
                  <a:gd name="connsiteY11" fmla="*/ 284893 h 529875"/>
                  <a:gd name="connsiteX12" fmla="*/ 171069 w 525017"/>
                  <a:gd name="connsiteY12" fmla="*/ 278035 h 529875"/>
                  <a:gd name="connsiteX13" fmla="*/ 256223 w 525017"/>
                  <a:gd name="connsiteY13" fmla="*/ 174308 h 529875"/>
                  <a:gd name="connsiteX14" fmla="*/ 268986 w 525017"/>
                  <a:gd name="connsiteY14" fmla="*/ 165164 h 529875"/>
                  <a:gd name="connsiteX15" fmla="*/ 272606 w 525017"/>
                  <a:gd name="connsiteY15" fmla="*/ 170117 h 529875"/>
                  <a:gd name="connsiteX16" fmla="*/ 277940 w 525017"/>
                  <a:gd name="connsiteY16" fmla="*/ 170879 h 529875"/>
                  <a:gd name="connsiteX17" fmla="*/ 298609 w 525017"/>
                  <a:gd name="connsiteY17" fmla="*/ 155543 h 529875"/>
                  <a:gd name="connsiteX18" fmla="*/ 299276 w 525017"/>
                  <a:gd name="connsiteY18" fmla="*/ 150209 h 529875"/>
                  <a:gd name="connsiteX19" fmla="*/ 295942 w 525017"/>
                  <a:gd name="connsiteY19" fmla="*/ 145637 h 529875"/>
                  <a:gd name="connsiteX20" fmla="*/ 305181 w 525017"/>
                  <a:gd name="connsiteY20" fmla="*/ 138970 h 529875"/>
                  <a:gd name="connsiteX21" fmla="*/ 310325 w 525017"/>
                  <a:gd name="connsiteY21" fmla="*/ 137636 h 529875"/>
                  <a:gd name="connsiteX22" fmla="*/ 314706 w 525017"/>
                  <a:gd name="connsiteY22" fmla="*/ 140494 h 529875"/>
                  <a:gd name="connsiteX23" fmla="*/ 411099 w 525017"/>
                  <a:gd name="connsiteY23" fmla="*/ 274225 h 529875"/>
                  <a:gd name="connsiteX24" fmla="*/ 412623 w 525017"/>
                  <a:gd name="connsiteY24" fmla="*/ 279273 h 529875"/>
                  <a:gd name="connsiteX25" fmla="*/ 409385 w 525017"/>
                  <a:gd name="connsiteY25" fmla="*/ 283750 h 529875"/>
                  <a:gd name="connsiteX26" fmla="*/ 399764 w 525017"/>
                  <a:gd name="connsiteY26" fmla="*/ 290608 h 529875"/>
                  <a:gd name="connsiteX27" fmla="*/ 395764 w 525017"/>
                  <a:gd name="connsiteY27" fmla="*/ 285369 h 529875"/>
                  <a:gd name="connsiteX28" fmla="*/ 390525 w 525017"/>
                  <a:gd name="connsiteY28" fmla="*/ 284607 h 529875"/>
                  <a:gd name="connsiteX29" fmla="*/ 369761 w 525017"/>
                  <a:gd name="connsiteY29" fmla="*/ 299752 h 529875"/>
                  <a:gd name="connsiteX30" fmla="*/ 368999 w 525017"/>
                  <a:gd name="connsiteY30" fmla="*/ 304991 h 529875"/>
                  <a:gd name="connsiteX31" fmla="*/ 372713 w 525017"/>
                  <a:gd name="connsiteY31" fmla="*/ 310039 h 529875"/>
                  <a:gd name="connsiteX32" fmla="*/ 360426 w 525017"/>
                  <a:gd name="connsiteY32" fmla="*/ 318897 h 529875"/>
                  <a:gd name="connsiteX33" fmla="*/ 233172 w 525017"/>
                  <a:gd name="connsiteY33" fmla="*/ 368332 h 529875"/>
                  <a:gd name="connsiteX34" fmla="*/ 227076 w 525017"/>
                  <a:gd name="connsiteY34" fmla="*/ 368618 h 529875"/>
                  <a:gd name="connsiteX35" fmla="*/ 220694 w 525017"/>
                  <a:gd name="connsiteY35" fmla="*/ 363093 h 529875"/>
                  <a:gd name="connsiteX36" fmla="*/ 210122 w 525017"/>
                  <a:gd name="connsiteY36" fmla="*/ 348329 h 529875"/>
                  <a:gd name="connsiteX37" fmla="*/ 146685 w 525017"/>
                  <a:gd name="connsiteY37" fmla="*/ 391668 h 529875"/>
                  <a:gd name="connsiteX38" fmla="*/ 143542 w 525017"/>
                  <a:gd name="connsiteY38" fmla="*/ 393859 h 529875"/>
                  <a:gd name="connsiteX39" fmla="*/ 252317 w 525017"/>
                  <a:gd name="connsiteY39" fmla="*/ 454628 h 529875"/>
                  <a:gd name="connsiteX40" fmla="*/ 476917 w 525017"/>
                  <a:gd name="connsiteY40" fmla="*/ 300133 h 529875"/>
                  <a:gd name="connsiteX41" fmla="*/ 477107 w 525017"/>
                  <a:gd name="connsiteY41" fmla="*/ 299276 h 529875"/>
                  <a:gd name="connsiteX42" fmla="*/ 328708 w 525017"/>
                  <a:gd name="connsiteY42" fmla="*/ 75914 h 529875"/>
                  <a:gd name="connsiteX43" fmla="*/ 337661 w 525017"/>
                  <a:gd name="connsiteY43" fmla="*/ 26765 h 529875"/>
                  <a:gd name="connsiteX44" fmla="*/ 520732 w 525017"/>
                  <a:gd name="connsiteY44" fmla="*/ 196215 h 529875"/>
                  <a:gd name="connsiteX45" fmla="*/ 264890 w 525017"/>
                  <a:gd name="connsiteY45" fmla="*/ 0 h 529875"/>
                  <a:gd name="connsiteX46" fmla="*/ 0 w 525017"/>
                  <a:gd name="connsiteY46" fmla="*/ 264986 h 529875"/>
                  <a:gd name="connsiteX47" fmla="*/ 264890 w 525017"/>
                  <a:gd name="connsiteY47" fmla="*/ 529876 h 529875"/>
                  <a:gd name="connsiteX48" fmla="*/ 525018 w 525017"/>
                  <a:gd name="connsiteY48" fmla="*/ 314516 h 529875"/>
                  <a:gd name="connsiteX49" fmla="*/ 243173 w 525017"/>
                  <a:gd name="connsiteY49" fmla="*/ 503873 h 529875"/>
                  <a:gd name="connsiteX50" fmla="*/ 326136 w 525017"/>
                  <a:gd name="connsiteY50" fmla="*/ 24765 h 529875"/>
                  <a:gd name="connsiteX51" fmla="*/ 318611 w 525017"/>
                  <a:gd name="connsiteY51" fmla="*/ 74009 h 529875"/>
                  <a:gd name="connsiteX52" fmla="*/ 271844 w 525017"/>
                  <a:gd name="connsiteY52" fmla="*/ 72009 h 529875"/>
                  <a:gd name="connsiteX53" fmla="*/ 266129 w 525017"/>
                  <a:gd name="connsiteY53" fmla="*/ 22384 h 529875"/>
                  <a:gd name="connsiteX54" fmla="*/ 326136 w 525017"/>
                  <a:gd name="connsiteY54" fmla="*/ 24765 h 529875"/>
                  <a:gd name="connsiteX55" fmla="*/ 254508 w 525017"/>
                  <a:gd name="connsiteY55" fmla="*/ 23717 h 529875"/>
                  <a:gd name="connsiteX56" fmla="*/ 261842 w 525017"/>
                  <a:gd name="connsiteY56" fmla="*/ 73057 h 529875"/>
                  <a:gd name="connsiteX57" fmla="*/ 216503 w 525017"/>
                  <a:gd name="connsiteY57" fmla="*/ 84773 h 529875"/>
                  <a:gd name="connsiteX58" fmla="*/ 196596 w 525017"/>
                  <a:gd name="connsiteY58" fmla="*/ 38862 h 529875"/>
                  <a:gd name="connsiteX59" fmla="*/ 254508 w 525017"/>
                  <a:gd name="connsiteY59" fmla="*/ 23717 h 529875"/>
                  <a:gd name="connsiteX60" fmla="*/ 185928 w 525017"/>
                  <a:gd name="connsiteY60" fmla="*/ 43529 h 529875"/>
                  <a:gd name="connsiteX61" fmla="*/ 207264 w 525017"/>
                  <a:gd name="connsiteY61" fmla="*/ 88678 h 529875"/>
                  <a:gd name="connsiteX62" fmla="*/ 167354 w 525017"/>
                  <a:gd name="connsiteY62" fmla="*/ 113062 h 529875"/>
                  <a:gd name="connsiteX63" fmla="*/ 134969 w 525017"/>
                  <a:gd name="connsiteY63" fmla="*/ 74962 h 529875"/>
                  <a:gd name="connsiteX64" fmla="*/ 186023 w 525017"/>
                  <a:gd name="connsiteY64" fmla="*/ 43529 h 529875"/>
                  <a:gd name="connsiteX65" fmla="*/ 125825 w 525017"/>
                  <a:gd name="connsiteY65" fmla="*/ 82772 h 529875"/>
                  <a:gd name="connsiteX66" fmla="*/ 159639 w 525017"/>
                  <a:gd name="connsiteY66" fmla="*/ 119539 h 529875"/>
                  <a:gd name="connsiteX67" fmla="*/ 128397 w 525017"/>
                  <a:gd name="connsiteY67" fmla="*/ 154400 h 529875"/>
                  <a:gd name="connsiteX68" fmla="*/ 86297 w 525017"/>
                  <a:gd name="connsiteY68" fmla="*/ 127349 h 529875"/>
                  <a:gd name="connsiteX69" fmla="*/ 125825 w 525017"/>
                  <a:gd name="connsiteY69" fmla="*/ 82677 h 529875"/>
                  <a:gd name="connsiteX70" fmla="*/ 55150 w 525017"/>
                  <a:gd name="connsiteY70" fmla="*/ 191738 h 529875"/>
                  <a:gd name="connsiteX71" fmla="*/ 79820 w 525017"/>
                  <a:gd name="connsiteY71" fmla="*/ 137541 h 529875"/>
                  <a:gd name="connsiteX72" fmla="*/ 122968 w 525017"/>
                  <a:gd name="connsiteY72" fmla="*/ 162878 h 529875"/>
                  <a:gd name="connsiteX73" fmla="*/ 103251 w 525017"/>
                  <a:gd name="connsiteY73" fmla="*/ 205359 h 529875"/>
                  <a:gd name="connsiteX74" fmla="*/ 55150 w 525017"/>
                  <a:gd name="connsiteY74" fmla="*/ 191738 h 52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25017" h="529875">
                    <a:moveTo>
                      <a:pt x="243173" y="503777"/>
                    </a:moveTo>
                    <a:cubicBezTo>
                      <a:pt x="177737" y="491776"/>
                      <a:pt x="123063" y="454533"/>
                      <a:pt x="87630" y="403860"/>
                    </a:cubicBezTo>
                    <a:cubicBezTo>
                      <a:pt x="83534" y="397955"/>
                      <a:pt x="82487" y="391001"/>
                      <a:pt x="83630" y="385096"/>
                    </a:cubicBezTo>
                    <a:cubicBezTo>
                      <a:pt x="84868" y="379095"/>
                      <a:pt x="86582" y="377095"/>
                      <a:pt x="87535" y="375475"/>
                    </a:cubicBezTo>
                    <a:cubicBezTo>
                      <a:pt x="88583" y="373951"/>
                      <a:pt x="89345" y="373094"/>
                      <a:pt x="90011" y="372428"/>
                    </a:cubicBezTo>
                    <a:cubicBezTo>
                      <a:pt x="91250" y="370999"/>
                      <a:pt x="92107" y="370332"/>
                      <a:pt x="92869" y="369570"/>
                    </a:cubicBezTo>
                    <a:cubicBezTo>
                      <a:pt x="94393" y="368141"/>
                      <a:pt x="95917" y="366998"/>
                      <a:pt x="97631" y="365665"/>
                    </a:cubicBezTo>
                    <a:cubicBezTo>
                      <a:pt x="101060" y="362998"/>
                      <a:pt x="105347" y="359855"/>
                      <a:pt x="110490" y="356235"/>
                    </a:cubicBezTo>
                    <a:cubicBezTo>
                      <a:pt x="120682" y="348996"/>
                      <a:pt x="133922" y="339852"/>
                      <a:pt x="147066" y="330803"/>
                    </a:cubicBezTo>
                    <a:cubicBezTo>
                      <a:pt x="159163" y="322517"/>
                      <a:pt x="171260" y="314325"/>
                      <a:pt x="180880" y="307943"/>
                    </a:cubicBezTo>
                    <a:lnTo>
                      <a:pt x="169450" y="292037"/>
                    </a:lnTo>
                    <a:cubicBezTo>
                      <a:pt x="169450" y="292037"/>
                      <a:pt x="166688" y="288227"/>
                      <a:pt x="167164" y="284893"/>
                    </a:cubicBezTo>
                    <a:cubicBezTo>
                      <a:pt x="167735" y="281654"/>
                      <a:pt x="171069" y="278035"/>
                      <a:pt x="171069" y="278035"/>
                    </a:cubicBezTo>
                    <a:lnTo>
                      <a:pt x="256223" y="174308"/>
                    </a:lnTo>
                    <a:lnTo>
                      <a:pt x="268986" y="165164"/>
                    </a:lnTo>
                    <a:lnTo>
                      <a:pt x="272606" y="170117"/>
                    </a:lnTo>
                    <a:cubicBezTo>
                      <a:pt x="273844" y="171831"/>
                      <a:pt x="276225" y="172117"/>
                      <a:pt x="277940" y="170879"/>
                    </a:cubicBezTo>
                    <a:lnTo>
                      <a:pt x="298609" y="155543"/>
                    </a:lnTo>
                    <a:cubicBezTo>
                      <a:pt x="300228" y="154305"/>
                      <a:pt x="300609" y="151924"/>
                      <a:pt x="299276" y="150209"/>
                    </a:cubicBezTo>
                    <a:lnTo>
                      <a:pt x="295942" y="145637"/>
                    </a:lnTo>
                    <a:lnTo>
                      <a:pt x="305181" y="138970"/>
                    </a:lnTo>
                    <a:cubicBezTo>
                      <a:pt x="305181" y="138970"/>
                      <a:pt x="307658" y="137255"/>
                      <a:pt x="310325" y="137636"/>
                    </a:cubicBezTo>
                    <a:cubicBezTo>
                      <a:pt x="312992" y="138113"/>
                      <a:pt x="314706" y="140494"/>
                      <a:pt x="314706" y="140494"/>
                    </a:cubicBezTo>
                    <a:lnTo>
                      <a:pt x="411099" y="274225"/>
                    </a:lnTo>
                    <a:cubicBezTo>
                      <a:pt x="411099" y="274225"/>
                      <a:pt x="412814" y="276606"/>
                      <a:pt x="412623" y="279273"/>
                    </a:cubicBezTo>
                    <a:cubicBezTo>
                      <a:pt x="412337" y="281940"/>
                      <a:pt x="409385" y="283750"/>
                      <a:pt x="409385" y="283750"/>
                    </a:cubicBezTo>
                    <a:lnTo>
                      <a:pt x="399764" y="290608"/>
                    </a:lnTo>
                    <a:lnTo>
                      <a:pt x="395764" y="285369"/>
                    </a:lnTo>
                    <a:cubicBezTo>
                      <a:pt x="394525" y="283750"/>
                      <a:pt x="392144" y="283369"/>
                      <a:pt x="390525" y="284607"/>
                    </a:cubicBezTo>
                    <a:lnTo>
                      <a:pt x="369761" y="299752"/>
                    </a:lnTo>
                    <a:cubicBezTo>
                      <a:pt x="368046" y="300990"/>
                      <a:pt x="367760" y="303371"/>
                      <a:pt x="368999" y="304991"/>
                    </a:cubicBezTo>
                    <a:lnTo>
                      <a:pt x="372713" y="310039"/>
                    </a:lnTo>
                    <a:lnTo>
                      <a:pt x="360426" y="318897"/>
                    </a:lnTo>
                    <a:lnTo>
                      <a:pt x="233172" y="368332"/>
                    </a:lnTo>
                    <a:cubicBezTo>
                      <a:pt x="233172" y="368332"/>
                      <a:pt x="230505" y="369284"/>
                      <a:pt x="227076" y="368618"/>
                    </a:cubicBezTo>
                    <a:cubicBezTo>
                      <a:pt x="223742" y="367951"/>
                      <a:pt x="220694" y="363093"/>
                      <a:pt x="220694" y="363093"/>
                    </a:cubicBezTo>
                    <a:lnTo>
                      <a:pt x="210122" y="348329"/>
                    </a:lnTo>
                    <a:cubicBezTo>
                      <a:pt x="192691" y="360045"/>
                      <a:pt x="165926" y="378238"/>
                      <a:pt x="146685" y="391668"/>
                    </a:cubicBezTo>
                    <a:cubicBezTo>
                      <a:pt x="145637" y="392430"/>
                      <a:pt x="144590" y="393097"/>
                      <a:pt x="143542" y="393859"/>
                    </a:cubicBezTo>
                    <a:cubicBezTo>
                      <a:pt x="171164" y="424529"/>
                      <a:pt x="208598" y="446627"/>
                      <a:pt x="252317" y="454628"/>
                    </a:cubicBezTo>
                    <a:cubicBezTo>
                      <a:pt x="356997" y="473583"/>
                      <a:pt x="457200" y="404622"/>
                      <a:pt x="476917" y="300133"/>
                    </a:cubicBezTo>
                    <a:cubicBezTo>
                      <a:pt x="476917" y="299847"/>
                      <a:pt x="477012" y="299561"/>
                      <a:pt x="477107" y="299276"/>
                    </a:cubicBezTo>
                    <a:cubicBezTo>
                      <a:pt x="495681" y="196596"/>
                      <a:pt x="429768" y="98298"/>
                      <a:pt x="328708" y="75914"/>
                    </a:cubicBezTo>
                    <a:lnTo>
                      <a:pt x="337661" y="26765"/>
                    </a:lnTo>
                    <a:cubicBezTo>
                      <a:pt x="427673" y="45911"/>
                      <a:pt x="495967" y="113062"/>
                      <a:pt x="520732" y="196215"/>
                    </a:cubicBezTo>
                    <a:cubicBezTo>
                      <a:pt x="490347" y="83344"/>
                      <a:pt x="387477" y="0"/>
                      <a:pt x="264890" y="0"/>
                    </a:cubicBezTo>
                    <a:cubicBezTo>
                      <a:pt x="118586" y="0"/>
                      <a:pt x="0" y="118586"/>
                      <a:pt x="0" y="264986"/>
                    </a:cubicBezTo>
                    <a:cubicBezTo>
                      <a:pt x="0" y="411385"/>
                      <a:pt x="118586" y="529876"/>
                      <a:pt x="264890" y="529876"/>
                    </a:cubicBezTo>
                    <a:cubicBezTo>
                      <a:pt x="394240" y="529876"/>
                      <a:pt x="501777" y="437102"/>
                      <a:pt x="525018" y="314516"/>
                    </a:cubicBezTo>
                    <a:cubicBezTo>
                      <a:pt x="498253" y="443389"/>
                      <a:pt x="373285" y="527590"/>
                      <a:pt x="243173" y="503873"/>
                    </a:cubicBezTo>
                    <a:close/>
                    <a:moveTo>
                      <a:pt x="326136" y="24765"/>
                    </a:moveTo>
                    <a:lnTo>
                      <a:pt x="318611" y="74009"/>
                    </a:lnTo>
                    <a:cubicBezTo>
                      <a:pt x="302800" y="71438"/>
                      <a:pt x="287084" y="70771"/>
                      <a:pt x="271844" y="72009"/>
                    </a:cubicBezTo>
                    <a:lnTo>
                      <a:pt x="266129" y="22384"/>
                    </a:lnTo>
                    <a:cubicBezTo>
                      <a:pt x="285750" y="20765"/>
                      <a:pt x="305848" y="21431"/>
                      <a:pt x="326136" y="24765"/>
                    </a:cubicBezTo>
                    <a:close/>
                    <a:moveTo>
                      <a:pt x="254508" y="23717"/>
                    </a:moveTo>
                    <a:lnTo>
                      <a:pt x="261842" y="73057"/>
                    </a:lnTo>
                    <a:cubicBezTo>
                      <a:pt x="246126" y="75152"/>
                      <a:pt x="230981" y="79153"/>
                      <a:pt x="216503" y="84773"/>
                    </a:cubicBezTo>
                    <a:lnTo>
                      <a:pt x="196596" y="38862"/>
                    </a:lnTo>
                    <a:cubicBezTo>
                      <a:pt x="214979" y="31433"/>
                      <a:pt x="234506" y="26384"/>
                      <a:pt x="254508" y="23717"/>
                    </a:cubicBezTo>
                    <a:close/>
                    <a:moveTo>
                      <a:pt x="185928" y="43529"/>
                    </a:moveTo>
                    <a:lnTo>
                      <a:pt x="207264" y="88678"/>
                    </a:lnTo>
                    <a:cubicBezTo>
                      <a:pt x="192977" y="95155"/>
                      <a:pt x="179546" y="103346"/>
                      <a:pt x="167354" y="113062"/>
                    </a:cubicBezTo>
                    <a:lnTo>
                      <a:pt x="134969" y="74962"/>
                    </a:lnTo>
                    <a:cubicBezTo>
                      <a:pt x="150590" y="62484"/>
                      <a:pt x="167735" y="51816"/>
                      <a:pt x="186023" y="43529"/>
                    </a:cubicBezTo>
                    <a:close/>
                    <a:moveTo>
                      <a:pt x="125825" y="82772"/>
                    </a:moveTo>
                    <a:lnTo>
                      <a:pt x="159639" y="119539"/>
                    </a:lnTo>
                    <a:cubicBezTo>
                      <a:pt x="147923" y="129826"/>
                      <a:pt x="137446" y="141542"/>
                      <a:pt x="128397" y="154400"/>
                    </a:cubicBezTo>
                    <a:lnTo>
                      <a:pt x="86297" y="127349"/>
                    </a:lnTo>
                    <a:cubicBezTo>
                      <a:pt x="97631" y="110776"/>
                      <a:pt x="110966" y="95822"/>
                      <a:pt x="125825" y="82677"/>
                    </a:cubicBezTo>
                    <a:close/>
                    <a:moveTo>
                      <a:pt x="55150" y="191738"/>
                    </a:moveTo>
                    <a:cubicBezTo>
                      <a:pt x="61246" y="172403"/>
                      <a:pt x="69533" y="154305"/>
                      <a:pt x="79820" y="137541"/>
                    </a:cubicBezTo>
                    <a:lnTo>
                      <a:pt x="122968" y="162878"/>
                    </a:lnTo>
                    <a:cubicBezTo>
                      <a:pt x="114776" y="176022"/>
                      <a:pt x="108204" y="190214"/>
                      <a:pt x="103251" y="205359"/>
                    </a:cubicBezTo>
                    <a:lnTo>
                      <a:pt x="55150" y="1917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558" name="Freeform: Shape 557">
              <a:extLst>
                <a:ext uri="{FF2B5EF4-FFF2-40B4-BE49-F238E27FC236}">
                  <a16:creationId xmlns:a16="http://schemas.microsoft.com/office/drawing/2014/main" id="{6C542F2D-9F56-4ED6-A851-7E36C4973BD0}"/>
                </a:ext>
              </a:extLst>
            </p:cNvPr>
            <p:cNvSpPr/>
            <p:nvPr/>
          </p:nvSpPr>
          <p:spPr>
            <a:xfrm>
              <a:off x="5630688" y="6248006"/>
              <a:ext cx="74580" cy="72771"/>
            </a:xfrm>
            <a:custGeom>
              <a:avLst/>
              <a:gdLst>
                <a:gd name="connsiteX0" fmla="*/ 37624 w 74580"/>
                <a:gd name="connsiteY0" fmla="*/ 0 h 72771"/>
                <a:gd name="connsiteX1" fmla="*/ 74581 w 74580"/>
                <a:gd name="connsiteY1" fmla="*/ 36290 h 72771"/>
                <a:gd name="connsiteX2" fmla="*/ 37433 w 74580"/>
                <a:gd name="connsiteY2" fmla="*/ 72771 h 72771"/>
                <a:gd name="connsiteX3" fmla="*/ 0 w 74580"/>
                <a:gd name="connsiteY3" fmla="*/ 36290 h 72771"/>
                <a:gd name="connsiteX4" fmla="*/ 37433 w 74580"/>
                <a:gd name="connsiteY4" fmla="*/ 0 h 72771"/>
                <a:gd name="connsiteX5" fmla="*/ 37624 w 74580"/>
                <a:gd name="connsiteY5" fmla="*/ 0 h 72771"/>
                <a:gd name="connsiteX6" fmla="*/ 37148 w 74580"/>
                <a:gd name="connsiteY6" fmla="*/ 7334 h 72771"/>
                <a:gd name="connsiteX7" fmla="*/ 9239 w 74580"/>
                <a:gd name="connsiteY7" fmla="*/ 36290 h 72771"/>
                <a:gd name="connsiteX8" fmla="*/ 37529 w 74580"/>
                <a:gd name="connsiteY8" fmla="*/ 65246 h 72771"/>
                <a:gd name="connsiteX9" fmla="*/ 65151 w 74580"/>
                <a:gd name="connsiteY9" fmla="*/ 36290 h 72771"/>
                <a:gd name="connsiteX10" fmla="*/ 37243 w 74580"/>
                <a:gd name="connsiteY10" fmla="*/ 7334 h 72771"/>
                <a:gd name="connsiteX11" fmla="*/ 37052 w 74580"/>
                <a:gd name="connsiteY11" fmla="*/ 7334 h 72771"/>
                <a:gd name="connsiteX12" fmla="*/ 31623 w 74580"/>
                <a:gd name="connsiteY12" fmla="*/ 55150 h 72771"/>
                <a:gd name="connsiteX13" fmla="*/ 23241 w 74580"/>
                <a:gd name="connsiteY13" fmla="*/ 55150 h 72771"/>
                <a:gd name="connsiteX14" fmla="*/ 23241 w 74580"/>
                <a:gd name="connsiteY14" fmla="*/ 19050 h 72771"/>
                <a:gd name="connsiteX15" fmla="*/ 37148 w 74580"/>
                <a:gd name="connsiteY15" fmla="*/ 17717 h 72771"/>
                <a:gd name="connsiteX16" fmla="*/ 49721 w 74580"/>
                <a:gd name="connsiteY16" fmla="*/ 20574 h 72771"/>
                <a:gd name="connsiteX17" fmla="*/ 53245 w 74580"/>
                <a:gd name="connsiteY17" fmla="*/ 28289 h 72771"/>
                <a:gd name="connsiteX18" fmla="*/ 45720 w 74580"/>
                <a:gd name="connsiteY18" fmla="*/ 36957 h 72771"/>
                <a:gd name="connsiteX19" fmla="*/ 45720 w 74580"/>
                <a:gd name="connsiteY19" fmla="*/ 37433 h 72771"/>
                <a:gd name="connsiteX20" fmla="*/ 52388 w 74580"/>
                <a:gd name="connsiteY20" fmla="*/ 46292 h 72771"/>
                <a:gd name="connsiteX21" fmla="*/ 55054 w 74580"/>
                <a:gd name="connsiteY21" fmla="*/ 55150 h 72771"/>
                <a:gd name="connsiteX22" fmla="*/ 46006 w 74580"/>
                <a:gd name="connsiteY22" fmla="*/ 55150 h 72771"/>
                <a:gd name="connsiteX23" fmla="*/ 43148 w 74580"/>
                <a:gd name="connsiteY23" fmla="*/ 46482 h 72771"/>
                <a:gd name="connsiteX24" fmla="*/ 35624 w 74580"/>
                <a:gd name="connsiteY24" fmla="*/ 40767 h 72771"/>
                <a:gd name="connsiteX25" fmla="*/ 31623 w 74580"/>
                <a:gd name="connsiteY25" fmla="*/ 40767 h 72771"/>
                <a:gd name="connsiteX26" fmla="*/ 31623 w 74580"/>
                <a:gd name="connsiteY26" fmla="*/ 55150 h 72771"/>
                <a:gd name="connsiteX27" fmla="*/ 31814 w 74580"/>
                <a:gd name="connsiteY27" fmla="*/ 34766 h 72771"/>
                <a:gd name="connsiteX28" fmla="*/ 35814 w 74580"/>
                <a:gd name="connsiteY28" fmla="*/ 34766 h 72771"/>
                <a:gd name="connsiteX29" fmla="*/ 44196 w 74580"/>
                <a:gd name="connsiteY29" fmla="*/ 29432 h 72771"/>
                <a:gd name="connsiteX30" fmla="*/ 36481 w 74580"/>
                <a:gd name="connsiteY30" fmla="*/ 23908 h 72771"/>
                <a:gd name="connsiteX31" fmla="*/ 31814 w 74580"/>
                <a:gd name="connsiteY31" fmla="*/ 24384 h 72771"/>
                <a:gd name="connsiteX32" fmla="*/ 31814 w 74580"/>
                <a:gd name="connsiteY32" fmla="*/ 34766 h 7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580" h="72771">
                  <a:moveTo>
                    <a:pt x="37624" y="0"/>
                  </a:moveTo>
                  <a:cubicBezTo>
                    <a:pt x="58388" y="0"/>
                    <a:pt x="74581" y="16193"/>
                    <a:pt x="74581" y="36290"/>
                  </a:cubicBezTo>
                  <a:cubicBezTo>
                    <a:pt x="74581" y="56388"/>
                    <a:pt x="58388" y="72771"/>
                    <a:pt x="37433" y="72771"/>
                  </a:cubicBezTo>
                  <a:cubicBezTo>
                    <a:pt x="16478" y="72771"/>
                    <a:pt x="0" y="56864"/>
                    <a:pt x="0" y="36290"/>
                  </a:cubicBezTo>
                  <a:cubicBezTo>
                    <a:pt x="0" y="15716"/>
                    <a:pt x="16574" y="0"/>
                    <a:pt x="37433" y="0"/>
                  </a:cubicBezTo>
                  <a:lnTo>
                    <a:pt x="37624" y="0"/>
                  </a:lnTo>
                  <a:close/>
                  <a:moveTo>
                    <a:pt x="37148" y="7334"/>
                  </a:moveTo>
                  <a:cubicBezTo>
                    <a:pt x="21241" y="7334"/>
                    <a:pt x="9239" y="20384"/>
                    <a:pt x="9239" y="36290"/>
                  </a:cubicBezTo>
                  <a:cubicBezTo>
                    <a:pt x="9239" y="52197"/>
                    <a:pt x="21146" y="65246"/>
                    <a:pt x="37529" y="65246"/>
                  </a:cubicBezTo>
                  <a:cubicBezTo>
                    <a:pt x="53435" y="65437"/>
                    <a:pt x="65151" y="52388"/>
                    <a:pt x="65151" y="36290"/>
                  </a:cubicBezTo>
                  <a:cubicBezTo>
                    <a:pt x="65151" y="20193"/>
                    <a:pt x="53435" y="7334"/>
                    <a:pt x="37243" y="7334"/>
                  </a:cubicBezTo>
                  <a:lnTo>
                    <a:pt x="37052" y="7334"/>
                  </a:lnTo>
                  <a:close/>
                  <a:moveTo>
                    <a:pt x="31623" y="55150"/>
                  </a:moveTo>
                  <a:lnTo>
                    <a:pt x="23241" y="55150"/>
                  </a:lnTo>
                  <a:lnTo>
                    <a:pt x="23241" y="19050"/>
                  </a:lnTo>
                  <a:cubicBezTo>
                    <a:pt x="26575" y="18383"/>
                    <a:pt x="31242" y="17717"/>
                    <a:pt x="37148" y="17717"/>
                  </a:cubicBezTo>
                  <a:cubicBezTo>
                    <a:pt x="44006" y="17717"/>
                    <a:pt x="47149" y="18860"/>
                    <a:pt x="49721" y="20574"/>
                  </a:cubicBezTo>
                  <a:cubicBezTo>
                    <a:pt x="51721" y="22098"/>
                    <a:pt x="53245" y="24955"/>
                    <a:pt x="53245" y="28289"/>
                  </a:cubicBezTo>
                  <a:cubicBezTo>
                    <a:pt x="53245" y="32480"/>
                    <a:pt x="50102" y="35623"/>
                    <a:pt x="45720" y="36957"/>
                  </a:cubicBezTo>
                  <a:lnTo>
                    <a:pt x="45720" y="37433"/>
                  </a:lnTo>
                  <a:cubicBezTo>
                    <a:pt x="49244" y="38576"/>
                    <a:pt x="51245" y="41434"/>
                    <a:pt x="52388" y="46292"/>
                  </a:cubicBezTo>
                  <a:cubicBezTo>
                    <a:pt x="53531" y="51816"/>
                    <a:pt x="54197" y="54007"/>
                    <a:pt x="55054" y="55150"/>
                  </a:cubicBezTo>
                  <a:lnTo>
                    <a:pt x="46006" y="55150"/>
                  </a:lnTo>
                  <a:cubicBezTo>
                    <a:pt x="44863" y="53816"/>
                    <a:pt x="44196" y="50768"/>
                    <a:pt x="43148" y="46482"/>
                  </a:cubicBezTo>
                  <a:cubicBezTo>
                    <a:pt x="42482" y="42482"/>
                    <a:pt x="40291" y="40767"/>
                    <a:pt x="35624" y="40767"/>
                  </a:cubicBezTo>
                  <a:lnTo>
                    <a:pt x="31623" y="40767"/>
                  </a:lnTo>
                  <a:lnTo>
                    <a:pt x="31623" y="55150"/>
                  </a:lnTo>
                  <a:close/>
                  <a:moveTo>
                    <a:pt x="31814" y="34766"/>
                  </a:moveTo>
                  <a:lnTo>
                    <a:pt x="35814" y="34766"/>
                  </a:lnTo>
                  <a:cubicBezTo>
                    <a:pt x="40481" y="34766"/>
                    <a:pt x="44196" y="33242"/>
                    <a:pt x="44196" y="29432"/>
                  </a:cubicBezTo>
                  <a:cubicBezTo>
                    <a:pt x="44196" y="26098"/>
                    <a:pt x="41815" y="23908"/>
                    <a:pt x="36481" y="23908"/>
                  </a:cubicBezTo>
                  <a:cubicBezTo>
                    <a:pt x="34290" y="23908"/>
                    <a:pt x="32766" y="24098"/>
                    <a:pt x="31814" y="24384"/>
                  </a:cubicBezTo>
                  <a:lnTo>
                    <a:pt x="31814" y="3476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83" name="Group 582">
            <a:extLst>
              <a:ext uri="{FF2B5EF4-FFF2-40B4-BE49-F238E27FC236}">
                <a16:creationId xmlns:a16="http://schemas.microsoft.com/office/drawing/2014/main" id="{ED78580D-066F-4B53-B120-2F4008FD05AA}"/>
              </a:ext>
            </a:extLst>
          </p:cNvPr>
          <p:cNvGrpSpPr/>
          <p:nvPr userDrawn="1"/>
        </p:nvGrpSpPr>
        <p:grpSpPr>
          <a:xfrm>
            <a:off x="9804275" y="4398106"/>
            <a:ext cx="1281204" cy="169341"/>
            <a:chOff x="9992205" y="4084310"/>
            <a:chExt cx="1825540" cy="241287"/>
          </a:xfrm>
        </p:grpSpPr>
        <p:grpSp>
          <p:nvGrpSpPr>
            <p:cNvPr id="584" name="Graphic 692">
              <a:extLst>
                <a:ext uri="{FF2B5EF4-FFF2-40B4-BE49-F238E27FC236}">
                  <a16:creationId xmlns:a16="http://schemas.microsoft.com/office/drawing/2014/main" id="{C9C47170-0D2A-4C2F-9856-76E4F3060B31}"/>
                </a:ext>
              </a:extLst>
            </p:cNvPr>
            <p:cNvGrpSpPr/>
            <p:nvPr/>
          </p:nvGrpSpPr>
          <p:grpSpPr>
            <a:xfrm>
              <a:off x="9992205" y="4123618"/>
              <a:ext cx="332683" cy="174048"/>
              <a:chOff x="9992205" y="4123618"/>
              <a:chExt cx="332683" cy="174048"/>
            </a:xfrm>
            <a:solidFill>
              <a:srgbClr val="FFFFFF"/>
            </a:solidFill>
          </p:grpSpPr>
          <p:sp>
            <p:nvSpPr>
              <p:cNvPr id="610" name="Freeform: Shape 609">
                <a:extLst>
                  <a:ext uri="{FF2B5EF4-FFF2-40B4-BE49-F238E27FC236}">
                    <a16:creationId xmlns:a16="http://schemas.microsoft.com/office/drawing/2014/main" id="{0AE7C722-B62F-4E78-8CA1-3C0D8ED06A6D}"/>
                  </a:ext>
                </a:extLst>
              </p:cNvPr>
              <p:cNvSpPr/>
              <p:nvPr/>
            </p:nvSpPr>
            <p:spPr>
              <a:xfrm>
                <a:off x="10101224" y="4127706"/>
                <a:ext cx="8975" cy="3158"/>
              </a:xfrm>
              <a:custGeom>
                <a:avLst/>
                <a:gdLst>
                  <a:gd name="connsiteX0" fmla="*/ 0 w 8975"/>
                  <a:gd name="connsiteY0" fmla="*/ 0 h 3158"/>
                  <a:gd name="connsiteX1" fmla="*/ 8976 w 8975"/>
                  <a:gd name="connsiteY1" fmla="*/ 3159 h 3158"/>
                  <a:gd name="connsiteX2" fmla="*/ 0 w 8975"/>
                  <a:gd name="connsiteY2" fmla="*/ 0 h 3158"/>
                </a:gdLst>
                <a:ahLst/>
                <a:cxnLst>
                  <a:cxn ang="0">
                    <a:pos x="connsiteX0" y="connsiteY0"/>
                  </a:cxn>
                  <a:cxn ang="0">
                    <a:pos x="connsiteX1" y="connsiteY1"/>
                  </a:cxn>
                  <a:cxn ang="0">
                    <a:pos x="connsiteX2" y="connsiteY2"/>
                  </a:cxn>
                </a:cxnLst>
                <a:rect l="l" t="t" r="r" b="b"/>
                <a:pathLst>
                  <a:path w="8975" h="3158">
                    <a:moveTo>
                      <a:pt x="0" y="0"/>
                    </a:moveTo>
                    <a:cubicBezTo>
                      <a:pt x="3024" y="867"/>
                      <a:pt x="6010" y="1926"/>
                      <a:pt x="8976" y="3159"/>
                    </a:cubicBezTo>
                    <a:cubicBezTo>
                      <a:pt x="6010" y="1926"/>
                      <a:pt x="3024" y="867"/>
                      <a:pt x="0"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1" name="Freeform: Shape 610">
                <a:extLst>
                  <a:ext uri="{FF2B5EF4-FFF2-40B4-BE49-F238E27FC236}">
                    <a16:creationId xmlns:a16="http://schemas.microsoft.com/office/drawing/2014/main" id="{746D29F3-8AD8-45DF-9DDF-29FFB9E2D337}"/>
                  </a:ext>
                </a:extLst>
              </p:cNvPr>
              <p:cNvSpPr/>
              <p:nvPr/>
            </p:nvSpPr>
            <p:spPr>
              <a:xfrm>
                <a:off x="10123336" y="4137606"/>
                <a:ext cx="4276" cy="2773"/>
              </a:xfrm>
              <a:custGeom>
                <a:avLst/>
                <a:gdLst>
                  <a:gd name="connsiteX0" fmla="*/ 4276 w 4276"/>
                  <a:gd name="connsiteY0" fmla="*/ 2774 h 2773"/>
                  <a:gd name="connsiteX1" fmla="*/ 0 w 4276"/>
                  <a:gd name="connsiteY1" fmla="*/ 0 h 2773"/>
                  <a:gd name="connsiteX2" fmla="*/ 4276 w 4276"/>
                  <a:gd name="connsiteY2" fmla="*/ 2774 h 2773"/>
                  <a:gd name="connsiteX3" fmla="*/ 4276 w 4276"/>
                  <a:gd name="connsiteY3" fmla="*/ 2774 h 2773"/>
                </a:gdLst>
                <a:ahLst/>
                <a:cxnLst>
                  <a:cxn ang="0">
                    <a:pos x="connsiteX0" y="connsiteY0"/>
                  </a:cxn>
                  <a:cxn ang="0">
                    <a:pos x="connsiteX1" y="connsiteY1"/>
                  </a:cxn>
                  <a:cxn ang="0">
                    <a:pos x="connsiteX2" y="connsiteY2"/>
                  </a:cxn>
                  <a:cxn ang="0">
                    <a:pos x="connsiteX3" y="connsiteY3"/>
                  </a:cxn>
                </a:cxnLst>
                <a:rect l="l" t="t" r="r" b="b"/>
                <a:pathLst>
                  <a:path w="4276" h="2773">
                    <a:moveTo>
                      <a:pt x="4276" y="2774"/>
                    </a:moveTo>
                    <a:cubicBezTo>
                      <a:pt x="2851" y="1811"/>
                      <a:pt x="1425" y="886"/>
                      <a:pt x="0" y="0"/>
                    </a:cubicBezTo>
                    <a:cubicBezTo>
                      <a:pt x="1425" y="886"/>
                      <a:pt x="2870" y="1811"/>
                      <a:pt x="4276" y="2774"/>
                    </a:cubicBezTo>
                    <a:lnTo>
                      <a:pt x="4276" y="2774"/>
                    </a:ln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2" name="Freeform: Shape 611">
                <a:extLst>
                  <a:ext uri="{FF2B5EF4-FFF2-40B4-BE49-F238E27FC236}">
                    <a16:creationId xmlns:a16="http://schemas.microsoft.com/office/drawing/2014/main" id="{964209CC-E7B2-42B5-8FEE-AB9F8659676F}"/>
                  </a:ext>
                </a:extLst>
              </p:cNvPr>
              <p:cNvSpPr/>
              <p:nvPr/>
            </p:nvSpPr>
            <p:spPr>
              <a:xfrm>
                <a:off x="10110200" y="4130864"/>
                <a:ext cx="13117" cy="6741"/>
              </a:xfrm>
              <a:custGeom>
                <a:avLst/>
                <a:gdLst>
                  <a:gd name="connsiteX0" fmla="*/ 0 w 13117"/>
                  <a:gd name="connsiteY0" fmla="*/ 0 h 6741"/>
                  <a:gd name="connsiteX1" fmla="*/ 13117 w 13117"/>
                  <a:gd name="connsiteY1" fmla="*/ 6742 h 6741"/>
                  <a:gd name="connsiteX2" fmla="*/ 0 w 13117"/>
                  <a:gd name="connsiteY2" fmla="*/ 0 h 6741"/>
                </a:gdLst>
                <a:ahLst/>
                <a:cxnLst>
                  <a:cxn ang="0">
                    <a:pos x="connsiteX0" y="connsiteY0"/>
                  </a:cxn>
                  <a:cxn ang="0">
                    <a:pos x="connsiteX1" y="connsiteY1"/>
                  </a:cxn>
                  <a:cxn ang="0">
                    <a:pos x="connsiteX2" y="connsiteY2"/>
                  </a:cxn>
                </a:cxnLst>
                <a:rect l="l" t="t" r="r" b="b"/>
                <a:pathLst>
                  <a:path w="13117" h="6741">
                    <a:moveTo>
                      <a:pt x="0" y="0"/>
                    </a:moveTo>
                    <a:cubicBezTo>
                      <a:pt x="4449" y="1849"/>
                      <a:pt x="8822" y="4103"/>
                      <a:pt x="13117" y="6742"/>
                    </a:cubicBezTo>
                    <a:cubicBezTo>
                      <a:pt x="8822" y="4103"/>
                      <a:pt x="4430" y="1849"/>
                      <a:pt x="0"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3" name="Freeform: Shape 612">
                <a:extLst>
                  <a:ext uri="{FF2B5EF4-FFF2-40B4-BE49-F238E27FC236}">
                    <a16:creationId xmlns:a16="http://schemas.microsoft.com/office/drawing/2014/main" id="{88FCFF10-2B9A-476B-AE7E-1BBC37A78A30}"/>
                  </a:ext>
                </a:extLst>
              </p:cNvPr>
              <p:cNvSpPr/>
              <p:nvPr/>
            </p:nvSpPr>
            <p:spPr>
              <a:xfrm>
                <a:off x="9992205" y="4124531"/>
                <a:ext cx="135427" cy="172270"/>
              </a:xfrm>
              <a:custGeom>
                <a:avLst/>
                <a:gdLst>
                  <a:gd name="connsiteX0" fmla="*/ 34632 w 135427"/>
                  <a:gd name="connsiteY0" fmla="*/ 155166 h 172270"/>
                  <a:gd name="connsiteX1" fmla="*/ 96654 w 135427"/>
                  <a:gd name="connsiteY1" fmla="*/ 171596 h 172270"/>
                  <a:gd name="connsiteX2" fmla="*/ 134946 w 135427"/>
                  <a:gd name="connsiteY2" fmla="*/ 157054 h 172270"/>
                  <a:gd name="connsiteX3" fmla="*/ 128975 w 135427"/>
                  <a:gd name="connsiteY3" fmla="*/ 151507 h 172270"/>
                  <a:gd name="connsiteX4" fmla="*/ 111967 w 135427"/>
                  <a:gd name="connsiteY4" fmla="*/ 131013 h 172270"/>
                  <a:gd name="connsiteX5" fmla="*/ 100968 w 135427"/>
                  <a:gd name="connsiteY5" fmla="*/ 101119 h 172270"/>
                  <a:gd name="connsiteX6" fmla="*/ 100217 w 135427"/>
                  <a:gd name="connsiteY6" fmla="*/ 78621 h 172270"/>
                  <a:gd name="connsiteX7" fmla="*/ 110021 w 135427"/>
                  <a:gd name="connsiteY7" fmla="*/ 45742 h 172270"/>
                  <a:gd name="connsiteX8" fmla="*/ 133867 w 135427"/>
                  <a:gd name="connsiteY8" fmla="*/ 17640 h 172270"/>
                  <a:gd name="connsiteX9" fmla="*/ 135427 w 135427"/>
                  <a:gd name="connsiteY9" fmla="*/ 15810 h 172270"/>
                  <a:gd name="connsiteX10" fmla="*/ 131151 w 135427"/>
                  <a:gd name="connsiteY10" fmla="*/ 13036 h 172270"/>
                  <a:gd name="connsiteX11" fmla="*/ 118034 w 135427"/>
                  <a:gd name="connsiteY11" fmla="*/ 6295 h 172270"/>
                  <a:gd name="connsiteX12" fmla="*/ 109058 w 135427"/>
                  <a:gd name="connsiteY12" fmla="*/ 3136 h 172270"/>
                  <a:gd name="connsiteX13" fmla="*/ 61771 w 135427"/>
                  <a:gd name="connsiteY13" fmla="*/ 3887 h 172270"/>
                  <a:gd name="connsiteX14" fmla="*/ 2234 w 135427"/>
                  <a:gd name="connsiteY14" fmla="*/ 67334 h 172270"/>
                  <a:gd name="connsiteX15" fmla="*/ 0 w 135427"/>
                  <a:gd name="connsiteY15" fmla="*/ 81376 h 172270"/>
                  <a:gd name="connsiteX16" fmla="*/ 0 w 135427"/>
                  <a:gd name="connsiteY16" fmla="*/ 92933 h 172270"/>
                  <a:gd name="connsiteX17" fmla="*/ 1348 w 135427"/>
                  <a:gd name="connsiteY17" fmla="*/ 100965 h 172270"/>
                  <a:gd name="connsiteX18" fmla="*/ 34632 w 135427"/>
                  <a:gd name="connsiteY18" fmla="*/ 155166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427" h="172270">
                    <a:moveTo>
                      <a:pt x="34632" y="155166"/>
                    </a:moveTo>
                    <a:cubicBezTo>
                      <a:pt x="53007" y="168919"/>
                      <a:pt x="73810" y="174293"/>
                      <a:pt x="96654" y="171596"/>
                    </a:cubicBezTo>
                    <a:cubicBezTo>
                      <a:pt x="110638" y="169940"/>
                      <a:pt x="123389" y="165067"/>
                      <a:pt x="134946" y="157054"/>
                    </a:cubicBezTo>
                    <a:cubicBezTo>
                      <a:pt x="132962" y="155205"/>
                      <a:pt x="131036" y="153279"/>
                      <a:pt x="128975" y="151507"/>
                    </a:cubicBezTo>
                    <a:cubicBezTo>
                      <a:pt x="122098" y="145670"/>
                      <a:pt x="116609" y="138698"/>
                      <a:pt x="111967" y="131013"/>
                    </a:cubicBezTo>
                    <a:cubicBezTo>
                      <a:pt x="106400" y="121767"/>
                      <a:pt x="102798" y="111751"/>
                      <a:pt x="100968" y="101119"/>
                    </a:cubicBezTo>
                    <a:cubicBezTo>
                      <a:pt x="99697" y="93665"/>
                      <a:pt x="99582" y="86191"/>
                      <a:pt x="100217" y="78621"/>
                    </a:cubicBezTo>
                    <a:cubicBezTo>
                      <a:pt x="101200" y="66949"/>
                      <a:pt x="104570" y="56047"/>
                      <a:pt x="110021" y="45742"/>
                    </a:cubicBezTo>
                    <a:cubicBezTo>
                      <a:pt x="115915" y="34628"/>
                      <a:pt x="123909" y="25325"/>
                      <a:pt x="133867" y="17640"/>
                    </a:cubicBezTo>
                    <a:cubicBezTo>
                      <a:pt x="134483" y="17158"/>
                      <a:pt x="134907" y="16426"/>
                      <a:pt x="135427" y="15810"/>
                    </a:cubicBezTo>
                    <a:cubicBezTo>
                      <a:pt x="134002" y="14847"/>
                      <a:pt x="132576" y="13922"/>
                      <a:pt x="131151" y="13036"/>
                    </a:cubicBezTo>
                    <a:cubicBezTo>
                      <a:pt x="126856" y="10397"/>
                      <a:pt x="122464" y="8144"/>
                      <a:pt x="118034" y="6295"/>
                    </a:cubicBezTo>
                    <a:cubicBezTo>
                      <a:pt x="115068" y="5062"/>
                      <a:pt x="112082" y="4003"/>
                      <a:pt x="109058" y="3136"/>
                    </a:cubicBezTo>
                    <a:cubicBezTo>
                      <a:pt x="93957" y="-1237"/>
                      <a:pt x="78124" y="-1082"/>
                      <a:pt x="61771" y="3887"/>
                    </a:cubicBezTo>
                    <a:cubicBezTo>
                      <a:pt x="30086" y="13537"/>
                      <a:pt x="10286" y="35187"/>
                      <a:pt x="2234" y="67334"/>
                    </a:cubicBezTo>
                    <a:cubicBezTo>
                      <a:pt x="1098" y="71918"/>
                      <a:pt x="732" y="76695"/>
                      <a:pt x="0" y="81376"/>
                    </a:cubicBezTo>
                    <a:lnTo>
                      <a:pt x="0" y="92933"/>
                    </a:lnTo>
                    <a:cubicBezTo>
                      <a:pt x="443" y="95610"/>
                      <a:pt x="867" y="98287"/>
                      <a:pt x="1348" y="100965"/>
                    </a:cubicBezTo>
                    <a:cubicBezTo>
                      <a:pt x="5335" y="123385"/>
                      <a:pt x="16449" y="141568"/>
                      <a:pt x="34632" y="155166"/>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4" name="Freeform: Shape 613">
                <a:extLst>
                  <a:ext uri="{FF2B5EF4-FFF2-40B4-BE49-F238E27FC236}">
                    <a16:creationId xmlns:a16="http://schemas.microsoft.com/office/drawing/2014/main" id="{4F3B2A99-86DD-460B-9AF0-C1FEEC23D10E}"/>
                  </a:ext>
                </a:extLst>
              </p:cNvPr>
              <p:cNvSpPr/>
              <p:nvPr/>
            </p:nvSpPr>
            <p:spPr>
              <a:xfrm>
                <a:off x="10092025" y="4124709"/>
                <a:ext cx="135939" cy="172957"/>
              </a:xfrm>
              <a:custGeom>
                <a:avLst/>
                <a:gdLst>
                  <a:gd name="connsiteX0" fmla="*/ 34027 w 135939"/>
                  <a:gd name="connsiteY0" fmla="*/ 17481 h 172957"/>
                  <a:gd name="connsiteX1" fmla="*/ 10181 w 135939"/>
                  <a:gd name="connsiteY1" fmla="*/ 45584 h 172957"/>
                  <a:gd name="connsiteX2" fmla="*/ 377 w 135939"/>
                  <a:gd name="connsiteY2" fmla="*/ 78463 h 172957"/>
                  <a:gd name="connsiteX3" fmla="*/ 1128 w 135939"/>
                  <a:gd name="connsiteY3" fmla="*/ 100960 h 172957"/>
                  <a:gd name="connsiteX4" fmla="*/ 12127 w 135939"/>
                  <a:gd name="connsiteY4" fmla="*/ 130854 h 172957"/>
                  <a:gd name="connsiteX5" fmla="*/ 29134 w 135939"/>
                  <a:gd name="connsiteY5" fmla="*/ 151348 h 172957"/>
                  <a:gd name="connsiteX6" fmla="*/ 35105 w 135939"/>
                  <a:gd name="connsiteY6" fmla="*/ 156896 h 172957"/>
                  <a:gd name="connsiteX7" fmla="*/ 37744 w 135939"/>
                  <a:gd name="connsiteY7" fmla="*/ 157897 h 172957"/>
                  <a:gd name="connsiteX8" fmla="*/ 90251 w 135939"/>
                  <a:gd name="connsiteY8" fmla="*/ 172883 h 172957"/>
                  <a:gd name="connsiteX9" fmla="*/ 135939 w 135939"/>
                  <a:gd name="connsiteY9" fmla="*/ 157531 h 172957"/>
                  <a:gd name="connsiteX10" fmla="*/ 127368 w 135939"/>
                  <a:gd name="connsiteY10" fmla="*/ 150616 h 172957"/>
                  <a:gd name="connsiteX11" fmla="*/ 98649 w 135939"/>
                  <a:gd name="connsiteY11" fmla="*/ 99419 h 172957"/>
                  <a:gd name="connsiteX12" fmla="*/ 115271 w 135939"/>
                  <a:gd name="connsiteY12" fmla="*/ 32467 h 172957"/>
                  <a:gd name="connsiteX13" fmla="*/ 134051 w 135939"/>
                  <a:gd name="connsiteY13" fmla="*/ 14226 h 172957"/>
                  <a:gd name="connsiteX14" fmla="*/ 90078 w 135939"/>
                  <a:gd name="connsiteY14" fmla="*/ 69 h 172957"/>
                  <a:gd name="connsiteX15" fmla="*/ 38014 w 135939"/>
                  <a:gd name="connsiteY15" fmla="*/ 14920 h 172957"/>
                  <a:gd name="connsiteX16" fmla="*/ 36203 w 135939"/>
                  <a:gd name="connsiteY16" fmla="*/ 15536 h 172957"/>
                  <a:gd name="connsiteX17" fmla="*/ 35568 w 135939"/>
                  <a:gd name="connsiteY17" fmla="*/ 15709 h 172957"/>
                  <a:gd name="connsiteX18" fmla="*/ 35568 w 135939"/>
                  <a:gd name="connsiteY18" fmla="*/ 15709 h 172957"/>
                  <a:gd name="connsiteX19" fmla="*/ 34008 w 135939"/>
                  <a:gd name="connsiteY19" fmla="*/ 17539 h 17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39" h="172957">
                    <a:moveTo>
                      <a:pt x="34027" y="17481"/>
                    </a:moveTo>
                    <a:cubicBezTo>
                      <a:pt x="24088" y="25147"/>
                      <a:pt x="16075" y="34470"/>
                      <a:pt x="10181" y="45584"/>
                    </a:cubicBezTo>
                    <a:cubicBezTo>
                      <a:pt x="4730" y="55889"/>
                      <a:pt x="1340" y="66771"/>
                      <a:pt x="377" y="78463"/>
                    </a:cubicBezTo>
                    <a:cubicBezTo>
                      <a:pt x="-259" y="86014"/>
                      <a:pt x="-143" y="93506"/>
                      <a:pt x="1128" y="100960"/>
                    </a:cubicBezTo>
                    <a:cubicBezTo>
                      <a:pt x="2939" y="111593"/>
                      <a:pt x="6541" y="121589"/>
                      <a:pt x="12127" y="130854"/>
                    </a:cubicBezTo>
                    <a:cubicBezTo>
                      <a:pt x="16749" y="138539"/>
                      <a:pt x="22258" y="145512"/>
                      <a:pt x="29134" y="151348"/>
                    </a:cubicBezTo>
                    <a:cubicBezTo>
                      <a:pt x="31195" y="153101"/>
                      <a:pt x="33121" y="155027"/>
                      <a:pt x="35105" y="156896"/>
                    </a:cubicBezTo>
                    <a:cubicBezTo>
                      <a:pt x="35991" y="157223"/>
                      <a:pt x="36993" y="157396"/>
                      <a:pt x="37744" y="157897"/>
                    </a:cubicBezTo>
                    <a:cubicBezTo>
                      <a:pt x="53654" y="168491"/>
                      <a:pt x="71067" y="173653"/>
                      <a:pt x="90251" y="172883"/>
                    </a:cubicBezTo>
                    <a:cubicBezTo>
                      <a:pt x="107008" y="172189"/>
                      <a:pt x="122167" y="166969"/>
                      <a:pt x="135939" y="157531"/>
                    </a:cubicBezTo>
                    <a:cubicBezTo>
                      <a:pt x="133069" y="155239"/>
                      <a:pt x="130141" y="153024"/>
                      <a:pt x="127368" y="150616"/>
                    </a:cubicBezTo>
                    <a:cubicBezTo>
                      <a:pt x="111631" y="137018"/>
                      <a:pt x="101923" y="119817"/>
                      <a:pt x="98649" y="99419"/>
                    </a:cubicBezTo>
                    <a:cubicBezTo>
                      <a:pt x="94720" y="74900"/>
                      <a:pt x="100344" y="52441"/>
                      <a:pt x="115271" y="32467"/>
                    </a:cubicBezTo>
                    <a:cubicBezTo>
                      <a:pt x="120549" y="25398"/>
                      <a:pt x="127079" y="19581"/>
                      <a:pt x="134051" y="14226"/>
                    </a:cubicBezTo>
                    <a:cubicBezTo>
                      <a:pt x="120703" y="5462"/>
                      <a:pt x="106007" y="685"/>
                      <a:pt x="90078" y="69"/>
                    </a:cubicBezTo>
                    <a:cubicBezTo>
                      <a:pt x="71144" y="-663"/>
                      <a:pt x="53789" y="4441"/>
                      <a:pt x="38014" y="14920"/>
                    </a:cubicBezTo>
                    <a:cubicBezTo>
                      <a:pt x="37494" y="15266"/>
                      <a:pt x="36839" y="15382"/>
                      <a:pt x="36203" y="15536"/>
                    </a:cubicBezTo>
                    <a:cubicBezTo>
                      <a:pt x="35991" y="15594"/>
                      <a:pt x="35780" y="15632"/>
                      <a:pt x="35568" y="15709"/>
                    </a:cubicBezTo>
                    <a:lnTo>
                      <a:pt x="35568" y="15709"/>
                    </a:lnTo>
                    <a:cubicBezTo>
                      <a:pt x="35048" y="16326"/>
                      <a:pt x="34624" y="17058"/>
                      <a:pt x="34008" y="17539"/>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5" name="Freeform: Shape 614">
                <a:extLst>
                  <a:ext uri="{FF2B5EF4-FFF2-40B4-BE49-F238E27FC236}">
                    <a16:creationId xmlns:a16="http://schemas.microsoft.com/office/drawing/2014/main" id="{950AE1A3-1DF5-4F09-B94D-283896922D02}"/>
                  </a:ext>
                </a:extLst>
              </p:cNvPr>
              <p:cNvSpPr/>
              <p:nvPr/>
            </p:nvSpPr>
            <p:spPr>
              <a:xfrm>
                <a:off x="10127612" y="4140206"/>
                <a:ext cx="635" cy="173"/>
              </a:xfrm>
              <a:custGeom>
                <a:avLst/>
                <a:gdLst>
                  <a:gd name="connsiteX0" fmla="*/ 636 w 635"/>
                  <a:gd name="connsiteY0" fmla="*/ 0 h 173"/>
                  <a:gd name="connsiteX1" fmla="*/ 0 w 635"/>
                  <a:gd name="connsiteY1" fmla="*/ 173 h 173"/>
                  <a:gd name="connsiteX2" fmla="*/ 0 w 635"/>
                  <a:gd name="connsiteY2" fmla="*/ 173 h 173"/>
                  <a:gd name="connsiteX3" fmla="*/ 636 w 635"/>
                  <a:gd name="connsiteY3" fmla="*/ 0 h 173"/>
                </a:gdLst>
                <a:ahLst/>
                <a:cxnLst>
                  <a:cxn ang="0">
                    <a:pos x="connsiteX0" y="connsiteY0"/>
                  </a:cxn>
                  <a:cxn ang="0">
                    <a:pos x="connsiteX1" y="connsiteY1"/>
                  </a:cxn>
                  <a:cxn ang="0">
                    <a:pos x="connsiteX2" y="connsiteY2"/>
                  </a:cxn>
                  <a:cxn ang="0">
                    <a:pos x="connsiteX3" y="connsiteY3"/>
                  </a:cxn>
                </a:cxnLst>
                <a:rect l="l" t="t" r="r" b="b"/>
                <a:pathLst>
                  <a:path w="635" h="173">
                    <a:moveTo>
                      <a:pt x="636" y="0"/>
                    </a:moveTo>
                    <a:cubicBezTo>
                      <a:pt x="424" y="58"/>
                      <a:pt x="212" y="96"/>
                      <a:pt x="0" y="173"/>
                    </a:cubicBezTo>
                    <a:lnTo>
                      <a:pt x="0" y="173"/>
                    </a:lnTo>
                    <a:cubicBezTo>
                      <a:pt x="212" y="116"/>
                      <a:pt x="424" y="58"/>
                      <a:pt x="636"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6" name="Freeform: Shape 615">
                <a:extLst>
                  <a:ext uri="{FF2B5EF4-FFF2-40B4-BE49-F238E27FC236}">
                    <a16:creationId xmlns:a16="http://schemas.microsoft.com/office/drawing/2014/main" id="{FCCBBB05-8429-4D10-9C1F-1547BB01DD7E}"/>
                  </a:ext>
                </a:extLst>
              </p:cNvPr>
              <p:cNvSpPr/>
              <p:nvPr/>
            </p:nvSpPr>
            <p:spPr>
              <a:xfrm>
                <a:off x="10189499" y="4123618"/>
                <a:ext cx="135389" cy="172494"/>
              </a:xfrm>
              <a:custGeom>
                <a:avLst/>
                <a:gdLst>
                  <a:gd name="connsiteX0" fmla="*/ 17837 w 135389"/>
                  <a:gd name="connsiteY0" fmla="*/ 33500 h 172494"/>
                  <a:gd name="connsiteX1" fmla="*/ 1214 w 135389"/>
                  <a:gd name="connsiteY1" fmla="*/ 100453 h 172494"/>
                  <a:gd name="connsiteX2" fmla="*/ 29933 w 135389"/>
                  <a:gd name="connsiteY2" fmla="*/ 151649 h 172494"/>
                  <a:gd name="connsiteX3" fmla="*/ 38504 w 135389"/>
                  <a:gd name="connsiteY3" fmla="*/ 158564 h 172494"/>
                  <a:gd name="connsiteX4" fmla="*/ 41471 w 135389"/>
                  <a:gd name="connsiteY4" fmla="*/ 159547 h 172494"/>
                  <a:gd name="connsiteX5" fmla="*/ 48867 w 135389"/>
                  <a:gd name="connsiteY5" fmla="*/ 163707 h 172494"/>
                  <a:gd name="connsiteX6" fmla="*/ 74851 w 135389"/>
                  <a:gd name="connsiteY6" fmla="*/ 171643 h 172494"/>
                  <a:gd name="connsiteX7" fmla="*/ 100950 w 135389"/>
                  <a:gd name="connsiteY7" fmla="*/ 171373 h 172494"/>
                  <a:gd name="connsiteX8" fmla="*/ 128532 w 135389"/>
                  <a:gd name="connsiteY8" fmla="*/ 161608 h 172494"/>
                  <a:gd name="connsiteX9" fmla="*/ 134292 w 135389"/>
                  <a:gd name="connsiteY9" fmla="*/ 158006 h 172494"/>
                  <a:gd name="connsiteX10" fmla="*/ 98234 w 135389"/>
                  <a:gd name="connsiteY10" fmla="*/ 86064 h 172494"/>
                  <a:gd name="connsiteX11" fmla="*/ 135389 w 135389"/>
                  <a:gd name="connsiteY11" fmla="*/ 15105 h 172494"/>
                  <a:gd name="connsiteX12" fmla="*/ 119422 w 135389"/>
                  <a:gd name="connsiteY12" fmla="*/ 6418 h 172494"/>
                  <a:gd name="connsiteX13" fmla="*/ 87717 w 135389"/>
                  <a:gd name="connsiteY13" fmla="*/ 4 h 172494"/>
                  <a:gd name="connsiteX14" fmla="*/ 71730 w 135389"/>
                  <a:gd name="connsiteY14" fmla="*/ 1372 h 172494"/>
                  <a:gd name="connsiteX15" fmla="*/ 43647 w 135389"/>
                  <a:gd name="connsiteY15" fmla="*/ 11599 h 172494"/>
                  <a:gd name="connsiteX16" fmla="*/ 36636 w 135389"/>
                  <a:gd name="connsiteY16" fmla="*/ 15240 h 172494"/>
                  <a:gd name="connsiteX17" fmla="*/ 17856 w 135389"/>
                  <a:gd name="connsiteY17" fmla="*/ 33480 h 1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389" h="172494">
                    <a:moveTo>
                      <a:pt x="17837" y="33500"/>
                    </a:moveTo>
                    <a:cubicBezTo>
                      <a:pt x="2909" y="53474"/>
                      <a:pt x="-2715" y="75952"/>
                      <a:pt x="1214" y="100453"/>
                    </a:cubicBezTo>
                    <a:cubicBezTo>
                      <a:pt x="4489" y="120870"/>
                      <a:pt x="14177" y="138051"/>
                      <a:pt x="29933" y="151649"/>
                    </a:cubicBezTo>
                    <a:cubicBezTo>
                      <a:pt x="32707" y="154057"/>
                      <a:pt x="35654" y="156272"/>
                      <a:pt x="38504" y="158564"/>
                    </a:cubicBezTo>
                    <a:cubicBezTo>
                      <a:pt x="39506" y="158872"/>
                      <a:pt x="40565" y="159065"/>
                      <a:pt x="41471" y="159547"/>
                    </a:cubicBezTo>
                    <a:cubicBezTo>
                      <a:pt x="43975" y="160876"/>
                      <a:pt x="46305" y="162513"/>
                      <a:pt x="48867" y="163707"/>
                    </a:cubicBezTo>
                    <a:cubicBezTo>
                      <a:pt x="57130" y="167598"/>
                      <a:pt x="65721" y="170372"/>
                      <a:pt x="74851" y="171643"/>
                    </a:cubicBezTo>
                    <a:cubicBezTo>
                      <a:pt x="83595" y="172856"/>
                      <a:pt x="92302" y="172779"/>
                      <a:pt x="100950" y="171373"/>
                    </a:cubicBezTo>
                    <a:cubicBezTo>
                      <a:pt x="110696" y="169794"/>
                      <a:pt x="119884" y="166423"/>
                      <a:pt x="128532" y="161608"/>
                    </a:cubicBezTo>
                    <a:cubicBezTo>
                      <a:pt x="130478" y="160529"/>
                      <a:pt x="132308" y="159258"/>
                      <a:pt x="134292" y="158006"/>
                    </a:cubicBezTo>
                    <a:cubicBezTo>
                      <a:pt x="110446" y="139573"/>
                      <a:pt x="97964" y="115823"/>
                      <a:pt x="98234" y="86064"/>
                    </a:cubicBezTo>
                    <a:cubicBezTo>
                      <a:pt x="98504" y="56363"/>
                      <a:pt x="111505" y="32922"/>
                      <a:pt x="135389" y="15105"/>
                    </a:cubicBezTo>
                    <a:cubicBezTo>
                      <a:pt x="130227" y="11407"/>
                      <a:pt x="124950" y="8691"/>
                      <a:pt x="119422" y="6418"/>
                    </a:cubicBezTo>
                    <a:cubicBezTo>
                      <a:pt x="109271" y="2219"/>
                      <a:pt x="98696" y="-111"/>
                      <a:pt x="87717" y="4"/>
                    </a:cubicBezTo>
                    <a:cubicBezTo>
                      <a:pt x="82382" y="62"/>
                      <a:pt x="77027" y="601"/>
                      <a:pt x="71730" y="1372"/>
                    </a:cubicBezTo>
                    <a:cubicBezTo>
                      <a:pt x="61695" y="2836"/>
                      <a:pt x="52411" y="6534"/>
                      <a:pt x="43647" y="11599"/>
                    </a:cubicBezTo>
                    <a:cubicBezTo>
                      <a:pt x="41374" y="12909"/>
                      <a:pt x="38967" y="14026"/>
                      <a:pt x="36636" y="15240"/>
                    </a:cubicBezTo>
                    <a:cubicBezTo>
                      <a:pt x="29683" y="20595"/>
                      <a:pt x="23153" y="26412"/>
                      <a:pt x="17856" y="3348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585" name="Freeform: Shape 584">
              <a:extLst>
                <a:ext uri="{FF2B5EF4-FFF2-40B4-BE49-F238E27FC236}">
                  <a16:creationId xmlns:a16="http://schemas.microsoft.com/office/drawing/2014/main" id="{D42933CC-5621-40C1-939B-8EFB4B6C0A23}"/>
                </a:ext>
              </a:extLst>
            </p:cNvPr>
            <p:cNvSpPr/>
            <p:nvPr/>
          </p:nvSpPr>
          <p:spPr>
            <a:xfrm>
              <a:off x="10101224" y="4127667"/>
              <a:ext cx="8975" cy="3158"/>
            </a:xfrm>
            <a:custGeom>
              <a:avLst/>
              <a:gdLst>
                <a:gd name="connsiteX0" fmla="*/ 0 w 8975"/>
                <a:gd name="connsiteY0" fmla="*/ 0 h 3158"/>
                <a:gd name="connsiteX1" fmla="*/ 8976 w 8975"/>
                <a:gd name="connsiteY1" fmla="*/ 3159 h 3158"/>
                <a:gd name="connsiteX2" fmla="*/ 0 w 8975"/>
                <a:gd name="connsiteY2" fmla="*/ 0 h 3158"/>
              </a:gdLst>
              <a:ahLst/>
              <a:cxnLst>
                <a:cxn ang="0">
                  <a:pos x="connsiteX0" y="connsiteY0"/>
                </a:cxn>
                <a:cxn ang="0">
                  <a:pos x="connsiteX1" y="connsiteY1"/>
                </a:cxn>
                <a:cxn ang="0">
                  <a:pos x="connsiteX2" y="connsiteY2"/>
                </a:cxn>
              </a:cxnLst>
              <a:rect l="l" t="t" r="r" b="b"/>
              <a:pathLst>
                <a:path w="8975" h="3158">
                  <a:moveTo>
                    <a:pt x="0" y="0"/>
                  </a:moveTo>
                  <a:cubicBezTo>
                    <a:pt x="3024" y="867"/>
                    <a:pt x="6010" y="1926"/>
                    <a:pt x="8976" y="3159"/>
                  </a:cubicBezTo>
                  <a:cubicBezTo>
                    <a:pt x="6010" y="1926"/>
                    <a:pt x="3024" y="867"/>
                    <a:pt x="0" y="0"/>
                  </a:cubicBez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6" name="Freeform: Shape 585">
              <a:extLst>
                <a:ext uri="{FF2B5EF4-FFF2-40B4-BE49-F238E27FC236}">
                  <a16:creationId xmlns:a16="http://schemas.microsoft.com/office/drawing/2014/main" id="{5D91A0F9-9548-4F60-9D39-D02F514C34A3}"/>
                </a:ext>
              </a:extLst>
            </p:cNvPr>
            <p:cNvSpPr/>
            <p:nvPr/>
          </p:nvSpPr>
          <p:spPr>
            <a:xfrm>
              <a:off x="10123336" y="4137567"/>
              <a:ext cx="4276" cy="2773"/>
            </a:xfrm>
            <a:custGeom>
              <a:avLst/>
              <a:gdLst>
                <a:gd name="connsiteX0" fmla="*/ 4276 w 4276"/>
                <a:gd name="connsiteY0" fmla="*/ 2774 h 2773"/>
                <a:gd name="connsiteX1" fmla="*/ 0 w 4276"/>
                <a:gd name="connsiteY1" fmla="*/ 0 h 2773"/>
                <a:gd name="connsiteX2" fmla="*/ 4276 w 4276"/>
                <a:gd name="connsiteY2" fmla="*/ 2774 h 2773"/>
                <a:gd name="connsiteX3" fmla="*/ 4276 w 4276"/>
                <a:gd name="connsiteY3" fmla="*/ 2774 h 2773"/>
              </a:gdLst>
              <a:ahLst/>
              <a:cxnLst>
                <a:cxn ang="0">
                  <a:pos x="connsiteX0" y="connsiteY0"/>
                </a:cxn>
                <a:cxn ang="0">
                  <a:pos x="connsiteX1" y="connsiteY1"/>
                </a:cxn>
                <a:cxn ang="0">
                  <a:pos x="connsiteX2" y="connsiteY2"/>
                </a:cxn>
                <a:cxn ang="0">
                  <a:pos x="connsiteX3" y="connsiteY3"/>
                </a:cxn>
              </a:cxnLst>
              <a:rect l="l" t="t" r="r" b="b"/>
              <a:pathLst>
                <a:path w="4276" h="2773">
                  <a:moveTo>
                    <a:pt x="4276" y="2774"/>
                  </a:moveTo>
                  <a:cubicBezTo>
                    <a:pt x="2851" y="1811"/>
                    <a:pt x="1425" y="886"/>
                    <a:pt x="0" y="0"/>
                  </a:cubicBezTo>
                  <a:cubicBezTo>
                    <a:pt x="1425" y="886"/>
                    <a:pt x="2870" y="1811"/>
                    <a:pt x="4276" y="2774"/>
                  </a:cubicBezTo>
                  <a:lnTo>
                    <a:pt x="4276" y="2774"/>
                  </a:ln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7" name="Freeform: Shape 586">
              <a:extLst>
                <a:ext uri="{FF2B5EF4-FFF2-40B4-BE49-F238E27FC236}">
                  <a16:creationId xmlns:a16="http://schemas.microsoft.com/office/drawing/2014/main" id="{FF0B83F0-E1D5-4D5C-A032-140BE54D6BB3}"/>
                </a:ext>
              </a:extLst>
            </p:cNvPr>
            <p:cNvSpPr/>
            <p:nvPr/>
          </p:nvSpPr>
          <p:spPr>
            <a:xfrm>
              <a:off x="10110200" y="4130826"/>
              <a:ext cx="13117" cy="6741"/>
            </a:xfrm>
            <a:custGeom>
              <a:avLst/>
              <a:gdLst>
                <a:gd name="connsiteX0" fmla="*/ 0 w 13117"/>
                <a:gd name="connsiteY0" fmla="*/ 0 h 6741"/>
                <a:gd name="connsiteX1" fmla="*/ 13117 w 13117"/>
                <a:gd name="connsiteY1" fmla="*/ 6742 h 6741"/>
                <a:gd name="connsiteX2" fmla="*/ 0 w 13117"/>
                <a:gd name="connsiteY2" fmla="*/ 0 h 6741"/>
              </a:gdLst>
              <a:ahLst/>
              <a:cxnLst>
                <a:cxn ang="0">
                  <a:pos x="connsiteX0" y="connsiteY0"/>
                </a:cxn>
                <a:cxn ang="0">
                  <a:pos x="connsiteX1" y="connsiteY1"/>
                </a:cxn>
                <a:cxn ang="0">
                  <a:pos x="connsiteX2" y="connsiteY2"/>
                </a:cxn>
              </a:cxnLst>
              <a:rect l="l" t="t" r="r" b="b"/>
              <a:pathLst>
                <a:path w="13117" h="6741">
                  <a:moveTo>
                    <a:pt x="0" y="0"/>
                  </a:moveTo>
                  <a:cubicBezTo>
                    <a:pt x="4449" y="1849"/>
                    <a:pt x="8822" y="4103"/>
                    <a:pt x="13117" y="6742"/>
                  </a:cubicBezTo>
                  <a:cubicBezTo>
                    <a:pt x="8822" y="4103"/>
                    <a:pt x="4430" y="1849"/>
                    <a:pt x="0" y="0"/>
                  </a:cubicBez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8" name="Freeform: Shape 587">
              <a:extLst>
                <a:ext uri="{FF2B5EF4-FFF2-40B4-BE49-F238E27FC236}">
                  <a16:creationId xmlns:a16="http://schemas.microsoft.com/office/drawing/2014/main" id="{E4C593DD-7CFB-424C-84CE-0189EBC6B077}"/>
                </a:ext>
              </a:extLst>
            </p:cNvPr>
            <p:cNvSpPr/>
            <p:nvPr/>
          </p:nvSpPr>
          <p:spPr>
            <a:xfrm>
              <a:off x="9992205" y="4124493"/>
              <a:ext cx="135427" cy="172270"/>
            </a:xfrm>
            <a:custGeom>
              <a:avLst/>
              <a:gdLst>
                <a:gd name="connsiteX0" fmla="*/ 34632 w 135427"/>
                <a:gd name="connsiteY0" fmla="*/ 155166 h 172270"/>
                <a:gd name="connsiteX1" fmla="*/ 96654 w 135427"/>
                <a:gd name="connsiteY1" fmla="*/ 171596 h 172270"/>
                <a:gd name="connsiteX2" fmla="*/ 134946 w 135427"/>
                <a:gd name="connsiteY2" fmla="*/ 157054 h 172270"/>
                <a:gd name="connsiteX3" fmla="*/ 128975 w 135427"/>
                <a:gd name="connsiteY3" fmla="*/ 151507 h 172270"/>
                <a:gd name="connsiteX4" fmla="*/ 111967 w 135427"/>
                <a:gd name="connsiteY4" fmla="*/ 131013 h 172270"/>
                <a:gd name="connsiteX5" fmla="*/ 100968 w 135427"/>
                <a:gd name="connsiteY5" fmla="*/ 101119 h 172270"/>
                <a:gd name="connsiteX6" fmla="*/ 100217 w 135427"/>
                <a:gd name="connsiteY6" fmla="*/ 78621 h 172270"/>
                <a:gd name="connsiteX7" fmla="*/ 110021 w 135427"/>
                <a:gd name="connsiteY7" fmla="*/ 45742 h 172270"/>
                <a:gd name="connsiteX8" fmla="*/ 133867 w 135427"/>
                <a:gd name="connsiteY8" fmla="*/ 17640 h 172270"/>
                <a:gd name="connsiteX9" fmla="*/ 135427 w 135427"/>
                <a:gd name="connsiteY9" fmla="*/ 15810 h 172270"/>
                <a:gd name="connsiteX10" fmla="*/ 131151 w 135427"/>
                <a:gd name="connsiteY10" fmla="*/ 13036 h 172270"/>
                <a:gd name="connsiteX11" fmla="*/ 118034 w 135427"/>
                <a:gd name="connsiteY11" fmla="*/ 6295 h 172270"/>
                <a:gd name="connsiteX12" fmla="*/ 109058 w 135427"/>
                <a:gd name="connsiteY12" fmla="*/ 3136 h 172270"/>
                <a:gd name="connsiteX13" fmla="*/ 61771 w 135427"/>
                <a:gd name="connsiteY13" fmla="*/ 3887 h 172270"/>
                <a:gd name="connsiteX14" fmla="*/ 2234 w 135427"/>
                <a:gd name="connsiteY14" fmla="*/ 67334 h 172270"/>
                <a:gd name="connsiteX15" fmla="*/ 0 w 135427"/>
                <a:gd name="connsiteY15" fmla="*/ 81376 h 172270"/>
                <a:gd name="connsiteX16" fmla="*/ 0 w 135427"/>
                <a:gd name="connsiteY16" fmla="*/ 92933 h 172270"/>
                <a:gd name="connsiteX17" fmla="*/ 1348 w 135427"/>
                <a:gd name="connsiteY17" fmla="*/ 100965 h 172270"/>
                <a:gd name="connsiteX18" fmla="*/ 34632 w 135427"/>
                <a:gd name="connsiteY18" fmla="*/ 155166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427" h="172270">
                  <a:moveTo>
                    <a:pt x="34632" y="155166"/>
                  </a:moveTo>
                  <a:cubicBezTo>
                    <a:pt x="53007" y="168919"/>
                    <a:pt x="73810" y="174293"/>
                    <a:pt x="96654" y="171596"/>
                  </a:cubicBezTo>
                  <a:cubicBezTo>
                    <a:pt x="110638" y="169940"/>
                    <a:pt x="123389" y="165067"/>
                    <a:pt x="134946" y="157054"/>
                  </a:cubicBezTo>
                  <a:cubicBezTo>
                    <a:pt x="132962" y="155205"/>
                    <a:pt x="131036" y="153279"/>
                    <a:pt x="128975" y="151507"/>
                  </a:cubicBezTo>
                  <a:cubicBezTo>
                    <a:pt x="122098" y="145670"/>
                    <a:pt x="116609" y="138698"/>
                    <a:pt x="111967" y="131013"/>
                  </a:cubicBezTo>
                  <a:cubicBezTo>
                    <a:pt x="106400" y="121767"/>
                    <a:pt x="102798" y="111751"/>
                    <a:pt x="100968" y="101119"/>
                  </a:cubicBezTo>
                  <a:cubicBezTo>
                    <a:pt x="99697" y="93665"/>
                    <a:pt x="99582" y="86191"/>
                    <a:pt x="100217" y="78621"/>
                  </a:cubicBezTo>
                  <a:cubicBezTo>
                    <a:pt x="101200" y="66949"/>
                    <a:pt x="104570" y="56047"/>
                    <a:pt x="110021" y="45742"/>
                  </a:cubicBezTo>
                  <a:cubicBezTo>
                    <a:pt x="115915" y="34628"/>
                    <a:pt x="123909" y="25325"/>
                    <a:pt x="133867" y="17640"/>
                  </a:cubicBezTo>
                  <a:cubicBezTo>
                    <a:pt x="134483" y="17158"/>
                    <a:pt x="134907" y="16426"/>
                    <a:pt x="135427" y="15810"/>
                  </a:cubicBezTo>
                  <a:cubicBezTo>
                    <a:pt x="134002" y="14847"/>
                    <a:pt x="132576" y="13922"/>
                    <a:pt x="131151" y="13036"/>
                  </a:cubicBezTo>
                  <a:cubicBezTo>
                    <a:pt x="126856" y="10397"/>
                    <a:pt x="122464" y="8144"/>
                    <a:pt x="118034" y="6295"/>
                  </a:cubicBezTo>
                  <a:cubicBezTo>
                    <a:pt x="115068" y="5062"/>
                    <a:pt x="112082" y="4003"/>
                    <a:pt x="109058" y="3136"/>
                  </a:cubicBezTo>
                  <a:cubicBezTo>
                    <a:pt x="93957" y="-1237"/>
                    <a:pt x="78124" y="-1082"/>
                    <a:pt x="61771" y="3887"/>
                  </a:cubicBezTo>
                  <a:cubicBezTo>
                    <a:pt x="30086" y="13537"/>
                    <a:pt x="10286" y="35187"/>
                    <a:pt x="2234" y="67334"/>
                  </a:cubicBezTo>
                  <a:cubicBezTo>
                    <a:pt x="1098" y="71918"/>
                    <a:pt x="732" y="76695"/>
                    <a:pt x="0" y="81376"/>
                  </a:cubicBezTo>
                  <a:lnTo>
                    <a:pt x="0" y="92933"/>
                  </a:lnTo>
                  <a:cubicBezTo>
                    <a:pt x="443" y="95610"/>
                    <a:pt x="867" y="98287"/>
                    <a:pt x="1348" y="100965"/>
                  </a:cubicBezTo>
                  <a:cubicBezTo>
                    <a:pt x="5335" y="123385"/>
                    <a:pt x="16449" y="141568"/>
                    <a:pt x="34632" y="155166"/>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9" name="Freeform: Shape 588">
              <a:extLst>
                <a:ext uri="{FF2B5EF4-FFF2-40B4-BE49-F238E27FC236}">
                  <a16:creationId xmlns:a16="http://schemas.microsoft.com/office/drawing/2014/main" id="{B665121C-4C61-48C0-ABF2-FBC98A049AAF}"/>
                </a:ext>
              </a:extLst>
            </p:cNvPr>
            <p:cNvSpPr/>
            <p:nvPr/>
          </p:nvSpPr>
          <p:spPr>
            <a:xfrm>
              <a:off x="11131249" y="4325039"/>
              <a:ext cx="49463" cy="558"/>
            </a:xfrm>
            <a:custGeom>
              <a:avLst/>
              <a:gdLst>
                <a:gd name="connsiteX0" fmla="*/ 58 w 49463"/>
                <a:gd name="connsiteY0" fmla="*/ 19 h 558"/>
                <a:gd name="connsiteX1" fmla="*/ 58 w 49463"/>
                <a:gd name="connsiteY1" fmla="*/ 19 h 558"/>
                <a:gd name="connsiteX2" fmla="*/ 0 w 49463"/>
                <a:gd name="connsiteY2" fmla="*/ 559 h 558"/>
                <a:gd name="connsiteX3" fmla="*/ 49463 w 49463"/>
                <a:gd name="connsiteY3" fmla="*/ 559 h 558"/>
                <a:gd name="connsiteX4" fmla="*/ 49463 w 49463"/>
                <a:gd name="connsiteY4" fmla="*/ 58 h 558"/>
                <a:gd name="connsiteX5" fmla="*/ 58 w 49463"/>
                <a:gd name="connsiteY5" fmla="*/ 0 h 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63" h="558">
                  <a:moveTo>
                    <a:pt x="58" y="19"/>
                  </a:moveTo>
                  <a:lnTo>
                    <a:pt x="58" y="19"/>
                  </a:lnTo>
                  <a:lnTo>
                    <a:pt x="0" y="559"/>
                  </a:lnTo>
                  <a:lnTo>
                    <a:pt x="49463" y="559"/>
                  </a:lnTo>
                  <a:lnTo>
                    <a:pt x="49463" y="58"/>
                  </a:lnTo>
                  <a:cubicBezTo>
                    <a:pt x="32976" y="58"/>
                    <a:pt x="16526" y="19"/>
                    <a:pt x="58"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0" name="Freeform: Shape 589">
              <a:extLst>
                <a:ext uri="{FF2B5EF4-FFF2-40B4-BE49-F238E27FC236}">
                  <a16:creationId xmlns:a16="http://schemas.microsoft.com/office/drawing/2014/main" id="{4D916174-A03B-4945-99B6-17CFA8B3DD4B}"/>
                </a:ext>
              </a:extLst>
            </p:cNvPr>
            <p:cNvSpPr/>
            <p:nvPr/>
          </p:nvSpPr>
          <p:spPr>
            <a:xfrm>
              <a:off x="11131249" y="4325058"/>
              <a:ext cx="57" cy="539"/>
            </a:xfrm>
            <a:custGeom>
              <a:avLst/>
              <a:gdLst>
                <a:gd name="connsiteX0" fmla="*/ 58 w 57"/>
                <a:gd name="connsiteY0" fmla="*/ 0 h 539"/>
                <a:gd name="connsiteX1" fmla="*/ 58 w 57"/>
                <a:gd name="connsiteY1" fmla="*/ 0 h 539"/>
                <a:gd name="connsiteX2" fmla="*/ 0 w 57"/>
                <a:gd name="connsiteY2" fmla="*/ 539 h 539"/>
                <a:gd name="connsiteX3" fmla="*/ 58 w 57"/>
                <a:gd name="connsiteY3" fmla="*/ 0 h 539"/>
                <a:gd name="connsiteX4" fmla="*/ 58 w 57"/>
                <a:gd name="connsiteY4" fmla="*/ 0 h 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 h="539">
                  <a:moveTo>
                    <a:pt x="58" y="0"/>
                  </a:moveTo>
                  <a:lnTo>
                    <a:pt x="58" y="0"/>
                  </a:lnTo>
                  <a:lnTo>
                    <a:pt x="0" y="539"/>
                  </a:lnTo>
                  <a:lnTo>
                    <a:pt x="58" y="0"/>
                  </a:lnTo>
                  <a:lnTo>
                    <a:pt x="58"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1" name="Freeform: Shape 590">
              <a:extLst>
                <a:ext uri="{FF2B5EF4-FFF2-40B4-BE49-F238E27FC236}">
                  <a16:creationId xmlns:a16="http://schemas.microsoft.com/office/drawing/2014/main" id="{FB47A8FF-5FA5-4454-B7D1-44C1DB7DF3DF}"/>
                </a:ext>
              </a:extLst>
            </p:cNvPr>
            <p:cNvSpPr/>
            <p:nvPr/>
          </p:nvSpPr>
          <p:spPr>
            <a:xfrm>
              <a:off x="11131307" y="4145557"/>
              <a:ext cx="141048" cy="179558"/>
            </a:xfrm>
            <a:custGeom>
              <a:avLst/>
              <a:gdLst>
                <a:gd name="connsiteX0" fmla="*/ 0 w 141048"/>
                <a:gd name="connsiteY0" fmla="*/ 179501 h 179558"/>
                <a:gd name="connsiteX1" fmla="*/ 49406 w 141048"/>
                <a:gd name="connsiteY1" fmla="*/ 179559 h 179558"/>
                <a:gd name="connsiteX2" fmla="*/ 49406 w 141048"/>
                <a:gd name="connsiteY2" fmla="*/ 118731 h 179558"/>
                <a:gd name="connsiteX3" fmla="*/ 50889 w 141048"/>
                <a:gd name="connsiteY3" fmla="*/ 119733 h 179558"/>
                <a:gd name="connsiteX4" fmla="*/ 92994 w 141048"/>
                <a:gd name="connsiteY4" fmla="*/ 133428 h 179558"/>
                <a:gd name="connsiteX5" fmla="*/ 133462 w 141048"/>
                <a:gd name="connsiteY5" fmla="*/ 105576 h 179558"/>
                <a:gd name="connsiteX6" fmla="*/ 140685 w 141048"/>
                <a:gd name="connsiteY6" fmla="*/ 77261 h 179558"/>
                <a:gd name="connsiteX7" fmla="*/ 136217 w 141048"/>
                <a:gd name="connsiteY7" fmla="*/ 37486 h 179558"/>
                <a:gd name="connsiteX8" fmla="*/ 119594 w 141048"/>
                <a:gd name="connsiteY8" fmla="*/ 11329 h 179558"/>
                <a:gd name="connsiteX9" fmla="*/ 84134 w 141048"/>
                <a:gd name="connsiteY9" fmla="*/ 81 h 179558"/>
                <a:gd name="connsiteX10" fmla="*/ 51081 w 141048"/>
                <a:gd name="connsiteY10" fmla="*/ 15894 h 179558"/>
                <a:gd name="connsiteX11" fmla="*/ 45977 w 141048"/>
                <a:gd name="connsiteY11" fmla="*/ 21615 h 179558"/>
                <a:gd name="connsiteX12" fmla="*/ 45977 w 141048"/>
                <a:gd name="connsiteY12" fmla="*/ 3086 h 179558"/>
                <a:gd name="connsiteX13" fmla="*/ 19 w 141048"/>
                <a:gd name="connsiteY13" fmla="*/ 3086 h 179558"/>
                <a:gd name="connsiteX14" fmla="*/ 19 w 141048"/>
                <a:gd name="connsiteY14" fmla="*/ 91341 h 179558"/>
                <a:gd name="connsiteX15" fmla="*/ 19 w 141048"/>
                <a:gd name="connsiteY15" fmla="*/ 179482 h 179558"/>
                <a:gd name="connsiteX16" fmla="*/ 19 w 141048"/>
                <a:gd name="connsiteY16" fmla="*/ 179482 h 179558"/>
                <a:gd name="connsiteX17" fmla="*/ 49290 w 141048"/>
                <a:gd name="connsiteY17" fmla="*/ 64818 h 179558"/>
                <a:gd name="connsiteX18" fmla="*/ 51852 w 141048"/>
                <a:gd name="connsiteY18" fmla="*/ 49949 h 179558"/>
                <a:gd name="connsiteX19" fmla="*/ 78105 w 141048"/>
                <a:gd name="connsiteY19" fmla="*/ 37294 h 179558"/>
                <a:gd name="connsiteX20" fmla="*/ 90991 w 141048"/>
                <a:gd name="connsiteY20" fmla="*/ 54918 h 179558"/>
                <a:gd name="connsiteX21" fmla="*/ 92397 w 141048"/>
                <a:gd name="connsiteY21" fmla="*/ 67611 h 179558"/>
                <a:gd name="connsiteX22" fmla="*/ 90028 w 141048"/>
                <a:gd name="connsiteY22" fmla="*/ 82308 h 179558"/>
                <a:gd name="connsiteX23" fmla="*/ 73270 w 141048"/>
                <a:gd name="connsiteY23" fmla="*/ 97235 h 179558"/>
                <a:gd name="connsiteX24" fmla="*/ 52950 w 141048"/>
                <a:gd name="connsiteY24" fmla="*/ 85890 h 179558"/>
                <a:gd name="connsiteX25" fmla="*/ 49290 w 141048"/>
                <a:gd name="connsiteY25" fmla="*/ 64838 h 17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048" h="179558">
                  <a:moveTo>
                    <a:pt x="0" y="179501"/>
                  </a:moveTo>
                  <a:cubicBezTo>
                    <a:pt x="16469" y="179501"/>
                    <a:pt x="32937" y="179540"/>
                    <a:pt x="49406" y="179559"/>
                  </a:cubicBezTo>
                  <a:lnTo>
                    <a:pt x="49406" y="118731"/>
                  </a:lnTo>
                  <a:cubicBezTo>
                    <a:pt x="50176" y="119251"/>
                    <a:pt x="50581" y="119444"/>
                    <a:pt x="50889" y="119733"/>
                  </a:cubicBezTo>
                  <a:cubicBezTo>
                    <a:pt x="62735" y="131039"/>
                    <a:pt x="76969" y="135046"/>
                    <a:pt x="92994" y="133428"/>
                  </a:cubicBezTo>
                  <a:cubicBezTo>
                    <a:pt x="111543" y="131540"/>
                    <a:pt x="124833" y="121832"/>
                    <a:pt x="133462" y="105576"/>
                  </a:cubicBezTo>
                  <a:cubicBezTo>
                    <a:pt x="138124" y="96773"/>
                    <a:pt x="139954" y="87142"/>
                    <a:pt x="140685" y="77261"/>
                  </a:cubicBezTo>
                  <a:cubicBezTo>
                    <a:pt x="141687" y="63721"/>
                    <a:pt x="140743" y="50372"/>
                    <a:pt x="136217" y="37486"/>
                  </a:cubicBezTo>
                  <a:cubicBezTo>
                    <a:pt x="132711" y="27509"/>
                    <a:pt x="127588" y="18456"/>
                    <a:pt x="119594" y="11329"/>
                  </a:cubicBezTo>
                  <a:cubicBezTo>
                    <a:pt x="109482" y="2296"/>
                    <a:pt x="97328" y="-536"/>
                    <a:pt x="84134" y="81"/>
                  </a:cubicBezTo>
                  <a:cubicBezTo>
                    <a:pt x="70901" y="697"/>
                    <a:pt x="59807" y="5821"/>
                    <a:pt x="51081" y="15894"/>
                  </a:cubicBezTo>
                  <a:cubicBezTo>
                    <a:pt x="49540" y="17666"/>
                    <a:pt x="47942" y="19419"/>
                    <a:pt x="45977" y="21615"/>
                  </a:cubicBezTo>
                  <a:lnTo>
                    <a:pt x="45977" y="3086"/>
                  </a:lnTo>
                  <a:lnTo>
                    <a:pt x="19" y="3086"/>
                  </a:lnTo>
                  <a:cubicBezTo>
                    <a:pt x="19" y="32536"/>
                    <a:pt x="19" y="61949"/>
                    <a:pt x="19" y="91341"/>
                  </a:cubicBezTo>
                  <a:cubicBezTo>
                    <a:pt x="19" y="120734"/>
                    <a:pt x="19" y="150108"/>
                    <a:pt x="19" y="179482"/>
                  </a:cubicBezTo>
                  <a:lnTo>
                    <a:pt x="19" y="179482"/>
                  </a:lnTo>
                  <a:close/>
                  <a:moveTo>
                    <a:pt x="49290" y="64818"/>
                  </a:moveTo>
                  <a:cubicBezTo>
                    <a:pt x="49617" y="59810"/>
                    <a:pt x="50272" y="54668"/>
                    <a:pt x="51852" y="49949"/>
                  </a:cubicBezTo>
                  <a:cubicBezTo>
                    <a:pt x="55627" y="38623"/>
                    <a:pt x="67723" y="32922"/>
                    <a:pt x="78105" y="37294"/>
                  </a:cubicBezTo>
                  <a:cubicBezTo>
                    <a:pt x="85810" y="40530"/>
                    <a:pt x="89566" y="47002"/>
                    <a:pt x="90991" y="54918"/>
                  </a:cubicBezTo>
                  <a:cubicBezTo>
                    <a:pt x="91684" y="58751"/>
                    <a:pt x="91858" y="62680"/>
                    <a:pt x="92397" y="67611"/>
                  </a:cubicBezTo>
                  <a:cubicBezTo>
                    <a:pt x="91723" y="71907"/>
                    <a:pt x="91318" y="77223"/>
                    <a:pt x="90028" y="82308"/>
                  </a:cubicBezTo>
                  <a:cubicBezTo>
                    <a:pt x="87813" y="90976"/>
                    <a:pt x="81283" y="96484"/>
                    <a:pt x="73270" y="97235"/>
                  </a:cubicBezTo>
                  <a:cubicBezTo>
                    <a:pt x="65065" y="98006"/>
                    <a:pt x="56898" y="93460"/>
                    <a:pt x="52950" y="85890"/>
                  </a:cubicBezTo>
                  <a:cubicBezTo>
                    <a:pt x="49483" y="79265"/>
                    <a:pt x="48828" y="72061"/>
                    <a:pt x="49290" y="64838"/>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2" name="Freeform: Shape 591">
              <a:extLst>
                <a:ext uri="{FF2B5EF4-FFF2-40B4-BE49-F238E27FC236}">
                  <a16:creationId xmlns:a16="http://schemas.microsoft.com/office/drawing/2014/main" id="{593EBA80-0413-4C0F-8E5E-29DACAC78778}"/>
                </a:ext>
              </a:extLst>
            </p:cNvPr>
            <p:cNvSpPr/>
            <p:nvPr/>
          </p:nvSpPr>
          <p:spPr>
            <a:xfrm>
              <a:off x="11131307" y="4236899"/>
              <a:ext cx="1926" cy="88140"/>
            </a:xfrm>
            <a:custGeom>
              <a:avLst/>
              <a:gdLst>
                <a:gd name="connsiteX0" fmla="*/ 0 w 1926"/>
                <a:gd name="connsiteY0" fmla="*/ 0 h 88140"/>
                <a:gd name="connsiteX1" fmla="*/ 0 w 1926"/>
                <a:gd name="connsiteY1" fmla="*/ 88140 h 88140"/>
                <a:gd name="connsiteX2" fmla="*/ 0 w 1926"/>
                <a:gd name="connsiteY2" fmla="*/ 88140 h 88140"/>
                <a:gd name="connsiteX3" fmla="*/ 0 w 1926"/>
                <a:gd name="connsiteY3" fmla="*/ 0 h 88140"/>
              </a:gdLst>
              <a:ahLst/>
              <a:cxnLst>
                <a:cxn ang="0">
                  <a:pos x="connsiteX0" y="connsiteY0"/>
                </a:cxn>
                <a:cxn ang="0">
                  <a:pos x="connsiteX1" y="connsiteY1"/>
                </a:cxn>
                <a:cxn ang="0">
                  <a:pos x="connsiteX2" y="connsiteY2"/>
                </a:cxn>
                <a:cxn ang="0">
                  <a:pos x="connsiteX3" y="connsiteY3"/>
                </a:cxn>
              </a:cxnLst>
              <a:rect l="l" t="t" r="r" b="b"/>
              <a:pathLst>
                <a:path w="1926" h="88140">
                  <a:moveTo>
                    <a:pt x="0" y="0"/>
                  </a:moveTo>
                  <a:lnTo>
                    <a:pt x="0" y="88140"/>
                  </a:lnTo>
                  <a:lnTo>
                    <a:pt x="0" y="88140"/>
                  </a:lnTo>
                  <a:cubicBezTo>
                    <a:pt x="0" y="58767"/>
                    <a:pt x="0" y="29393"/>
                    <a:pt x="0"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3" name="Freeform: Shape 592">
              <a:extLst>
                <a:ext uri="{FF2B5EF4-FFF2-40B4-BE49-F238E27FC236}">
                  <a16:creationId xmlns:a16="http://schemas.microsoft.com/office/drawing/2014/main" id="{C661AC57-5385-4D08-AF86-B95E4B9ABAB7}"/>
                </a:ext>
              </a:extLst>
            </p:cNvPr>
            <p:cNvSpPr/>
            <p:nvPr/>
          </p:nvSpPr>
          <p:spPr>
            <a:xfrm>
              <a:off x="11131307" y="4325058"/>
              <a:ext cx="49405" cy="57"/>
            </a:xfrm>
            <a:custGeom>
              <a:avLst/>
              <a:gdLst>
                <a:gd name="connsiteX0" fmla="*/ 0 w 49405"/>
                <a:gd name="connsiteY0" fmla="*/ 0 h 57"/>
                <a:gd name="connsiteX1" fmla="*/ 0 w 49405"/>
                <a:gd name="connsiteY1" fmla="*/ 0 h 57"/>
                <a:gd name="connsiteX2" fmla="*/ 49406 w 49405"/>
                <a:gd name="connsiteY2" fmla="*/ 58 h 57"/>
                <a:gd name="connsiteX3" fmla="*/ 0 w 49405"/>
                <a:gd name="connsiteY3" fmla="*/ 0 h 57"/>
                <a:gd name="connsiteX4" fmla="*/ 0 w 49405"/>
                <a:gd name="connsiteY4" fmla="*/ 0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05" h="57">
                  <a:moveTo>
                    <a:pt x="0" y="0"/>
                  </a:moveTo>
                  <a:lnTo>
                    <a:pt x="0" y="0"/>
                  </a:lnTo>
                  <a:cubicBezTo>
                    <a:pt x="16469" y="0"/>
                    <a:pt x="32937" y="39"/>
                    <a:pt x="49406" y="58"/>
                  </a:cubicBezTo>
                  <a:cubicBezTo>
                    <a:pt x="32937" y="58"/>
                    <a:pt x="16469" y="19"/>
                    <a:pt x="0" y="0"/>
                  </a:cubicBezTo>
                  <a:lnTo>
                    <a:pt x="0"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4" name="Freeform: Shape 593">
              <a:extLst>
                <a:ext uri="{FF2B5EF4-FFF2-40B4-BE49-F238E27FC236}">
                  <a16:creationId xmlns:a16="http://schemas.microsoft.com/office/drawing/2014/main" id="{E4D54106-C63E-48A6-92B5-4520CDF8A729}"/>
                </a:ext>
              </a:extLst>
            </p:cNvPr>
            <p:cNvSpPr/>
            <p:nvPr/>
          </p:nvSpPr>
          <p:spPr>
            <a:xfrm>
              <a:off x="10092025" y="4124670"/>
              <a:ext cx="135939" cy="172957"/>
            </a:xfrm>
            <a:custGeom>
              <a:avLst/>
              <a:gdLst>
                <a:gd name="connsiteX0" fmla="*/ 34027 w 135939"/>
                <a:gd name="connsiteY0" fmla="*/ 17481 h 172957"/>
                <a:gd name="connsiteX1" fmla="*/ 10181 w 135939"/>
                <a:gd name="connsiteY1" fmla="*/ 45584 h 172957"/>
                <a:gd name="connsiteX2" fmla="*/ 377 w 135939"/>
                <a:gd name="connsiteY2" fmla="*/ 78463 h 172957"/>
                <a:gd name="connsiteX3" fmla="*/ 1128 w 135939"/>
                <a:gd name="connsiteY3" fmla="*/ 100960 h 172957"/>
                <a:gd name="connsiteX4" fmla="*/ 12127 w 135939"/>
                <a:gd name="connsiteY4" fmla="*/ 130854 h 172957"/>
                <a:gd name="connsiteX5" fmla="*/ 29134 w 135939"/>
                <a:gd name="connsiteY5" fmla="*/ 151348 h 172957"/>
                <a:gd name="connsiteX6" fmla="*/ 35105 w 135939"/>
                <a:gd name="connsiteY6" fmla="*/ 156896 h 172957"/>
                <a:gd name="connsiteX7" fmla="*/ 37744 w 135939"/>
                <a:gd name="connsiteY7" fmla="*/ 157897 h 172957"/>
                <a:gd name="connsiteX8" fmla="*/ 90251 w 135939"/>
                <a:gd name="connsiteY8" fmla="*/ 172883 h 172957"/>
                <a:gd name="connsiteX9" fmla="*/ 135939 w 135939"/>
                <a:gd name="connsiteY9" fmla="*/ 157531 h 172957"/>
                <a:gd name="connsiteX10" fmla="*/ 127368 w 135939"/>
                <a:gd name="connsiteY10" fmla="*/ 150616 h 172957"/>
                <a:gd name="connsiteX11" fmla="*/ 98649 w 135939"/>
                <a:gd name="connsiteY11" fmla="*/ 99419 h 172957"/>
                <a:gd name="connsiteX12" fmla="*/ 115271 w 135939"/>
                <a:gd name="connsiteY12" fmla="*/ 32467 h 172957"/>
                <a:gd name="connsiteX13" fmla="*/ 134051 w 135939"/>
                <a:gd name="connsiteY13" fmla="*/ 14226 h 172957"/>
                <a:gd name="connsiteX14" fmla="*/ 90078 w 135939"/>
                <a:gd name="connsiteY14" fmla="*/ 69 h 172957"/>
                <a:gd name="connsiteX15" fmla="*/ 38014 w 135939"/>
                <a:gd name="connsiteY15" fmla="*/ 14920 h 172957"/>
                <a:gd name="connsiteX16" fmla="*/ 36203 w 135939"/>
                <a:gd name="connsiteY16" fmla="*/ 15536 h 172957"/>
                <a:gd name="connsiteX17" fmla="*/ 35568 w 135939"/>
                <a:gd name="connsiteY17" fmla="*/ 15709 h 172957"/>
                <a:gd name="connsiteX18" fmla="*/ 35568 w 135939"/>
                <a:gd name="connsiteY18" fmla="*/ 15709 h 172957"/>
                <a:gd name="connsiteX19" fmla="*/ 34008 w 135939"/>
                <a:gd name="connsiteY19" fmla="*/ 17539 h 17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39" h="172957">
                  <a:moveTo>
                    <a:pt x="34027" y="17481"/>
                  </a:moveTo>
                  <a:cubicBezTo>
                    <a:pt x="24088" y="25147"/>
                    <a:pt x="16075" y="34470"/>
                    <a:pt x="10181" y="45584"/>
                  </a:cubicBezTo>
                  <a:cubicBezTo>
                    <a:pt x="4730" y="55889"/>
                    <a:pt x="1340" y="66771"/>
                    <a:pt x="377" y="78463"/>
                  </a:cubicBezTo>
                  <a:cubicBezTo>
                    <a:pt x="-259" y="86014"/>
                    <a:pt x="-143" y="93506"/>
                    <a:pt x="1128" y="100960"/>
                  </a:cubicBezTo>
                  <a:cubicBezTo>
                    <a:pt x="2939" y="111593"/>
                    <a:pt x="6541" y="121589"/>
                    <a:pt x="12127" y="130854"/>
                  </a:cubicBezTo>
                  <a:cubicBezTo>
                    <a:pt x="16749" y="138539"/>
                    <a:pt x="22258" y="145512"/>
                    <a:pt x="29134" y="151348"/>
                  </a:cubicBezTo>
                  <a:cubicBezTo>
                    <a:pt x="31195" y="153101"/>
                    <a:pt x="33121" y="155027"/>
                    <a:pt x="35105" y="156896"/>
                  </a:cubicBezTo>
                  <a:cubicBezTo>
                    <a:pt x="35991" y="157223"/>
                    <a:pt x="36993" y="157396"/>
                    <a:pt x="37744" y="157897"/>
                  </a:cubicBezTo>
                  <a:cubicBezTo>
                    <a:pt x="53654" y="168491"/>
                    <a:pt x="71067" y="173653"/>
                    <a:pt x="90251" y="172883"/>
                  </a:cubicBezTo>
                  <a:cubicBezTo>
                    <a:pt x="107008" y="172189"/>
                    <a:pt x="122167" y="166969"/>
                    <a:pt x="135939" y="157531"/>
                  </a:cubicBezTo>
                  <a:cubicBezTo>
                    <a:pt x="133069" y="155239"/>
                    <a:pt x="130141" y="153024"/>
                    <a:pt x="127368" y="150616"/>
                  </a:cubicBezTo>
                  <a:cubicBezTo>
                    <a:pt x="111631" y="137018"/>
                    <a:pt x="101923" y="119817"/>
                    <a:pt x="98649" y="99419"/>
                  </a:cubicBezTo>
                  <a:cubicBezTo>
                    <a:pt x="94720" y="74900"/>
                    <a:pt x="100344" y="52441"/>
                    <a:pt x="115271" y="32467"/>
                  </a:cubicBezTo>
                  <a:cubicBezTo>
                    <a:pt x="120549" y="25398"/>
                    <a:pt x="127079" y="19581"/>
                    <a:pt x="134051" y="14226"/>
                  </a:cubicBezTo>
                  <a:cubicBezTo>
                    <a:pt x="120703" y="5462"/>
                    <a:pt x="106007" y="685"/>
                    <a:pt x="90078" y="69"/>
                  </a:cubicBezTo>
                  <a:cubicBezTo>
                    <a:pt x="71144" y="-663"/>
                    <a:pt x="53789" y="4441"/>
                    <a:pt x="38014" y="14920"/>
                  </a:cubicBezTo>
                  <a:cubicBezTo>
                    <a:pt x="37494" y="15266"/>
                    <a:pt x="36839" y="15382"/>
                    <a:pt x="36203" y="15536"/>
                  </a:cubicBezTo>
                  <a:cubicBezTo>
                    <a:pt x="35991" y="15594"/>
                    <a:pt x="35780" y="15632"/>
                    <a:pt x="35568" y="15709"/>
                  </a:cubicBezTo>
                  <a:lnTo>
                    <a:pt x="35568" y="15709"/>
                  </a:lnTo>
                  <a:cubicBezTo>
                    <a:pt x="35048" y="16326"/>
                    <a:pt x="34624" y="17058"/>
                    <a:pt x="34008" y="17539"/>
                  </a:cubicBezTo>
                  <a:close/>
                </a:path>
              </a:pathLst>
            </a:custGeom>
            <a:solidFill>
              <a:srgbClr val="A1ABB2">
                <a:alpha val="70000"/>
              </a:srgbClr>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5" name="Freeform: Shape 594">
              <a:extLst>
                <a:ext uri="{FF2B5EF4-FFF2-40B4-BE49-F238E27FC236}">
                  <a16:creationId xmlns:a16="http://schemas.microsoft.com/office/drawing/2014/main" id="{EBF354D7-16EB-43F1-85AE-9EC350051A85}"/>
                </a:ext>
              </a:extLst>
            </p:cNvPr>
            <p:cNvSpPr/>
            <p:nvPr/>
          </p:nvSpPr>
          <p:spPr>
            <a:xfrm>
              <a:off x="10127612" y="4140168"/>
              <a:ext cx="635" cy="173"/>
            </a:xfrm>
            <a:custGeom>
              <a:avLst/>
              <a:gdLst>
                <a:gd name="connsiteX0" fmla="*/ 636 w 635"/>
                <a:gd name="connsiteY0" fmla="*/ 0 h 173"/>
                <a:gd name="connsiteX1" fmla="*/ 0 w 635"/>
                <a:gd name="connsiteY1" fmla="*/ 173 h 173"/>
                <a:gd name="connsiteX2" fmla="*/ 0 w 635"/>
                <a:gd name="connsiteY2" fmla="*/ 173 h 173"/>
                <a:gd name="connsiteX3" fmla="*/ 636 w 635"/>
                <a:gd name="connsiteY3" fmla="*/ 0 h 173"/>
              </a:gdLst>
              <a:ahLst/>
              <a:cxnLst>
                <a:cxn ang="0">
                  <a:pos x="connsiteX0" y="connsiteY0"/>
                </a:cxn>
                <a:cxn ang="0">
                  <a:pos x="connsiteX1" y="connsiteY1"/>
                </a:cxn>
                <a:cxn ang="0">
                  <a:pos x="connsiteX2" y="connsiteY2"/>
                </a:cxn>
                <a:cxn ang="0">
                  <a:pos x="connsiteX3" y="connsiteY3"/>
                </a:cxn>
              </a:cxnLst>
              <a:rect l="l" t="t" r="r" b="b"/>
              <a:pathLst>
                <a:path w="635" h="173">
                  <a:moveTo>
                    <a:pt x="636" y="0"/>
                  </a:moveTo>
                  <a:cubicBezTo>
                    <a:pt x="424" y="58"/>
                    <a:pt x="212" y="96"/>
                    <a:pt x="0" y="173"/>
                  </a:cubicBezTo>
                  <a:lnTo>
                    <a:pt x="0" y="173"/>
                  </a:lnTo>
                  <a:cubicBezTo>
                    <a:pt x="212" y="116"/>
                    <a:pt x="424" y="58"/>
                    <a:pt x="636" y="0"/>
                  </a:cubicBezTo>
                  <a:close/>
                </a:path>
              </a:pathLst>
            </a:custGeom>
            <a:solidFill>
              <a:srgbClr val="5873B7"/>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6" name="Freeform: Shape 595">
              <a:extLst>
                <a:ext uri="{FF2B5EF4-FFF2-40B4-BE49-F238E27FC236}">
                  <a16:creationId xmlns:a16="http://schemas.microsoft.com/office/drawing/2014/main" id="{A981216C-40F4-4112-9DC7-811F751EC0A4}"/>
                </a:ext>
              </a:extLst>
            </p:cNvPr>
            <p:cNvSpPr/>
            <p:nvPr/>
          </p:nvSpPr>
          <p:spPr>
            <a:xfrm>
              <a:off x="10189499" y="4123599"/>
              <a:ext cx="135389" cy="172494"/>
            </a:xfrm>
            <a:custGeom>
              <a:avLst/>
              <a:gdLst>
                <a:gd name="connsiteX0" fmla="*/ 17837 w 135389"/>
                <a:gd name="connsiteY0" fmla="*/ 33500 h 172494"/>
                <a:gd name="connsiteX1" fmla="*/ 1214 w 135389"/>
                <a:gd name="connsiteY1" fmla="*/ 100453 h 172494"/>
                <a:gd name="connsiteX2" fmla="*/ 29933 w 135389"/>
                <a:gd name="connsiteY2" fmla="*/ 151649 h 172494"/>
                <a:gd name="connsiteX3" fmla="*/ 38504 w 135389"/>
                <a:gd name="connsiteY3" fmla="*/ 158564 h 172494"/>
                <a:gd name="connsiteX4" fmla="*/ 41471 w 135389"/>
                <a:gd name="connsiteY4" fmla="*/ 159547 h 172494"/>
                <a:gd name="connsiteX5" fmla="*/ 48867 w 135389"/>
                <a:gd name="connsiteY5" fmla="*/ 163707 h 172494"/>
                <a:gd name="connsiteX6" fmla="*/ 74851 w 135389"/>
                <a:gd name="connsiteY6" fmla="*/ 171643 h 172494"/>
                <a:gd name="connsiteX7" fmla="*/ 100950 w 135389"/>
                <a:gd name="connsiteY7" fmla="*/ 171373 h 172494"/>
                <a:gd name="connsiteX8" fmla="*/ 128532 w 135389"/>
                <a:gd name="connsiteY8" fmla="*/ 161608 h 172494"/>
                <a:gd name="connsiteX9" fmla="*/ 134292 w 135389"/>
                <a:gd name="connsiteY9" fmla="*/ 158006 h 172494"/>
                <a:gd name="connsiteX10" fmla="*/ 98234 w 135389"/>
                <a:gd name="connsiteY10" fmla="*/ 86064 h 172494"/>
                <a:gd name="connsiteX11" fmla="*/ 135389 w 135389"/>
                <a:gd name="connsiteY11" fmla="*/ 15105 h 172494"/>
                <a:gd name="connsiteX12" fmla="*/ 119422 w 135389"/>
                <a:gd name="connsiteY12" fmla="*/ 6418 h 172494"/>
                <a:gd name="connsiteX13" fmla="*/ 87717 w 135389"/>
                <a:gd name="connsiteY13" fmla="*/ 4 h 172494"/>
                <a:gd name="connsiteX14" fmla="*/ 71730 w 135389"/>
                <a:gd name="connsiteY14" fmla="*/ 1372 h 172494"/>
                <a:gd name="connsiteX15" fmla="*/ 43647 w 135389"/>
                <a:gd name="connsiteY15" fmla="*/ 11599 h 172494"/>
                <a:gd name="connsiteX16" fmla="*/ 36636 w 135389"/>
                <a:gd name="connsiteY16" fmla="*/ 15240 h 172494"/>
                <a:gd name="connsiteX17" fmla="*/ 17856 w 135389"/>
                <a:gd name="connsiteY17" fmla="*/ 33480 h 1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389" h="172494">
                  <a:moveTo>
                    <a:pt x="17837" y="33500"/>
                  </a:moveTo>
                  <a:cubicBezTo>
                    <a:pt x="2909" y="53474"/>
                    <a:pt x="-2715" y="75952"/>
                    <a:pt x="1214" y="100453"/>
                  </a:cubicBezTo>
                  <a:cubicBezTo>
                    <a:pt x="4489" y="120870"/>
                    <a:pt x="14177" y="138051"/>
                    <a:pt x="29933" y="151649"/>
                  </a:cubicBezTo>
                  <a:cubicBezTo>
                    <a:pt x="32707" y="154057"/>
                    <a:pt x="35654" y="156272"/>
                    <a:pt x="38504" y="158564"/>
                  </a:cubicBezTo>
                  <a:cubicBezTo>
                    <a:pt x="39506" y="158872"/>
                    <a:pt x="40565" y="159065"/>
                    <a:pt x="41471" y="159547"/>
                  </a:cubicBezTo>
                  <a:cubicBezTo>
                    <a:pt x="43975" y="160876"/>
                    <a:pt x="46305" y="162513"/>
                    <a:pt x="48867" y="163707"/>
                  </a:cubicBezTo>
                  <a:cubicBezTo>
                    <a:pt x="57130" y="167598"/>
                    <a:pt x="65721" y="170372"/>
                    <a:pt x="74851" y="171643"/>
                  </a:cubicBezTo>
                  <a:cubicBezTo>
                    <a:pt x="83595" y="172856"/>
                    <a:pt x="92302" y="172779"/>
                    <a:pt x="100950" y="171373"/>
                  </a:cubicBezTo>
                  <a:cubicBezTo>
                    <a:pt x="110696" y="169794"/>
                    <a:pt x="119884" y="166423"/>
                    <a:pt x="128532" y="161608"/>
                  </a:cubicBezTo>
                  <a:cubicBezTo>
                    <a:pt x="130478" y="160529"/>
                    <a:pt x="132308" y="159258"/>
                    <a:pt x="134292" y="158006"/>
                  </a:cubicBezTo>
                  <a:cubicBezTo>
                    <a:pt x="110446" y="139573"/>
                    <a:pt x="97964" y="115823"/>
                    <a:pt x="98234" y="86064"/>
                  </a:cubicBezTo>
                  <a:cubicBezTo>
                    <a:pt x="98504" y="56363"/>
                    <a:pt x="111505" y="32922"/>
                    <a:pt x="135389" y="15105"/>
                  </a:cubicBezTo>
                  <a:cubicBezTo>
                    <a:pt x="130227" y="11407"/>
                    <a:pt x="124950" y="8691"/>
                    <a:pt x="119422" y="6418"/>
                  </a:cubicBezTo>
                  <a:cubicBezTo>
                    <a:pt x="109271" y="2219"/>
                    <a:pt x="98696" y="-111"/>
                    <a:pt x="87717" y="4"/>
                  </a:cubicBezTo>
                  <a:cubicBezTo>
                    <a:pt x="82382" y="62"/>
                    <a:pt x="77027" y="601"/>
                    <a:pt x="71730" y="1372"/>
                  </a:cubicBezTo>
                  <a:cubicBezTo>
                    <a:pt x="61695" y="2836"/>
                    <a:pt x="52411" y="6534"/>
                    <a:pt x="43647" y="11599"/>
                  </a:cubicBezTo>
                  <a:cubicBezTo>
                    <a:pt x="41374" y="12909"/>
                    <a:pt x="38967" y="14026"/>
                    <a:pt x="36636" y="15240"/>
                  </a:cubicBezTo>
                  <a:cubicBezTo>
                    <a:pt x="29683" y="20595"/>
                    <a:pt x="23153" y="26412"/>
                    <a:pt x="17856" y="33480"/>
                  </a:cubicBezTo>
                  <a:close/>
                </a:path>
              </a:pathLst>
            </a:custGeom>
            <a:solidFill>
              <a:srgbClr val="A1ABB2">
                <a:alpha val="40000"/>
              </a:srgbClr>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7" name="Freeform: Shape 596">
              <a:extLst>
                <a:ext uri="{FF2B5EF4-FFF2-40B4-BE49-F238E27FC236}">
                  <a16:creationId xmlns:a16="http://schemas.microsoft.com/office/drawing/2014/main" id="{127C731D-2D2B-4A1F-A11C-3C4A13C570BA}"/>
                </a:ext>
              </a:extLst>
            </p:cNvPr>
            <p:cNvSpPr/>
            <p:nvPr/>
          </p:nvSpPr>
          <p:spPr>
            <a:xfrm>
              <a:off x="10967512" y="4145118"/>
              <a:ext cx="147331" cy="134609"/>
            </a:xfrm>
            <a:custGeom>
              <a:avLst/>
              <a:gdLst>
                <a:gd name="connsiteX0" fmla="*/ 112309 w 147331"/>
                <a:gd name="connsiteY0" fmla="*/ 8244 h 134609"/>
                <a:gd name="connsiteX1" fmla="*/ 73574 w 147331"/>
                <a:gd name="connsiteY1" fmla="*/ 0 h 134609"/>
                <a:gd name="connsiteX2" fmla="*/ 54602 w 147331"/>
                <a:gd name="connsiteY2" fmla="*/ 2138 h 134609"/>
                <a:gd name="connsiteX3" fmla="*/ 13151 w 147331"/>
                <a:gd name="connsiteY3" fmla="*/ 26966 h 134609"/>
                <a:gd name="connsiteX4" fmla="*/ 1228 w 147331"/>
                <a:gd name="connsiteY4" fmla="*/ 80243 h 134609"/>
                <a:gd name="connsiteX5" fmla="*/ 41215 w 147331"/>
                <a:gd name="connsiteY5" fmla="*/ 128628 h 134609"/>
                <a:gd name="connsiteX6" fmla="*/ 104431 w 147331"/>
                <a:gd name="connsiteY6" fmla="*/ 129379 h 134609"/>
                <a:gd name="connsiteX7" fmla="*/ 142337 w 147331"/>
                <a:gd name="connsiteY7" fmla="*/ 93803 h 134609"/>
                <a:gd name="connsiteX8" fmla="*/ 146190 w 147331"/>
                <a:gd name="connsiteY8" fmla="*/ 54414 h 134609"/>
                <a:gd name="connsiteX9" fmla="*/ 112309 w 147331"/>
                <a:gd name="connsiteY9" fmla="*/ 8244 h 134609"/>
                <a:gd name="connsiteX10" fmla="*/ 95648 w 147331"/>
                <a:gd name="connsiteY10" fmla="*/ 84500 h 134609"/>
                <a:gd name="connsiteX11" fmla="*/ 73690 w 147331"/>
                <a:gd name="connsiteY11" fmla="*/ 101180 h 134609"/>
                <a:gd name="connsiteX12" fmla="*/ 51674 w 147331"/>
                <a:gd name="connsiteY12" fmla="*/ 84442 h 134609"/>
                <a:gd name="connsiteX13" fmla="*/ 51905 w 147331"/>
                <a:gd name="connsiteY13" fmla="*/ 50272 h 134609"/>
                <a:gd name="connsiteX14" fmla="*/ 82608 w 147331"/>
                <a:gd name="connsiteY14" fmla="*/ 35788 h 134609"/>
                <a:gd name="connsiteX15" fmla="*/ 96630 w 147331"/>
                <a:gd name="connsiteY15" fmla="*/ 54009 h 134609"/>
                <a:gd name="connsiteX16" fmla="*/ 98537 w 147331"/>
                <a:gd name="connsiteY16" fmla="*/ 68205 h 134609"/>
                <a:gd name="connsiteX17" fmla="*/ 95648 w 147331"/>
                <a:gd name="connsiteY17" fmla="*/ 84500 h 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31" h="134609">
                  <a:moveTo>
                    <a:pt x="112309" y="8244"/>
                  </a:moveTo>
                  <a:cubicBezTo>
                    <a:pt x="100174" y="2196"/>
                    <a:pt x="87057" y="385"/>
                    <a:pt x="73574" y="0"/>
                  </a:cubicBezTo>
                  <a:cubicBezTo>
                    <a:pt x="67237" y="693"/>
                    <a:pt x="60842" y="1002"/>
                    <a:pt x="54602" y="2138"/>
                  </a:cubicBezTo>
                  <a:cubicBezTo>
                    <a:pt x="37709" y="5181"/>
                    <a:pt x="23629" y="13194"/>
                    <a:pt x="13151" y="26966"/>
                  </a:cubicBezTo>
                  <a:cubicBezTo>
                    <a:pt x="1055" y="42876"/>
                    <a:pt x="-2066" y="61078"/>
                    <a:pt x="1228" y="80243"/>
                  </a:cubicBezTo>
                  <a:cubicBezTo>
                    <a:pt x="5273" y="103742"/>
                    <a:pt x="19064" y="120095"/>
                    <a:pt x="41215" y="128628"/>
                  </a:cubicBezTo>
                  <a:cubicBezTo>
                    <a:pt x="62017" y="136621"/>
                    <a:pt x="83398" y="136332"/>
                    <a:pt x="104431" y="129379"/>
                  </a:cubicBezTo>
                  <a:cubicBezTo>
                    <a:pt x="122363" y="123466"/>
                    <a:pt x="135095" y="111312"/>
                    <a:pt x="142337" y="93803"/>
                  </a:cubicBezTo>
                  <a:cubicBezTo>
                    <a:pt x="147577" y="81129"/>
                    <a:pt x="148386" y="67839"/>
                    <a:pt x="146190" y="54414"/>
                  </a:cubicBezTo>
                  <a:cubicBezTo>
                    <a:pt x="142742" y="33322"/>
                    <a:pt x="131436" y="17778"/>
                    <a:pt x="112309" y="8244"/>
                  </a:cubicBezTo>
                  <a:close/>
                  <a:moveTo>
                    <a:pt x="95648" y="84500"/>
                  </a:moveTo>
                  <a:cubicBezTo>
                    <a:pt x="92585" y="94997"/>
                    <a:pt x="84014" y="101277"/>
                    <a:pt x="73690" y="101180"/>
                  </a:cubicBezTo>
                  <a:cubicBezTo>
                    <a:pt x="62480" y="101084"/>
                    <a:pt x="54563" y="93996"/>
                    <a:pt x="51674" y="84442"/>
                  </a:cubicBezTo>
                  <a:cubicBezTo>
                    <a:pt x="48245" y="73097"/>
                    <a:pt x="48111" y="61560"/>
                    <a:pt x="51905" y="50272"/>
                  </a:cubicBezTo>
                  <a:cubicBezTo>
                    <a:pt x="56605" y="36327"/>
                    <a:pt x="70878" y="30799"/>
                    <a:pt x="82608" y="35788"/>
                  </a:cubicBezTo>
                  <a:cubicBezTo>
                    <a:pt x="90582" y="39197"/>
                    <a:pt x="94877" y="45784"/>
                    <a:pt x="96630" y="54009"/>
                  </a:cubicBezTo>
                  <a:cubicBezTo>
                    <a:pt x="97574" y="58420"/>
                    <a:pt x="97863" y="62946"/>
                    <a:pt x="98537" y="68205"/>
                  </a:cubicBezTo>
                  <a:cubicBezTo>
                    <a:pt x="97689" y="73232"/>
                    <a:pt x="97247" y="79030"/>
                    <a:pt x="95648" y="8450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8" name="Freeform: Shape 597">
              <a:extLst>
                <a:ext uri="{FF2B5EF4-FFF2-40B4-BE49-F238E27FC236}">
                  <a16:creationId xmlns:a16="http://schemas.microsoft.com/office/drawing/2014/main" id="{F36B15F2-E3DD-4CE7-9D74-4816AC7E5601}"/>
                </a:ext>
              </a:extLst>
            </p:cNvPr>
            <p:cNvSpPr/>
            <p:nvPr/>
          </p:nvSpPr>
          <p:spPr>
            <a:xfrm>
              <a:off x="11625728" y="4145497"/>
              <a:ext cx="136134" cy="133827"/>
            </a:xfrm>
            <a:custGeom>
              <a:avLst/>
              <a:gdLst>
                <a:gd name="connsiteX0" fmla="*/ 106573 w 136134"/>
                <a:gd name="connsiteY0" fmla="*/ 53476 h 133827"/>
                <a:gd name="connsiteX1" fmla="*/ 67473 w 136134"/>
                <a:gd name="connsiteY1" fmla="*/ 46465 h 133827"/>
                <a:gd name="connsiteX2" fmla="*/ 54375 w 136134"/>
                <a:gd name="connsiteY2" fmla="*/ 43209 h 133827"/>
                <a:gd name="connsiteX3" fmla="*/ 52930 w 136134"/>
                <a:gd name="connsiteY3" fmla="*/ 28898 h 133827"/>
                <a:gd name="connsiteX4" fmla="*/ 57669 w 136134"/>
                <a:gd name="connsiteY4" fmla="*/ 26722 h 133827"/>
                <a:gd name="connsiteX5" fmla="*/ 70458 w 136134"/>
                <a:gd name="connsiteY5" fmla="*/ 26375 h 133827"/>
                <a:gd name="connsiteX6" fmla="*/ 84327 w 136134"/>
                <a:gd name="connsiteY6" fmla="*/ 36622 h 133827"/>
                <a:gd name="connsiteX7" fmla="*/ 87736 w 136134"/>
                <a:gd name="connsiteY7" fmla="*/ 38587 h 133827"/>
                <a:gd name="connsiteX8" fmla="*/ 119845 w 136134"/>
                <a:gd name="connsiteY8" fmla="*/ 35370 h 133827"/>
                <a:gd name="connsiteX9" fmla="*/ 131594 w 136134"/>
                <a:gd name="connsiteY9" fmla="*/ 34157 h 133827"/>
                <a:gd name="connsiteX10" fmla="*/ 108557 w 136134"/>
                <a:gd name="connsiteY10" fmla="*/ 6401 h 133827"/>
                <a:gd name="connsiteX11" fmla="*/ 81129 w 136134"/>
                <a:gd name="connsiteY11" fmla="*/ 372 h 133827"/>
                <a:gd name="connsiteX12" fmla="*/ 47499 w 136134"/>
                <a:gd name="connsiteY12" fmla="*/ 1200 h 133827"/>
                <a:gd name="connsiteX13" fmla="*/ 24558 w 136134"/>
                <a:gd name="connsiteY13" fmla="*/ 8192 h 133827"/>
                <a:gd name="connsiteX14" fmla="*/ 6260 w 136134"/>
                <a:gd name="connsiteY14" fmla="*/ 47967 h 133827"/>
                <a:gd name="connsiteX15" fmla="*/ 29797 w 136134"/>
                <a:gd name="connsiteY15" fmla="*/ 73642 h 133827"/>
                <a:gd name="connsiteX16" fmla="*/ 66702 w 136134"/>
                <a:gd name="connsiteY16" fmla="*/ 82079 h 133827"/>
                <a:gd name="connsiteX17" fmla="*/ 83922 w 136134"/>
                <a:gd name="connsiteY17" fmla="*/ 86085 h 133827"/>
                <a:gd name="connsiteX18" fmla="*/ 91068 w 136134"/>
                <a:gd name="connsiteY18" fmla="*/ 94214 h 133827"/>
                <a:gd name="connsiteX19" fmla="*/ 86176 w 136134"/>
                <a:gd name="connsiteY19" fmla="*/ 103247 h 133827"/>
                <a:gd name="connsiteX20" fmla="*/ 66645 w 136134"/>
                <a:gd name="connsiteY20" fmla="*/ 106676 h 133827"/>
                <a:gd name="connsiteX21" fmla="*/ 49829 w 136134"/>
                <a:gd name="connsiteY21" fmla="*/ 94117 h 133827"/>
                <a:gd name="connsiteX22" fmla="*/ 48462 w 136134"/>
                <a:gd name="connsiteY22" fmla="*/ 90862 h 133827"/>
                <a:gd name="connsiteX23" fmla="*/ 0 w 136134"/>
                <a:gd name="connsiteY23" fmla="*/ 95427 h 133827"/>
                <a:gd name="connsiteX24" fmla="*/ 404 w 136134"/>
                <a:gd name="connsiteY24" fmla="*/ 97469 h 133827"/>
                <a:gd name="connsiteX25" fmla="*/ 32128 w 136134"/>
                <a:gd name="connsiteY25" fmla="*/ 129635 h 133827"/>
                <a:gd name="connsiteX26" fmla="*/ 71171 w 136134"/>
                <a:gd name="connsiteY26" fmla="*/ 133815 h 133827"/>
                <a:gd name="connsiteX27" fmla="*/ 101257 w 136134"/>
                <a:gd name="connsiteY27" fmla="*/ 130059 h 133827"/>
                <a:gd name="connsiteX28" fmla="*/ 130881 w 136134"/>
                <a:gd name="connsiteY28" fmla="*/ 108294 h 133827"/>
                <a:gd name="connsiteX29" fmla="*/ 129283 w 136134"/>
                <a:gd name="connsiteY29" fmla="*/ 68789 h 133827"/>
                <a:gd name="connsiteX30" fmla="*/ 106612 w 136134"/>
                <a:gd name="connsiteY30" fmla="*/ 53457 h 13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6134" h="133827">
                  <a:moveTo>
                    <a:pt x="106573" y="53476"/>
                  </a:moveTo>
                  <a:cubicBezTo>
                    <a:pt x="93842" y="49450"/>
                    <a:pt x="80590" y="48410"/>
                    <a:pt x="67473" y="46465"/>
                  </a:cubicBezTo>
                  <a:cubicBezTo>
                    <a:pt x="63023" y="45810"/>
                    <a:pt x="58535" y="44847"/>
                    <a:pt x="54375" y="43209"/>
                  </a:cubicBezTo>
                  <a:cubicBezTo>
                    <a:pt x="47884" y="40667"/>
                    <a:pt x="47229" y="33001"/>
                    <a:pt x="52930" y="28898"/>
                  </a:cubicBezTo>
                  <a:cubicBezTo>
                    <a:pt x="54317" y="27897"/>
                    <a:pt x="56031" y="26876"/>
                    <a:pt x="57669" y="26722"/>
                  </a:cubicBezTo>
                  <a:cubicBezTo>
                    <a:pt x="61906" y="26317"/>
                    <a:pt x="66279" y="25797"/>
                    <a:pt x="70458" y="26375"/>
                  </a:cubicBezTo>
                  <a:cubicBezTo>
                    <a:pt x="76718" y="27242"/>
                    <a:pt x="82054" y="30150"/>
                    <a:pt x="84327" y="36622"/>
                  </a:cubicBezTo>
                  <a:cubicBezTo>
                    <a:pt x="85001" y="38529"/>
                    <a:pt x="86041" y="38760"/>
                    <a:pt x="87736" y="38587"/>
                  </a:cubicBezTo>
                  <a:cubicBezTo>
                    <a:pt x="98426" y="37489"/>
                    <a:pt x="109135" y="36449"/>
                    <a:pt x="119845" y="35370"/>
                  </a:cubicBezTo>
                  <a:cubicBezTo>
                    <a:pt x="123658" y="34985"/>
                    <a:pt x="127453" y="34580"/>
                    <a:pt x="131594" y="34157"/>
                  </a:cubicBezTo>
                  <a:cubicBezTo>
                    <a:pt x="126933" y="22060"/>
                    <a:pt x="120134" y="12256"/>
                    <a:pt x="108557" y="6401"/>
                  </a:cubicBezTo>
                  <a:cubicBezTo>
                    <a:pt x="99928" y="2028"/>
                    <a:pt x="90567" y="815"/>
                    <a:pt x="81129" y="372"/>
                  </a:cubicBezTo>
                  <a:cubicBezTo>
                    <a:pt x="69919" y="-148"/>
                    <a:pt x="58670" y="-321"/>
                    <a:pt x="47499" y="1200"/>
                  </a:cubicBezTo>
                  <a:cubicBezTo>
                    <a:pt x="39467" y="2298"/>
                    <a:pt x="31704" y="4244"/>
                    <a:pt x="24558" y="8192"/>
                  </a:cubicBezTo>
                  <a:cubicBezTo>
                    <a:pt x="9534" y="16475"/>
                    <a:pt x="2388" y="31537"/>
                    <a:pt x="6260" y="47967"/>
                  </a:cubicBezTo>
                  <a:cubicBezTo>
                    <a:pt x="9265" y="60737"/>
                    <a:pt x="17605" y="69232"/>
                    <a:pt x="29797" y="73642"/>
                  </a:cubicBezTo>
                  <a:cubicBezTo>
                    <a:pt x="41720" y="77976"/>
                    <a:pt x="54298" y="79671"/>
                    <a:pt x="66702" y="82079"/>
                  </a:cubicBezTo>
                  <a:cubicBezTo>
                    <a:pt x="72481" y="83196"/>
                    <a:pt x="78259" y="84487"/>
                    <a:pt x="83922" y="86085"/>
                  </a:cubicBezTo>
                  <a:cubicBezTo>
                    <a:pt x="87851" y="87203"/>
                    <a:pt x="90683" y="89841"/>
                    <a:pt x="91068" y="94214"/>
                  </a:cubicBezTo>
                  <a:cubicBezTo>
                    <a:pt x="91415" y="98201"/>
                    <a:pt x="89431" y="101148"/>
                    <a:pt x="86176" y="103247"/>
                  </a:cubicBezTo>
                  <a:cubicBezTo>
                    <a:pt x="80166" y="107157"/>
                    <a:pt x="73521" y="107446"/>
                    <a:pt x="66645" y="106676"/>
                  </a:cubicBezTo>
                  <a:cubicBezTo>
                    <a:pt x="58535" y="105771"/>
                    <a:pt x="53104" y="101417"/>
                    <a:pt x="49829" y="94117"/>
                  </a:cubicBezTo>
                  <a:cubicBezTo>
                    <a:pt x="49367" y="93077"/>
                    <a:pt x="48943" y="92018"/>
                    <a:pt x="48462" y="90862"/>
                  </a:cubicBezTo>
                  <a:cubicBezTo>
                    <a:pt x="32321" y="92384"/>
                    <a:pt x="16218" y="93906"/>
                    <a:pt x="0" y="95427"/>
                  </a:cubicBezTo>
                  <a:cubicBezTo>
                    <a:pt x="173" y="96294"/>
                    <a:pt x="231" y="96891"/>
                    <a:pt x="404" y="97469"/>
                  </a:cubicBezTo>
                  <a:cubicBezTo>
                    <a:pt x="5066" y="114014"/>
                    <a:pt x="15544" y="124897"/>
                    <a:pt x="32128" y="129635"/>
                  </a:cubicBezTo>
                  <a:cubicBezTo>
                    <a:pt x="44879" y="133295"/>
                    <a:pt x="57996" y="133931"/>
                    <a:pt x="71171" y="133815"/>
                  </a:cubicBezTo>
                  <a:cubicBezTo>
                    <a:pt x="81322" y="133719"/>
                    <a:pt x="91453" y="132987"/>
                    <a:pt x="101257" y="130059"/>
                  </a:cubicBezTo>
                  <a:cubicBezTo>
                    <a:pt x="113681" y="126342"/>
                    <a:pt x="124467" y="120197"/>
                    <a:pt x="130881" y="108294"/>
                  </a:cubicBezTo>
                  <a:cubicBezTo>
                    <a:pt x="138105" y="94849"/>
                    <a:pt x="138162" y="81559"/>
                    <a:pt x="129283" y="68789"/>
                  </a:cubicBezTo>
                  <a:cubicBezTo>
                    <a:pt x="123735" y="60814"/>
                    <a:pt x="115665" y="56326"/>
                    <a:pt x="106612" y="53457"/>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9" name="Freeform: Shape 598">
              <a:extLst>
                <a:ext uri="{FF2B5EF4-FFF2-40B4-BE49-F238E27FC236}">
                  <a16:creationId xmlns:a16="http://schemas.microsoft.com/office/drawing/2014/main" id="{D4A0B2F7-21A3-4779-A28F-ECE7CD92B2B8}"/>
                </a:ext>
              </a:extLst>
            </p:cNvPr>
            <p:cNvSpPr/>
            <p:nvPr/>
          </p:nvSpPr>
          <p:spPr>
            <a:xfrm>
              <a:off x="11469296" y="4145251"/>
              <a:ext cx="148439" cy="134375"/>
            </a:xfrm>
            <a:custGeom>
              <a:avLst/>
              <a:gdLst>
                <a:gd name="connsiteX0" fmla="*/ 101326 w 148439"/>
                <a:gd name="connsiteY0" fmla="*/ 82653 h 134375"/>
                <a:gd name="connsiteX1" fmla="*/ 100825 w 148439"/>
                <a:gd name="connsiteY1" fmla="*/ 83943 h 134375"/>
                <a:gd name="connsiteX2" fmla="*/ 79676 w 148439"/>
                <a:gd name="connsiteY2" fmla="*/ 101086 h 134375"/>
                <a:gd name="connsiteX3" fmla="*/ 51631 w 148439"/>
                <a:gd name="connsiteY3" fmla="*/ 84637 h 134375"/>
                <a:gd name="connsiteX4" fmla="*/ 50668 w 148439"/>
                <a:gd name="connsiteY4" fmla="*/ 55379 h 134375"/>
                <a:gd name="connsiteX5" fmla="*/ 78982 w 148439"/>
                <a:gd name="connsiteY5" fmla="*/ 33864 h 134375"/>
                <a:gd name="connsiteX6" fmla="*/ 99091 w 148439"/>
                <a:gd name="connsiteY6" fmla="*/ 48002 h 134375"/>
                <a:gd name="connsiteX7" fmla="*/ 99881 w 148439"/>
                <a:gd name="connsiteY7" fmla="*/ 50332 h 134375"/>
                <a:gd name="connsiteX8" fmla="*/ 145569 w 148439"/>
                <a:gd name="connsiteY8" fmla="*/ 44246 h 134375"/>
                <a:gd name="connsiteX9" fmla="*/ 145685 w 148439"/>
                <a:gd name="connsiteY9" fmla="*/ 43687 h 134375"/>
                <a:gd name="connsiteX10" fmla="*/ 145473 w 148439"/>
                <a:gd name="connsiteY10" fmla="*/ 42782 h 134375"/>
                <a:gd name="connsiteX11" fmla="*/ 108549 w 148439"/>
                <a:gd name="connsiteY11" fmla="*/ 4740 h 134375"/>
                <a:gd name="connsiteX12" fmla="*/ 50167 w 148439"/>
                <a:gd name="connsiteY12" fmla="*/ 2622 h 134375"/>
                <a:gd name="connsiteX13" fmla="*/ 6887 w 148439"/>
                <a:gd name="connsiteY13" fmla="*/ 35655 h 134375"/>
                <a:gd name="connsiteX14" fmla="*/ 2187 w 148439"/>
                <a:gd name="connsiteY14" fmla="*/ 85870 h 134375"/>
                <a:gd name="connsiteX15" fmla="*/ 43715 w 148439"/>
                <a:gd name="connsiteY15" fmla="*/ 129863 h 134375"/>
                <a:gd name="connsiteX16" fmla="*/ 100555 w 148439"/>
                <a:gd name="connsiteY16" fmla="*/ 132039 h 134375"/>
                <a:gd name="connsiteX17" fmla="*/ 133897 w 148439"/>
                <a:gd name="connsiteY17" fmla="*/ 113799 h 134375"/>
                <a:gd name="connsiteX18" fmla="*/ 148439 w 148439"/>
                <a:gd name="connsiteY18" fmla="*/ 86390 h 134375"/>
                <a:gd name="connsiteX19" fmla="*/ 101942 w 148439"/>
                <a:gd name="connsiteY19" fmla="*/ 81112 h 134375"/>
                <a:gd name="connsiteX20" fmla="*/ 101326 w 148439"/>
                <a:gd name="connsiteY20" fmla="*/ 82634 h 13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8439" h="134375">
                  <a:moveTo>
                    <a:pt x="101326" y="82653"/>
                  </a:moveTo>
                  <a:cubicBezTo>
                    <a:pt x="101152" y="83077"/>
                    <a:pt x="100998" y="83520"/>
                    <a:pt x="100825" y="83943"/>
                  </a:cubicBezTo>
                  <a:cubicBezTo>
                    <a:pt x="97011" y="93651"/>
                    <a:pt x="90289" y="99564"/>
                    <a:pt x="79676" y="101086"/>
                  </a:cubicBezTo>
                  <a:cubicBezTo>
                    <a:pt x="67522" y="102839"/>
                    <a:pt x="55715" y="96194"/>
                    <a:pt x="51631" y="84637"/>
                  </a:cubicBezTo>
                  <a:cubicBezTo>
                    <a:pt x="48241" y="75006"/>
                    <a:pt x="48415" y="65164"/>
                    <a:pt x="50668" y="55379"/>
                  </a:cubicBezTo>
                  <a:cubicBezTo>
                    <a:pt x="54058" y="40702"/>
                    <a:pt x="64055" y="33228"/>
                    <a:pt x="78982" y="33864"/>
                  </a:cubicBezTo>
                  <a:cubicBezTo>
                    <a:pt x="88921" y="34287"/>
                    <a:pt x="95855" y="39161"/>
                    <a:pt x="99091" y="48002"/>
                  </a:cubicBezTo>
                  <a:cubicBezTo>
                    <a:pt x="99380" y="48772"/>
                    <a:pt x="99631" y="49562"/>
                    <a:pt x="99881" y="50332"/>
                  </a:cubicBezTo>
                  <a:cubicBezTo>
                    <a:pt x="115213" y="48291"/>
                    <a:pt x="130411" y="46268"/>
                    <a:pt x="145569" y="44246"/>
                  </a:cubicBezTo>
                  <a:cubicBezTo>
                    <a:pt x="145627" y="43976"/>
                    <a:pt x="145704" y="43822"/>
                    <a:pt x="145685" y="43687"/>
                  </a:cubicBezTo>
                  <a:cubicBezTo>
                    <a:pt x="145646" y="43379"/>
                    <a:pt x="145569" y="43090"/>
                    <a:pt x="145473" y="42782"/>
                  </a:cubicBezTo>
                  <a:cubicBezTo>
                    <a:pt x="139232" y="24214"/>
                    <a:pt x="127714" y="10577"/>
                    <a:pt x="108549" y="4740"/>
                  </a:cubicBezTo>
                  <a:cubicBezTo>
                    <a:pt x="89345" y="-1115"/>
                    <a:pt x="69698" y="-1211"/>
                    <a:pt x="50167" y="2622"/>
                  </a:cubicBezTo>
                  <a:cubicBezTo>
                    <a:pt x="30501" y="6474"/>
                    <a:pt x="15805" y="17761"/>
                    <a:pt x="6887" y="35655"/>
                  </a:cubicBezTo>
                  <a:cubicBezTo>
                    <a:pt x="-1068" y="51603"/>
                    <a:pt x="-1395" y="68862"/>
                    <a:pt x="2187" y="85870"/>
                  </a:cubicBezTo>
                  <a:cubicBezTo>
                    <a:pt x="7002" y="108675"/>
                    <a:pt x="21564" y="123352"/>
                    <a:pt x="43715" y="129863"/>
                  </a:cubicBezTo>
                  <a:cubicBezTo>
                    <a:pt x="62341" y="135352"/>
                    <a:pt x="81486" y="135526"/>
                    <a:pt x="100555" y="132039"/>
                  </a:cubicBezTo>
                  <a:cubicBezTo>
                    <a:pt x="113576" y="129670"/>
                    <a:pt x="124863" y="123622"/>
                    <a:pt x="133897" y="113799"/>
                  </a:cubicBezTo>
                  <a:cubicBezTo>
                    <a:pt x="141043" y="106036"/>
                    <a:pt x="145646" y="96868"/>
                    <a:pt x="148439" y="86390"/>
                  </a:cubicBezTo>
                  <a:cubicBezTo>
                    <a:pt x="132876" y="84618"/>
                    <a:pt x="117505" y="82884"/>
                    <a:pt x="101942" y="81112"/>
                  </a:cubicBezTo>
                  <a:cubicBezTo>
                    <a:pt x="101672" y="81805"/>
                    <a:pt x="101499" y="82210"/>
                    <a:pt x="101326" y="82634"/>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0" name="Freeform: Shape 599">
              <a:extLst>
                <a:ext uri="{FF2B5EF4-FFF2-40B4-BE49-F238E27FC236}">
                  <a16:creationId xmlns:a16="http://schemas.microsoft.com/office/drawing/2014/main" id="{D2D1521C-2214-42DD-8FF2-35799B578688}"/>
                </a:ext>
              </a:extLst>
            </p:cNvPr>
            <p:cNvSpPr/>
            <p:nvPr/>
          </p:nvSpPr>
          <p:spPr>
            <a:xfrm>
              <a:off x="11281777" y="4099738"/>
              <a:ext cx="96037" cy="179619"/>
            </a:xfrm>
            <a:custGeom>
              <a:avLst/>
              <a:gdLst>
                <a:gd name="connsiteX0" fmla="*/ 90047 w 96037"/>
                <a:gd name="connsiteY0" fmla="*/ 142592 h 179619"/>
                <a:gd name="connsiteX1" fmla="*/ 76487 w 96037"/>
                <a:gd name="connsiteY1" fmla="*/ 144865 h 179619"/>
                <a:gd name="connsiteX2" fmla="*/ 67800 w 96037"/>
                <a:gd name="connsiteY2" fmla="*/ 138239 h 179619"/>
                <a:gd name="connsiteX3" fmla="*/ 67242 w 96037"/>
                <a:gd name="connsiteY3" fmla="*/ 132981 h 179619"/>
                <a:gd name="connsiteX4" fmla="*/ 67184 w 96037"/>
                <a:gd name="connsiteY4" fmla="*/ 86311 h 179619"/>
                <a:gd name="connsiteX5" fmla="*/ 67376 w 96037"/>
                <a:gd name="connsiteY5" fmla="*/ 84384 h 179619"/>
                <a:gd name="connsiteX6" fmla="*/ 93957 w 96037"/>
                <a:gd name="connsiteY6" fmla="*/ 84384 h 179619"/>
                <a:gd name="connsiteX7" fmla="*/ 93957 w 96037"/>
                <a:gd name="connsiteY7" fmla="*/ 48731 h 179619"/>
                <a:gd name="connsiteX8" fmla="*/ 67126 w 96037"/>
                <a:gd name="connsiteY8" fmla="*/ 48731 h 179619"/>
                <a:gd name="connsiteX9" fmla="*/ 67126 w 96037"/>
                <a:gd name="connsiteY9" fmla="*/ 0 h 179619"/>
                <a:gd name="connsiteX10" fmla="*/ 19396 w 96037"/>
                <a:gd name="connsiteY10" fmla="*/ 24443 h 179619"/>
                <a:gd name="connsiteX11" fmla="*/ 18087 w 96037"/>
                <a:gd name="connsiteY11" fmla="*/ 26947 h 179619"/>
                <a:gd name="connsiteX12" fmla="*/ 18029 w 96037"/>
                <a:gd name="connsiteY12" fmla="*/ 44513 h 179619"/>
                <a:gd name="connsiteX13" fmla="*/ 18029 w 96037"/>
                <a:gd name="connsiteY13" fmla="*/ 48866 h 179619"/>
                <a:gd name="connsiteX14" fmla="*/ 0 w 96037"/>
                <a:gd name="connsiteY14" fmla="*/ 48866 h 179619"/>
                <a:gd name="connsiteX15" fmla="*/ 0 w 96037"/>
                <a:gd name="connsiteY15" fmla="*/ 84538 h 179619"/>
                <a:gd name="connsiteX16" fmla="*/ 18029 w 96037"/>
                <a:gd name="connsiteY16" fmla="*/ 84538 h 179619"/>
                <a:gd name="connsiteX17" fmla="*/ 18029 w 96037"/>
                <a:gd name="connsiteY17" fmla="*/ 87235 h 179619"/>
                <a:gd name="connsiteX18" fmla="*/ 18106 w 96037"/>
                <a:gd name="connsiteY18" fmla="*/ 128821 h 179619"/>
                <a:gd name="connsiteX19" fmla="*/ 19724 w 96037"/>
                <a:gd name="connsiteY19" fmla="*/ 151549 h 179619"/>
                <a:gd name="connsiteX20" fmla="*/ 48173 w 96037"/>
                <a:gd name="connsiteY20" fmla="*/ 178765 h 179619"/>
                <a:gd name="connsiteX21" fmla="*/ 73714 w 96037"/>
                <a:gd name="connsiteY21" fmla="*/ 179074 h 179619"/>
                <a:gd name="connsiteX22" fmla="*/ 96037 w 96037"/>
                <a:gd name="connsiteY22" fmla="*/ 175973 h 179619"/>
                <a:gd name="connsiteX23" fmla="*/ 92416 w 96037"/>
                <a:gd name="connsiteY23" fmla="*/ 141957 h 179619"/>
                <a:gd name="connsiteX24" fmla="*/ 90066 w 96037"/>
                <a:gd name="connsiteY24" fmla="*/ 142592 h 17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037" h="179619">
                  <a:moveTo>
                    <a:pt x="90047" y="142592"/>
                  </a:moveTo>
                  <a:cubicBezTo>
                    <a:pt x="85540" y="143401"/>
                    <a:pt x="81052" y="144538"/>
                    <a:pt x="76487" y="144865"/>
                  </a:cubicBezTo>
                  <a:cubicBezTo>
                    <a:pt x="71864" y="145193"/>
                    <a:pt x="68648" y="142419"/>
                    <a:pt x="67800" y="138239"/>
                  </a:cubicBezTo>
                  <a:cubicBezTo>
                    <a:pt x="67454" y="136525"/>
                    <a:pt x="67242" y="134734"/>
                    <a:pt x="67242" y="132981"/>
                  </a:cubicBezTo>
                  <a:cubicBezTo>
                    <a:pt x="67184" y="117418"/>
                    <a:pt x="67184" y="101874"/>
                    <a:pt x="67184" y="86311"/>
                  </a:cubicBezTo>
                  <a:cubicBezTo>
                    <a:pt x="67184" y="85733"/>
                    <a:pt x="67299" y="85155"/>
                    <a:pt x="67376" y="84384"/>
                  </a:cubicBezTo>
                  <a:lnTo>
                    <a:pt x="93957" y="84384"/>
                  </a:lnTo>
                  <a:lnTo>
                    <a:pt x="93957" y="48731"/>
                  </a:lnTo>
                  <a:lnTo>
                    <a:pt x="67126" y="48731"/>
                  </a:lnTo>
                  <a:lnTo>
                    <a:pt x="67126" y="0"/>
                  </a:lnTo>
                  <a:cubicBezTo>
                    <a:pt x="51024" y="8225"/>
                    <a:pt x="35171" y="16295"/>
                    <a:pt x="19396" y="24443"/>
                  </a:cubicBezTo>
                  <a:cubicBezTo>
                    <a:pt x="18703" y="24809"/>
                    <a:pt x="18106" y="26080"/>
                    <a:pt x="18087" y="26947"/>
                  </a:cubicBezTo>
                  <a:cubicBezTo>
                    <a:pt x="17971" y="32802"/>
                    <a:pt x="18029" y="38658"/>
                    <a:pt x="18029" y="44513"/>
                  </a:cubicBezTo>
                  <a:lnTo>
                    <a:pt x="18029" y="48866"/>
                  </a:lnTo>
                  <a:lnTo>
                    <a:pt x="0" y="48866"/>
                  </a:lnTo>
                  <a:lnTo>
                    <a:pt x="0" y="84538"/>
                  </a:lnTo>
                  <a:lnTo>
                    <a:pt x="18029" y="84538"/>
                  </a:lnTo>
                  <a:cubicBezTo>
                    <a:pt x="18029" y="85579"/>
                    <a:pt x="18029" y="86407"/>
                    <a:pt x="18029" y="87235"/>
                  </a:cubicBezTo>
                  <a:cubicBezTo>
                    <a:pt x="18029" y="101103"/>
                    <a:pt x="17855" y="114972"/>
                    <a:pt x="18106" y="128821"/>
                  </a:cubicBezTo>
                  <a:cubicBezTo>
                    <a:pt x="18241" y="136410"/>
                    <a:pt x="18703" y="144037"/>
                    <a:pt x="19724" y="151549"/>
                  </a:cubicBezTo>
                  <a:cubicBezTo>
                    <a:pt x="21842" y="167286"/>
                    <a:pt x="32398" y="176993"/>
                    <a:pt x="48173" y="178765"/>
                  </a:cubicBezTo>
                  <a:cubicBezTo>
                    <a:pt x="56706" y="179729"/>
                    <a:pt x="65219" y="179940"/>
                    <a:pt x="73714" y="179074"/>
                  </a:cubicBezTo>
                  <a:cubicBezTo>
                    <a:pt x="81091" y="178303"/>
                    <a:pt x="88410" y="177051"/>
                    <a:pt x="96037" y="175973"/>
                  </a:cubicBezTo>
                  <a:cubicBezTo>
                    <a:pt x="94805" y="164416"/>
                    <a:pt x="93630" y="153321"/>
                    <a:pt x="92416" y="141957"/>
                  </a:cubicBezTo>
                  <a:cubicBezTo>
                    <a:pt x="91492" y="142207"/>
                    <a:pt x="90798" y="142458"/>
                    <a:pt x="90066" y="142592"/>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1" name="Freeform: Shape 600">
              <a:extLst>
                <a:ext uri="{FF2B5EF4-FFF2-40B4-BE49-F238E27FC236}">
                  <a16:creationId xmlns:a16="http://schemas.microsoft.com/office/drawing/2014/main" id="{5D4EEAE8-2104-44E3-9DF8-D77B6D6C562E}"/>
                </a:ext>
              </a:extLst>
            </p:cNvPr>
            <p:cNvSpPr/>
            <p:nvPr/>
          </p:nvSpPr>
          <p:spPr>
            <a:xfrm>
              <a:off x="10380361" y="4148450"/>
              <a:ext cx="175471" cy="128114"/>
            </a:xfrm>
            <a:custGeom>
              <a:avLst/>
              <a:gdLst>
                <a:gd name="connsiteX0" fmla="*/ 156403 w 175471"/>
                <a:gd name="connsiteY0" fmla="*/ 19 h 128114"/>
                <a:gd name="connsiteX1" fmla="*/ 153880 w 175471"/>
                <a:gd name="connsiteY1" fmla="*/ 1888 h 128114"/>
                <a:gd name="connsiteX2" fmla="*/ 130997 w 175471"/>
                <a:gd name="connsiteY2" fmla="*/ 79184 h 128114"/>
                <a:gd name="connsiteX3" fmla="*/ 125353 w 175471"/>
                <a:gd name="connsiteY3" fmla="*/ 98060 h 128114"/>
                <a:gd name="connsiteX4" fmla="*/ 124872 w 175471"/>
                <a:gd name="connsiteY4" fmla="*/ 98099 h 128114"/>
                <a:gd name="connsiteX5" fmla="*/ 99505 w 175471"/>
                <a:gd name="connsiteY5" fmla="*/ 39 h 128114"/>
                <a:gd name="connsiteX6" fmla="*/ 78837 w 175471"/>
                <a:gd name="connsiteY6" fmla="*/ 39 h 128114"/>
                <a:gd name="connsiteX7" fmla="*/ 76795 w 175471"/>
                <a:gd name="connsiteY7" fmla="*/ 1579 h 128114"/>
                <a:gd name="connsiteX8" fmla="*/ 74426 w 175471"/>
                <a:gd name="connsiteY8" fmla="*/ 10459 h 128114"/>
                <a:gd name="connsiteX9" fmla="*/ 55511 w 175471"/>
                <a:gd name="connsiteY9" fmla="*/ 80513 h 128114"/>
                <a:gd name="connsiteX10" fmla="*/ 50426 w 175471"/>
                <a:gd name="connsiteY10" fmla="*/ 100448 h 128114"/>
                <a:gd name="connsiteX11" fmla="*/ 49887 w 175471"/>
                <a:gd name="connsiteY11" fmla="*/ 100506 h 128114"/>
                <a:gd name="connsiteX12" fmla="*/ 22208 w 175471"/>
                <a:gd name="connsiteY12" fmla="*/ 212 h 128114"/>
                <a:gd name="connsiteX13" fmla="*/ 0 w 175471"/>
                <a:gd name="connsiteY13" fmla="*/ 212 h 128114"/>
                <a:gd name="connsiteX14" fmla="*/ 424 w 175471"/>
                <a:gd name="connsiteY14" fmla="*/ 1945 h 128114"/>
                <a:gd name="connsiteX15" fmla="*/ 26003 w 175471"/>
                <a:gd name="connsiteY15" fmla="*/ 85367 h 128114"/>
                <a:gd name="connsiteX16" fmla="*/ 38581 w 175471"/>
                <a:gd name="connsiteY16" fmla="*/ 126432 h 128114"/>
                <a:gd name="connsiteX17" fmla="*/ 40237 w 175471"/>
                <a:gd name="connsiteY17" fmla="*/ 128031 h 128114"/>
                <a:gd name="connsiteX18" fmla="*/ 61579 w 175471"/>
                <a:gd name="connsiteY18" fmla="*/ 128108 h 128114"/>
                <a:gd name="connsiteX19" fmla="*/ 87331 w 175471"/>
                <a:gd name="connsiteY19" fmla="*/ 30318 h 128114"/>
                <a:gd name="connsiteX20" fmla="*/ 112853 w 175471"/>
                <a:gd name="connsiteY20" fmla="*/ 128012 h 128114"/>
                <a:gd name="connsiteX21" fmla="*/ 135466 w 175471"/>
                <a:gd name="connsiteY21" fmla="*/ 128012 h 128114"/>
                <a:gd name="connsiteX22" fmla="*/ 175472 w 175471"/>
                <a:gd name="connsiteY22" fmla="*/ 39 h 128114"/>
                <a:gd name="connsiteX23" fmla="*/ 156403 w 175471"/>
                <a:gd name="connsiteY23" fmla="*/ 0 h 12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471" h="128114">
                  <a:moveTo>
                    <a:pt x="156403" y="19"/>
                  </a:moveTo>
                  <a:cubicBezTo>
                    <a:pt x="154939" y="19"/>
                    <a:pt x="154323" y="404"/>
                    <a:pt x="153880" y="1888"/>
                  </a:cubicBezTo>
                  <a:cubicBezTo>
                    <a:pt x="146310" y="27679"/>
                    <a:pt x="138644" y="53431"/>
                    <a:pt x="130997" y="79184"/>
                  </a:cubicBezTo>
                  <a:cubicBezTo>
                    <a:pt x="129129" y="85482"/>
                    <a:pt x="127241" y="91762"/>
                    <a:pt x="125353" y="98060"/>
                  </a:cubicBezTo>
                  <a:lnTo>
                    <a:pt x="124872" y="98099"/>
                  </a:lnTo>
                  <a:cubicBezTo>
                    <a:pt x="116435" y="65450"/>
                    <a:pt x="107980" y="32802"/>
                    <a:pt x="99505" y="39"/>
                  </a:cubicBezTo>
                  <a:cubicBezTo>
                    <a:pt x="92378" y="39"/>
                    <a:pt x="85598" y="58"/>
                    <a:pt x="78837" y="39"/>
                  </a:cubicBezTo>
                  <a:cubicBezTo>
                    <a:pt x="77662" y="39"/>
                    <a:pt x="77084" y="289"/>
                    <a:pt x="76795" y="1579"/>
                  </a:cubicBezTo>
                  <a:cubicBezTo>
                    <a:pt x="76140" y="4565"/>
                    <a:pt x="75235" y="7512"/>
                    <a:pt x="74426" y="10459"/>
                  </a:cubicBezTo>
                  <a:cubicBezTo>
                    <a:pt x="68108" y="33804"/>
                    <a:pt x="61791" y="57149"/>
                    <a:pt x="55511" y="80513"/>
                  </a:cubicBezTo>
                  <a:cubicBezTo>
                    <a:pt x="53739" y="87139"/>
                    <a:pt x="52121" y="93803"/>
                    <a:pt x="50426" y="100448"/>
                  </a:cubicBezTo>
                  <a:lnTo>
                    <a:pt x="49887" y="100506"/>
                  </a:lnTo>
                  <a:cubicBezTo>
                    <a:pt x="40661" y="67068"/>
                    <a:pt x="31435" y="33630"/>
                    <a:pt x="22208" y="212"/>
                  </a:cubicBezTo>
                  <a:lnTo>
                    <a:pt x="0" y="212"/>
                  </a:lnTo>
                  <a:cubicBezTo>
                    <a:pt x="173" y="925"/>
                    <a:pt x="270" y="1445"/>
                    <a:pt x="424" y="1945"/>
                  </a:cubicBezTo>
                  <a:cubicBezTo>
                    <a:pt x="8957" y="29759"/>
                    <a:pt x="17489" y="57553"/>
                    <a:pt x="26003" y="85367"/>
                  </a:cubicBezTo>
                  <a:cubicBezTo>
                    <a:pt x="30202" y="99062"/>
                    <a:pt x="34343" y="112756"/>
                    <a:pt x="38581" y="126432"/>
                  </a:cubicBezTo>
                  <a:cubicBezTo>
                    <a:pt x="38793" y="127087"/>
                    <a:pt x="39659" y="128031"/>
                    <a:pt x="40237" y="128031"/>
                  </a:cubicBezTo>
                  <a:cubicBezTo>
                    <a:pt x="47325" y="128146"/>
                    <a:pt x="54394" y="128108"/>
                    <a:pt x="61579" y="128108"/>
                  </a:cubicBezTo>
                  <a:cubicBezTo>
                    <a:pt x="70169" y="95498"/>
                    <a:pt x="78721" y="63004"/>
                    <a:pt x="87331" y="30318"/>
                  </a:cubicBezTo>
                  <a:cubicBezTo>
                    <a:pt x="95903" y="63139"/>
                    <a:pt x="104397" y="95595"/>
                    <a:pt x="112853" y="128012"/>
                  </a:cubicBezTo>
                  <a:lnTo>
                    <a:pt x="135466" y="128012"/>
                  </a:lnTo>
                  <a:cubicBezTo>
                    <a:pt x="148795" y="85367"/>
                    <a:pt x="162085" y="42837"/>
                    <a:pt x="175472" y="39"/>
                  </a:cubicBezTo>
                  <a:cubicBezTo>
                    <a:pt x="168865" y="39"/>
                    <a:pt x="162644" y="77"/>
                    <a:pt x="156403"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2" name="Freeform: Shape 601">
              <a:extLst>
                <a:ext uri="{FF2B5EF4-FFF2-40B4-BE49-F238E27FC236}">
                  <a16:creationId xmlns:a16="http://schemas.microsoft.com/office/drawing/2014/main" id="{C8D6F8A8-5AA2-45F9-8A80-DCBB6064C870}"/>
                </a:ext>
              </a:extLst>
            </p:cNvPr>
            <p:cNvSpPr/>
            <p:nvPr/>
          </p:nvSpPr>
          <p:spPr>
            <a:xfrm>
              <a:off x="10817757" y="4145473"/>
              <a:ext cx="118433" cy="133914"/>
            </a:xfrm>
            <a:custGeom>
              <a:avLst/>
              <a:gdLst>
                <a:gd name="connsiteX0" fmla="*/ 89694 w 118433"/>
                <a:gd name="connsiteY0" fmla="*/ 7523 h 133914"/>
                <a:gd name="connsiteX1" fmla="*/ 50535 w 118433"/>
                <a:gd name="connsiteY1" fmla="*/ 743 h 133914"/>
                <a:gd name="connsiteX2" fmla="*/ 7428 w 118433"/>
                <a:gd name="connsiteY2" fmla="*/ 32351 h 133914"/>
                <a:gd name="connsiteX3" fmla="*/ 4308 w 118433"/>
                <a:gd name="connsiteY3" fmla="*/ 94873 h 133914"/>
                <a:gd name="connsiteX4" fmla="*/ 36436 w 118433"/>
                <a:gd name="connsiteY4" fmla="*/ 129621 h 133914"/>
                <a:gd name="connsiteX5" fmla="*/ 69296 w 118433"/>
                <a:gd name="connsiteY5" fmla="*/ 133492 h 133914"/>
                <a:gd name="connsiteX6" fmla="*/ 107838 w 118433"/>
                <a:gd name="connsiteY6" fmla="*/ 113210 h 133914"/>
                <a:gd name="connsiteX7" fmla="*/ 117546 w 118433"/>
                <a:gd name="connsiteY7" fmla="*/ 92793 h 133914"/>
                <a:gd name="connsiteX8" fmla="*/ 116544 w 118433"/>
                <a:gd name="connsiteY8" fmla="*/ 92408 h 133914"/>
                <a:gd name="connsiteX9" fmla="*/ 97340 w 118433"/>
                <a:gd name="connsiteY9" fmla="*/ 89981 h 133914"/>
                <a:gd name="connsiteX10" fmla="*/ 94413 w 118433"/>
                <a:gd name="connsiteY10" fmla="*/ 91984 h 133914"/>
                <a:gd name="connsiteX11" fmla="*/ 63864 w 118433"/>
                <a:gd name="connsiteY11" fmla="*/ 116022 h 133914"/>
                <a:gd name="connsiteX12" fmla="*/ 33200 w 118433"/>
                <a:gd name="connsiteY12" fmla="*/ 103213 h 133914"/>
                <a:gd name="connsiteX13" fmla="*/ 23665 w 118433"/>
                <a:gd name="connsiteY13" fmla="*/ 81101 h 133914"/>
                <a:gd name="connsiteX14" fmla="*/ 22587 w 118433"/>
                <a:gd name="connsiteY14" fmla="*/ 72357 h 133914"/>
                <a:gd name="connsiteX15" fmla="*/ 118316 w 118433"/>
                <a:gd name="connsiteY15" fmla="*/ 72357 h 133914"/>
                <a:gd name="connsiteX16" fmla="*/ 116544 w 118433"/>
                <a:gd name="connsiteY16" fmla="*/ 47009 h 133914"/>
                <a:gd name="connsiteX17" fmla="*/ 89713 w 118433"/>
                <a:gd name="connsiteY17" fmla="*/ 7503 h 133914"/>
                <a:gd name="connsiteX18" fmla="*/ 23935 w 118433"/>
                <a:gd name="connsiteY18" fmla="*/ 54675 h 133914"/>
                <a:gd name="connsiteX19" fmla="*/ 39826 w 118433"/>
                <a:gd name="connsiteY19" fmla="*/ 24049 h 133914"/>
                <a:gd name="connsiteX20" fmla="*/ 77308 w 118433"/>
                <a:gd name="connsiteY20" fmla="*/ 22026 h 133914"/>
                <a:gd name="connsiteX21" fmla="*/ 95260 w 118433"/>
                <a:gd name="connsiteY21" fmla="*/ 54675 h 133914"/>
                <a:gd name="connsiteX22" fmla="*/ 23935 w 118433"/>
                <a:gd name="connsiteY22" fmla="*/ 54675 h 1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433" h="133914">
                  <a:moveTo>
                    <a:pt x="89694" y="7523"/>
                  </a:moveTo>
                  <a:cubicBezTo>
                    <a:pt x="77559" y="319"/>
                    <a:pt x="64249" y="-1126"/>
                    <a:pt x="50535" y="743"/>
                  </a:cubicBezTo>
                  <a:cubicBezTo>
                    <a:pt x="30503" y="3478"/>
                    <a:pt x="15730" y="14033"/>
                    <a:pt x="7428" y="32351"/>
                  </a:cubicBezTo>
                  <a:cubicBezTo>
                    <a:pt x="-1760" y="52594"/>
                    <a:pt x="-1972" y="73763"/>
                    <a:pt x="4308" y="94873"/>
                  </a:cubicBezTo>
                  <a:cubicBezTo>
                    <a:pt x="9258" y="111554"/>
                    <a:pt x="20179" y="123265"/>
                    <a:pt x="36436" y="129621"/>
                  </a:cubicBezTo>
                  <a:cubicBezTo>
                    <a:pt x="46991" y="133743"/>
                    <a:pt x="58047" y="134552"/>
                    <a:pt x="69296" y="133492"/>
                  </a:cubicBezTo>
                  <a:cubicBezTo>
                    <a:pt x="84936" y="132009"/>
                    <a:pt x="98111" y="125884"/>
                    <a:pt x="107838" y="113210"/>
                  </a:cubicBezTo>
                  <a:cubicBezTo>
                    <a:pt x="112499" y="107123"/>
                    <a:pt x="115581" y="100266"/>
                    <a:pt x="117546" y="92793"/>
                  </a:cubicBezTo>
                  <a:cubicBezTo>
                    <a:pt x="117083" y="92600"/>
                    <a:pt x="116833" y="92427"/>
                    <a:pt x="116544" y="92408"/>
                  </a:cubicBezTo>
                  <a:cubicBezTo>
                    <a:pt x="110149" y="91599"/>
                    <a:pt x="103735" y="90867"/>
                    <a:pt x="97340" y="89981"/>
                  </a:cubicBezTo>
                  <a:cubicBezTo>
                    <a:pt x="95549" y="89730"/>
                    <a:pt x="94990" y="90520"/>
                    <a:pt x="94413" y="91984"/>
                  </a:cubicBezTo>
                  <a:cubicBezTo>
                    <a:pt x="88962" y="105987"/>
                    <a:pt x="79639" y="115155"/>
                    <a:pt x="63864" y="116022"/>
                  </a:cubicBezTo>
                  <a:cubicBezTo>
                    <a:pt x="51594" y="116696"/>
                    <a:pt x="41251" y="112671"/>
                    <a:pt x="33200" y="103213"/>
                  </a:cubicBezTo>
                  <a:cubicBezTo>
                    <a:pt x="27768" y="96819"/>
                    <a:pt x="25033" y="89249"/>
                    <a:pt x="23665" y="81101"/>
                  </a:cubicBezTo>
                  <a:cubicBezTo>
                    <a:pt x="23184" y="78270"/>
                    <a:pt x="22953" y="75419"/>
                    <a:pt x="22587" y="72357"/>
                  </a:cubicBezTo>
                  <a:lnTo>
                    <a:pt x="118316" y="72357"/>
                  </a:lnTo>
                  <a:cubicBezTo>
                    <a:pt x="118682" y="63727"/>
                    <a:pt x="118220" y="55329"/>
                    <a:pt x="116544" y="47009"/>
                  </a:cubicBezTo>
                  <a:cubicBezTo>
                    <a:pt x="113154" y="30078"/>
                    <a:pt x="104775" y="16441"/>
                    <a:pt x="89713" y="7503"/>
                  </a:cubicBezTo>
                  <a:close/>
                  <a:moveTo>
                    <a:pt x="23935" y="54675"/>
                  </a:moveTo>
                  <a:cubicBezTo>
                    <a:pt x="24705" y="42020"/>
                    <a:pt x="29136" y="31272"/>
                    <a:pt x="39826" y="24049"/>
                  </a:cubicBezTo>
                  <a:cubicBezTo>
                    <a:pt x="51768" y="15998"/>
                    <a:pt x="64615" y="15400"/>
                    <a:pt x="77308" y="22026"/>
                  </a:cubicBezTo>
                  <a:cubicBezTo>
                    <a:pt x="88885" y="28055"/>
                    <a:pt x="94759" y="39362"/>
                    <a:pt x="95260" y="54675"/>
                  </a:cubicBezTo>
                  <a:lnTo>
                    <a:pt x="23935" y="54675"/>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3" name="Freeform: Shape 602">
              <a:extLst>
                <a:ext uri="{FF2B5EF4-FFF2-40B4-BE49-F238E27FC236}">
                  <a16:creationId xmlns:a16="http://schemas.microsoft.com/office/drawing/2014/main" id="{BA89044C-7906-4F6B-9AF1-63CF6303AD5C}"/>
                </a:ext>
              </a:extLst>
            </p:cNvPr>
            <p:cNvSpPr/>
            <p:nvPr/>
          </p:nvSpPr>
          <p:spPr>
            <a:xfrm>
              <a:off x="10574381" y="4099622"/>
              <a:ext cx="104072" cy="176820"/>
            </a:xfrm>
            <a:custGeom>
              <a:avLst/>
              <a:gdLst>
                <a:gd name="connsiteX0" fmla="*/ 102818 w 104072"/>
                <a:gd name="connsiteY0" fmla="*/ 78490 h 176820"/>
                <a:gd name="connsiteX1" fmla="*/ 80937 w 104072"/>
                <a:gd name="connsiteY1" fmla="*/ 49772 h 176820"/>
                <a:gd name="connsiteX2" fmla="*/ 63274 w 104072"/>
                <a:gd name="connsiteY2" fmla="*/ 45996 h 176820"/>
                <a:gd name="connsiteX3" fmla="*/ 33573 w 104072"/>
                <a:gd name="connsiteY3" fmla="*/ 53123 h 176820"/>
                <a:gd name="connsiteX4" fmla="*/ 21476 w 104072"/>
                <a:gd name="connsiteY4" fmla="*/ 62677 h 176820"/>
                <a:gd name="connsiteX5" fmla="*/ 21476 w 104072"/>
                <a:gd name="connsiteY5" fmla="*/ 0 h 176820"/>
                <a:gd name="connsiteX6" fmla="*/ 0 w 104072"/>
                <a:gd name="connsiteY6" fmla="*/ 0 h 176820"/>
                <a:gd name="connsiteX7" fmla="*/ 0 w 104072"/>
                <a:gd name="connsiteY7" fmla="*/ 176820 h 176820"/>
                <a:gd name="connsiteX8" fmla="*/ 21515 w 104072"/>
                <a:gd name="connsiteY8" fmla="*/ 176820 h 176820"/>
                <a:gd name="connsiteX9" fmla="*/ 21515 w 104072"/>
                <a:gd name="connsiteY9" fmla="*/ 174220 h 176820"/>
                <a:gd name="connsiteX10" fmla="*/ 21554 w 104072"/>
                <a:gd name="connsiteY10" fmla="*/ 106728 h 176820"/>
                <a:gd name="connsiteX11" fmla="*/ 22517 w 104072"/>
                <a:gd name="connsiteY11" fmla="*/ 92474 h 176820"/>
                <a:gd name="connsiteX12" fmla="*/ 32186 w 104072"/>
                <a:gd name="connsiteY12" fmla="*/ 73136 h 176820"/>
                <a:gd name="connsiteX13" fmla="*/ 60693 w 104072"/>
                <a:gd name="connsiteY13" fmla="*/ 64815 h 176820"/>
                <a:gd name="connsiteX14" fmla="*/ 80455 w 104072"/>
                <a:gd name="connsiteY14" fmla="*/ 80975 h 176820"/>
                <a:gd name="connsiteX15" fmla="*/ 82439 w 104072"/>
                <a:gd name="connsiteY15" fmla="*/ 94574 h 176820"/>
                <a:gd name="connsiteX16" fmla="*/ 82535 w 104072"/>
                <a:gd name="connsiteY16" fmla="*/ 174085 h 176820"/>
                <a:gd name="connsiteX17" fmla="*/ 82535 w 104072"/>
                <a:gd name="connsiteY17" fmla="*/ 176762 h 176820"/>
                <a:gd name="connsiteX18" fmla="*/ 104050 w 104072"/>
                <a:gd name="connsiteY18" fmla="*/ 176762 h 176820"/>
                <a:gd name="connsiteX19" fmla="*/ 104050 w 104072"/>
                <a:gd name="connsiteY19" fmla="*/ 173834 h 176820"/>
                <a:gd name="connsiteX20" fmla="*/ 103992 w 104072"/>
                <a:gd name="connsiteY20" fmla="*/ 96404 h 176820"/>
                <a:gd name="connsiteX21" fmla="*/ 102837 w 104072"/>
                <a:gd name="connsiteY21" fmla="*/ 78471 h 176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072" h="176820">
                  <a:moveTo>
                    <a:pt x="102818" y="78490"/>
                  </a:moveTo>
                  <a:cubicBezTo>
                    <a:pt x="101026" y="64834"/>
                    <a:pt x="93822" y="55107"/>
                    <a:pt x="80937" y="49772"/>
                  </a:cubicBezTo>
                  <a:cubicBezTo>
                    <a:pt x="75274" y="47422"/>
                    <a:pt x="69380" y="46285"/>
                    <a:pt x="63274" y="45996"/>
                  </a:cubicBezTo>
                  <a:cubicBezTo>
                    <a:pt x="52661" y="45476"/>
                    <a:pt x="42549" y="47229"/>
                    <a:pt x="33573" y="53123"/>
                  </a:cubicBezTo>
                  <a:cubicBezTo>
                    <a:pt x="29316" y="55916"/>
                    <a:pt x="25560" y="59422"/>
                    <a:pt x="21476" y="62677"/>
                  </a:cubicBezTo>
                  <a:lnTo>
                    <a:pt x="21476" y="0"/>
                  </a:lnTo>
                  <a:lnTo>
                    <a:pt x="0" y="0"/>
                  </a:lnTo>
                  <a:lnTo>
                    <a:pt x="0" y="176820"/>
                  </a:lnTo>
                  <a:lnTo>
                    <a:pt x="21515" y="176820"/>
                  </a:lnTo>
                  <a:lnTo>
                    <a:pt x="21515" y="174220"/>
                  </a:lnTo>
                  <a:cubicBezTo>
                    <a:pt x="21515" y="151722"/>
                    <a:pt x="21457" y="129225"/>
                    <a:pt x="21554" y="106728"/>
                  </a:cubicBezTo>
                  <a:cubicBezTo>
                    <a:pt x="21573" y="101970"/>
                    <a:pt x="21881" y="97193"/>
                    <a:pt x="22517" y="92474"/>
                  </a:cubicBezTo>
                  <a:cubicBezTo>
                    <a:pt x="23518" y="84981"/>
                    <a:pt x="26311" y="78240"/>
                    <a:pt x="32186" y="73136"/>
                  </a:cubicBezTo>
                  <a:cubicBezTo>
                    <a:pt x="40391" y="65990"/>
                    <a:pt x="50080" y="63447"/>
                    <a:pt x="60693" y="64815"/>
                  </a:cubicBezTo>
                  <a:cubicBezTo>
                    <a:pt x="70497" y="66067"/>
                    <a:pt x="77643" y="71210"/>
                    <a:pt x="80455" y="80975"/>
                  </a:cubicBezTo>
                  <a:cubicBezTo>
                    <a:pt x="81707" y="85347"/>
                    <a:pt x="82400" y="90028"/>
                    <a:pt x="82439" y="94574"/>
                  </a:cubicBezTo>
                  <a:cubicBezTo>
                    <a:pt x="82612" y="121077"/>
                    <a:pt x="82535" y="147581"/>
                    <a:pt x="82535" y="174085"/>
                  </a:cubicBezTo>
                  <a:lnTo>
                    <a:pt x="82535" y="176762"/>
                  </a:lnTo>
                  <a:lnTo>
                    <a:pt x="104050" y="176762"/>
                  </a:lnTo>
                  <a:lnTo>
                    <a:pt x="104050" y="173834"/>
                  </a:lnTo>
                  <a:cubicBezTo>
                    <a:pt x="104050" y="148024"/>
                    <a:pt x="104127" y="122214"/>
                    <a:pt x="103992" y="96404"/>
                  </a:cubicBezTo>
                  <a:cubicBezTo>
                    <a:pt x="103973" y="90413"/>
                    <a:pt x="103607" y="84404"/>
                    <a:pt x="102837" y="78471"/>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4" name="Freeform: Shape 603">
              <a:extLst>
                <a:ext uri="{FF2B5EF4-FFF2-40B4-BE49-F238E27FC236}">
                  <a16:creationId xmlns:a16="http://schemas.microsoft.com/office/drawing/2014/main" id="{BC3D2F26-267D-4695-9310-76B46788B56D}"/>
                </a:ext>
              </a:extLst>
            </p:cNvPr>
            <p:cNvSpPr/>
            <p:nvPr/>
          </p:nvSpPr>
          <p:spPr>
            <a:xfrm>
              <a:off x="11401371" y="4148643"/>
              <a:ext cx="48750" cy="127838"/>
            </a:xfrm>
            <a:custGeom>
              <a:avLst/>
              <a:gdLst>
                <a:gd name="connsiteX0" fmla="*/ 0 w 48750"/>
                <a:gd name="connsiteY0" fmla="*/ 127838 h 127838"/>
                <a:gd name="connsiteX1" fmla="*/ 48751 w 48750"/>
                <a:gd name="connsiteY1" fmla="*/ 127838 h 127838"/>
                <a:gd name="connsiteX2" fmla="*/ 48751 w 48750"/>
                <a:gd name="connsiteY2" fmla="*/ 0 h 127838"/>
                <a:gd name="connsiteX3" fmla="*/ 0 w 48750"/>
                <a:gd name="connsiteY3" fmla="*/ 0 h 127838"/>
                <a:gd name="connsiteX4" fmla="*/ 0 w 48750"/>
                <a:gd name="connsiteY4" fmla="*/ 127838 h 127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50" h="127838">
                  <a:moveTo>
                    <a:pt x="0" y="127838"/>
                  </a:moveTo>
                  <a:lnTo>
                    <a:pt x="48751" y="127838"/>
                  </a:lnTo>
                  <a:lnTo>
                    <a:pt x="48751" y="0"/>
                  </a:lnTo>
                  <a:lnTo>
                    <a:pt x="0" y="0"/>
                  </a:lnTo>
                  <a:lnTo>
                    <a:pt x="0" y="127838"/>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5" name="Freeform: Shape 604">
              <a:extLst>
                <a:ext uri="{FF2B5EF4-FFF2-40B4-BE49-F238E27FC236}">
                  <a16:creationId xmlns:a16="http://schemas.microsoft.com/office/drawing/2014/main" id="{E14E51B1-479C-4F3B-BBFE-505A2B439769}"/>
                </a:ext>
              </a:extLst>
            </p:cNvPr>
            <p:cNvSpPr/>
            <p:nvPr/>
          </p:nvSpPr>
          <p:spPr>
            <a:xfrm>
              <a:off x="10747291" y="4103802"/>
              <a:ext cx="62310" cy="174305"/>
            </a:xfrm>
            <a:custGeom>
              <a:avLst/>
              <a:gdLst>
                <a:gd name="connsiteX0" fmla="*/ 57072 w 62310"/>
                <a:gd name="connsiteY0" fmla="*/ 153610 h 174305"/>
                <a:gd name="connsiteX1" fmla="*/ 49040 w 62310"/>
                <a:gd name="connsiteY1" fmla="*/ 154207 h 174305"/>
                <a:gd name="connsiteX2" fmla="*/ 37791 w 62310"/>
                <a:gd name="connsiteY2" fmla="*/ 145597 h 174305"/>
                <a:gd name="connsiteX3" fmla="*/ 37329 w 62310"/>
                <a:gd name="connsiteY3" fmla="*/ 138933 h 174305"/>
                <a:gd name="connsiteX4" fmla="*/ 37309 w 62310"/>
                <a:gd name="connsiteY4" fmla="*/ 64064 h 174305"/>
                <a:gd name="connsiteX5" fmla="*/ 37309 w 62310"/>
                <a:gd name="connsiteY5" fmla="*/ 61309 h 174305"/>
                <a:gd name="connsiteX6" fmla="*/ 59075 w 62310"/>
                <a:gd name="connsiteY6" fmla="*/ 61309 h 174305"/>
                <a:gd name="connsiteX7" fmla="*/ 59075 w 62310"/>
                <a:gd name="connsiteY7" fmla="*/ 44609 h 174305"/>
                <a:gd name="connsiteX8" fmla="*/ 37290 w 62310"/>
                <a:gd name="connsiteY8" fmla="*/ 44609 h 174305"/>
                <a:gd name="connsiteX9" fmla="*/ 37290 w 62310"/>
                <a:gd name="connsiteY9" fmla="*/ 0 h 174305"/>
                <a:gd name="connsiteX10" fmla="*/ 35711 w 62310"/>
                <a:gd name="connsiteY10" fmla="*/ 848 h 174305"/>
                <a:gd name="connsiteX11" fmla="*/ 17566 w 62310"/>
                <a:gd name="connsiteY11" fmla="*/ 11749 h 174305"/>
                <a:gd name="connsiteX12" fmla="*/ 15910 w 62310"/>
                <a:gd name="connsiteY12" fmla="*/ 14619 h 174305"/>
                <a:gd name="connsiteX13" fmla="*/ 15948 w 62310"/>
                <a:gd name="connsiteY13" fmla="*/ 42125 h 174305"/>
                <a:gd name="connsiteX14" fmla="*/ 15948 w 62310"/>
                <a:gd name="connsiteY14" fmla="*/ 44783 h 174305"/>
                <a:gd name="connsiteX15" fmla="*/ 0 w 62310"/>
                <a:gd name="connsiteY15" fmla="*/ 44783 h 174305"/>
                <a:gd name="connsiteX16" fmla="*/ 0 w 62310"/>
                <a:gd name="connsiteY16" fmla="*/ 61405 h 174305"/>
                <a:gd name="connsiteX17" fmla="*/ 15948 w 62310"/>
                <a:gd name="connsiteY17" fmla="*/ 61405 h 174305"/>
                <a:gd name="connsiteX18" fmla="*/ 15948 w 62310"/>
                <a:gd name="connsiteY18" fmla="*/ 64410 h 174305"/>
                <a:gd name="connsiteX19" fmla="*/ 15987 w 62310"/>
                <a:gd name="connsiteY19" fmla="*/ 139279 h 174305"/>
                <a:gd name="connsiteX20" fmla="*/ 16931 w 62310"/>
                <a:gd name="connsiteY20" fmla="*/ 154226 h 174305"/>
                <a:gd name="connsiteX21" fmla="*/ 33014 w 62310"/>
                <a:gd name="connsiteY21" fmla="*/ 172814 h 174305"/>
                <a:gd name="connsiteX22" fmla="*/ 52025 w 62310"/>
                <a:gd name="connsiteY22" fmla="*/ 174046 h 174305"/>
                <a:gd name="connsiteX23" fmla="*/ 62311 w 62310"/>
                <a:gd name="connsiteY23" fmla="*/ 172486 h 174305"/>
                <a:gd name="connsiteX24" fmla="*/ 59190 w 62310"/>
                <a:gd name="connsiteY24" fmla="*/ 153417 h 174305"/>
                <a:gd name="connsiteX25" fmla="*/ 57091 w 62310"/>
                <a:gd name="connsiteY25" fmla="*/ 153629 h 17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310" h="174305">
                  <a:moveTo>
                    <a:pt x="57072" y="153610"/>
                  </a:moveTo>
                  <a:cubicBezTo>
                    <a:pt x="54394" y="153822"/>
                    <a:pt x="51698" y="154265"/>
                    <a:pt x="49040" y="154207"/>
                  </a:cubicBezTo>
                  <a:cubicBezTo>
                    <a:pt x="42375" y="154072"/>
                    <a:pt x="38542" y="151106"/>
                    <a:pt x="37791" y="145597"/>
                  </a:cubicBezTo>
                  <a:cubicBezTo>
                    <a:pt x="37483" y="143401"/>
                    <a:pt x="37329" y="141148"/>
                    <a:pt x="37329" y="138933"/>
                  </a:cubicBezTo>
                  <a:cubicBezTo>
                    <a:pt x="37290" y="113970"/>
                    <a:pt x="37309" y="89026"/>
                    <a:pt x="37309" y="64064"/>
                  </a:cubicBezTo>
                  <a:lnTo>
                    <a:pt x="37309" y="61309"/>
                  </a:lnTo>
                  <a:lnTo>
                    <a:pt x="59075" y="61309"/>
                  </a:lnTo>
                  <a:lnTo>
                    <a:pt x="59075" y="44609"/>
                  </a:lnTo>
                  <a:lnTo>
                    <a:pt x="37290" y="44609"/>
                  </a:lnTo>
                  <a:lnTo>
                    <a:pt x="37290" y="0"/>
                  </a:lnTo>
                  <a:cubicBezTo>
                    <a:pt x="36616" y="366"/>
                    <a:pt x="36134" y="578"/>
                    <a:pt x="35711" y="848"/>
                  </a:cubicBezTo>
                  <a:cubicBezTo>
                    <a:pt x="29663" y="4488"/>
                    <a:pt x="23653" y="8186"/>
                    <a:pt x="17566" y="11749"/>
                  </a:cubicBezTo>
                  <a:cubicBezTo>
                    <a:pt x="16353" y="12462"/>
                    <a:pt x="15910" y="13213"/>
                    <a:pt x="15910" y="14619"/>
                  </a:cubicBezTo>
                  <a:cubicBezTo>
                    <a:pt x="15987" y="23788"/>
                    <a:pt x="15948" y="32956"/>
                    <a:pt x="15948" y="42125"/>
                  </a:cubicBezTo>
                  <a:lnTo>
                    <a:pt x="15948" y="44783"/>
                  </a:lnTo>
                  <a:lnTo>
                    <a:pt x="0" y="44783"/>
                  </a:lnTo>
                  <a:lnTo>
                    <a:pt x="0" y="61405"/>
                  </a:lnTo>
                  <a:lnTo>
                    <a:pt x="15948" y="61405"/>
                  </a:lnTo>
                  <a:lnTo>
                    <a:pt x="15948" y="64410"/>
                  </a:lnTo>
                  <a:cubicBezTo>
                    <a:pt x="15948" y="89373"/>
                    <a:pt x="15891" y="114317"/>
                    <a:pt x="15987" y="139279"/>
                  </a:cubicBezTo>
                  <a:cubicBezTo>
                    <a:pt x="15987" y="144268"/>
                    <a:pt x="16392" y="149257"/>
                    <a:pt x="16931" y="154226"/>
                  </a:cubicBezTo>
                  <a:cubicBezTo>
                    <a:pt x="17990" y="163722"/>
                    <a:pt x="23788" y="170233"/>
                    <a:pt x="33014" y="172814"/>
                  </a:cubicBezTo>
                  <a:cubicBezTo>
                    <a:pt x="39274" y="174566"/>
                    <a:pt x="45650" y="174470"/>
                    <a:pt x="52025" y="174046"/>
                  </a:cubicBezTo>
                  <a:cubicBezTo>
                    <a:pt x="55434" y="173835"/>
                    <a:pt x="58786" y="173045"/>
                    <a:pt x="62311" y="172486"/>
                  </a:cubicBezTo>
                  <a:cubicBezTo>
                    <a:pt x="61251" y="165957"/>
                    <a:pt x="60231" y="159793"/>
                    <a:pt x="59190" y="153417"/>
                  </a:cubicBezTo>
                  <a:cubicBezTo>
                    <a:pt x="58420" y="153494"/>
                    <a:pt x="57746" y="153571"/>
                    <a:pt x="57091" y="153629"/>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6" name="Freeform: Shape 605">
              <a:extLst>
                <a:ext uri="{FF2B5EF4-FFF2-40B4-BE49-F238E27FC236}">
                  <a16:creationId xmlns:a16="http://schemas.microsoft.com/office/drawing/2014/main" id="{5B468EA8-247A-43C0-8920-C55CB48FE518}"/>
                </a:ext>
              </a:extLst>
            </p:cNvPr>
            <p:cNvSpPr/>
            <p:nvPr/>
          </p:nvSpPr>
          <p:spPr>
            <a:xfrm>
              <a:off x="10704473" y="4148585"/>
              <a:ext cx="21283" cy="127857"/>
            </a:xfrm>
            <a:custGeom>
              <a:avLst/>
              <a:gdLst>
                <a:gd name="connsiteX0" fmla="*/ 0 w 21283"/>
                <a:gd name="connsiteY0" fmla="*/ 127857 h 127857"/>
                <a:gd name="connsiteX1" fmla="*/ 21284 w 21283"/>
                <a:gd name="connsiteY1" fmla="*/ 127857 h 127857"/>
                <a:gd name="connsiteX2" fmla="*/ 21284 w 21283"/>
                <a:gd name="connsiteY2" fmla="*/ 0 h 127857"/>
                <a:gd name="connsiteX3" fmla="*/ 0 w 21283"/>
                <a:gd name="connsiteY3" fmla="*/ 0 h 127857"/>
                <a:gd name="connsiteX4" fmla="*/ 0 w 21283"/>
                <a:gd name="connsiteY4" fmla="*/ 127857 h 12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3" h="127857">
                  <a:moveTo>
                    <a:pt x="0" y="127857"/>
                  </a:moveTo>
                  <a:lnTo>
                    <a:pt x="21284" y="127857"/>
                  </a:lnTo>
                  <a:lnTo>
                    <a:pt x="21284" y="0"/>
                  </a:lnTo>
                  <a:lnTo>
                    <a:pt x="0" y="0"/>
                  </a:lnTo>
                  <a:lnTo>
                    <a:pt x="0" y="127857"/>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7" name="Freeform: Shape 606">
              <a:extLst>
                <a:ext uri="{FF2B5EF4-FFF2-40B4-BE49-F238E27FC236}">
                  <a16:creationId xmlns:a16="http://schemas.microsoft.com/office/drawing/2014/main" id="{BBD900AE-F21A-4BC2-B3B0-937C2003EFD5}"/>
                </a:ext>
              </a:extLst>
            </p:cNvPr>
            <p:cNvSpPr/>
            <p:nvPr/>
          </p:nvSpPr>
          <p:spPr>
            <a:xfrm>
              <a:off x="11401313" y="4099719"/>
              <a:ext cx="48808" cy="33033"/>
            </a:xfrm>
            <a:custGeom>
              <a:avLst/>
              <a:gdLst>
                <a:gd name="connsiteX0" fmla="*/ 48808 w 48808"/>
                <a:gd name="connsiteY0" fmla="*/ 0 h 33033"/>
                <a:gd name="connsiteX1" fmla="*/ 0 w 48808"/>
                <a:gd name="connsiteY1" fmla="*/ 0 h 33033"/>
                <a:gd name="connsiteX2" fmla="*/ 0 w 48808"/>
                <a:gd name="connsiteY2" fmla="*/ 33033 h 33033"/>
                <a:gd name="connsiteX3" fmla="*/ 48808 w 48808"/>
                <a:gd name="connsiteY3" fmla="*/ 33033 h 33033"/>
                <a:gd name="connsiteX4" fmla="*/ 48808 w 48808"/>
                <a:gd name="connsiteY4" fmla="*/ 0 h 33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8" h="33033">
                  <a:moveTo>
                    <a:pt x="48808" y="0"/>
                  </a:moveTo>
                  <a:lnTo>
                    <a:pt x="0" y="0"/>
                  </a:lnTo>
                  <a:lnTo>
                    <a:pt x="0" y="33033"/>
                  </a:lnTo>
                  <a:lnTo>
                    <a:pt x="48808" y="33033"/>
                  </a:lnTo>
                  <a:lnTo>
                    <a:pt x="48808"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8" name="Freeform: Shape 607">
              <a:extLst>
                <a:ext uri="{FF2B5EF4-FFF2-40B4-BE49-F238E27FC236}">
                  <a16:creationId xmlns:a16="http://schemas.microsoft.com/office/drawing/2014/main" id="{65F6F46D-EC07-4158-B3B6-22BED78D969C}"/>
                </a:ext>
              </a:extLst>
            </p:cNvPr>
            <p:cNvSpPr/>
            <p:nvPr/>
          </p:nvSpPr>
          <p:spPr>
            <a:xfrm>
              <a:off x="10704435" y="4099776"/>
              <a:ext cx="21283" cy="24616"/>
            </a:xfrm>
            <a:custGeom>
              <a:avLst/>
              <a:gdLst>
                <a:gd name="connsiteX0" fmla="*/ 21284 w 21283"/>
                <a:gd name="connsiteY0" fmla="*/ 0 h 24616"/>
                <a:gd name="connsiteX1" fmla="*/ 0 w 21283"/>
                <a:gd name="connsiteY1" fmla="*/ 0 h 24616"/>
                <a:gd name="connsiteX2" fmla="*/ 0 w 21283"/>
                <a:gd name="connsiteY2" fmla="*/ 24616 h 24616"/>
                <a:gd name="connsiteX3" fmla="*/ 21284 w 21283"/>
                <a:gd name="connsiteY3" fmla="*/ 24616 h 24616"/>
                <a:gd name="connsiteX4" fmla="*/ 21284 w 21283"/>
                <a:gd name="connsiteY4" fmla="*/ 0 h 24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3" h="24616">
                  <a:moveTo>
                    <a:pt x="21284" y="0"/>
                  </a:moveTo>
                  <a:lnTo>
                    <a:pt x="0" y="0"/>
                  </a:lnTo>
                  <a:lnTo>
                    <a:pt x="0" y="24616"/>
                  </a:lnTo>
                  <a:lnTo>
                    <a:pt x="21284" y="24616"/>
                  </a:lnTo>
                  <a:lnTo>
                    <a:pt x="21284"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9" name="Freeform: Shape 608">
              <a:extLst>
                <a:ext uri="{FF2B5EF4-FFF2-40B4-BE49-F238E27FC236}">
                  <a16:creationId xmlns:a16="http://schemas.microsoft.com/office/drawing/2014/main" id="{3B1245AE-AA19-45D5-940A-0DA6C53BA00B}"/>
                </a:ext>
              </a:extLst>
            </p:cNvPr>
            <p:cNvSpPr/>
            <p:nvPr/>
          </p:nvSpPr>
          <p:spPr>
            <a:xfrm>
              <a:off x="11762138" y="4084310"/>
              <a:ext cx="55607" cy="55164"/>
            </a:xfrm>
            <a:custGeom>
              <a:avLst/>
              <a:gdLst>
                <a:gd name="connsiteX0" fmla="*/ 0 w 55607"/>
                <a:gd name="connsiteY0" fmla="*/ 27467 h 55164"/>
                <a:gd name="connsiteX1" fmla="*/ 27852 w 55607"/>
                <a:gd name="connsiteY1" fmla="*/ 0 h 55164"/>
                <a:gd name="connsiteX2" fmla="*/ 55608 w 55607"/>
                <a:gd name="connsiteY2" fmla="*/ 27467 h 55164"/>
                <a:gd name="connsiteX3" fmla="*/ 27852 w 55607"/>
                <a:gd name="connsiteY3" fmla="*/ 55165 h 55164"/>
                <a:gd name="connsiteX4" fmla="*/ 0 w 55607"/>
                <a:gd name="connsiteY4" fmla="*/ 27467 h 55164"/>
                <a:gd name="connsiteX5" fmla="*/ 50214 w 55607"/>
                <a:gd name="connsiteY5" fmla="*/ 27467 h 55164"/>
                <a:gd name="connsiteX6" fmla="*/ 27871 w 55607"/>
                <a:gd name="connsiteY6" fmla="*/ 4449 h 55164"/>
                <a:gd name="connsiteX7" fmla="*/ 5374 w 55607"/>
                <a:gd name="connsiteY7" fmla="*/ 27467 h 55164"/>
                <a:gd name="connsiteX8" fmla="*/ 27871 w 55607"/>
                <a:gd name="connsiteY8" fmla="*/ 50696 h 55164"/>
                <a:gd name="connsiteX9" fmla="*/ 50214 w 55607"/>
                <a:gd name="connsiteY9" fmla="*/ 27467 h 55164"/>
                <a:gd name="connsiteX10" fmla="*/ 22208 w 55607"/>
                <a:gd name="connsiteY10" fmla="*/ 43839 h 55164"/>
                <a:gd name="connsiteX11" fmla="*/ 17316 w 55607"/>
                <a:gd name="connsiteY11" fmla="*/ 43839 h 55164"/>
                <a:gd name="connsiteX12" fmla="*/ 17316 w 55607"/>
                <a:gd name="connsiteY12" fmla="*/ 11576 h 55164"/>
                <a:gd name="connsiteX13" fmla="*/ 29586 w 55607"/>
                <a:gd name="connsiteY13" fmla="*/ 11576 h 55164"/>
                <a:gd name="connsiteX14" fmla="*/ 40738 w 55607"/>
                <a:gd name="connsiteY14" fmla="*/ 20725 h 55164"/>
                <a:gd name="connsiteX15" fmla="*/ 32918 w 55607"/>
                <a:gd name="connsiteY15" fmla="*/ 29586 h 55164"/>
                <a:gd name="connsiteX16" fmla="*/ 41643 w 55607"/>
                <a:gd name="connsiteY16" fmla="*/ 43839 h 55164"/>
                <a:gd name="connsiteX17" fmla="*/ 35788 w 55607"/>
                <a:gd name="connsiteY17" fmla="*/ 43839 h 55164"/>
                <a:gd name="connsiteX18" fmla="*/ 27216 w 55607"/>
                <a:gd name="connsiteY18" fmla="*/ 29701 h 55164"/>
                <a:gd name="connsiteX19" fmla="*/ 22228 w 55607"/>
                <a:gd name="connsiteY19" fmla="*/ 29701 h 55164"/>
                <a:gd name="connsiteX20" fmla="*/ 22228 w 55607"/>
                <a:gd name="connsiteY20" fmla="*/ 43839 h 55164"/>
                <a:gd name="connsiteX21" fmla="*/ 22208 w 55607"/>
                <a:gd name="connsiteY21" fmla="*/ 25541 h 55164"/>
                <a:gd name="connsiteX22" fmla="*/ 27563 w 55607"/>
                <a:gd name="connsiteY22" fmla="*/ 25541 h 55164"/>
                <a:gd name="connsiteX23" fmla="*/ 35846 w 55607"/>
                <a:gd name="connsiteY23" fmla="*/ 20494 h 55164"/>
                <a:gd name="connsiteX24" fmla="*/ 28777 w 55607"/>
                <a:gd name="connsiteY24" fmla="*/ 15717 h 55164"/>
                <a:gd name="connsiteX25" fmla="*/ 22208 w 55607"/>
                <a:gd name="connsiteY25" fmla="*/ 15717 h 55164"/>
                <a:gd name="connsiteX26" fmla="*/ 22208 w 55607"/>
                <a:gd name="connsiteY26" fmla="*/ 25541 h 5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607" h="55164">
                  <a:moveTo>
                    <a:pt x="0" y="27467"/>
                  </a:moveTo>
                  <a:cubicBezTo>
                    <a:pt x="0" y="11884"/>
                    <a:pt x="12713" y="0"/>
                    <a:pt x="27852" y="0"/>
                  </a:cubicBezTo>
                  <a:cubicBezTo>
                    <a:pt x="42991" y="0"/>
                    <a:pt x="55608" y="11884"/>
                    <a:pt x="55608" y="27467"/>
                  </a:cubicBezTo>
                  <a:cubicBezTo>
                    <a:pt x="55608" y="43049"/>
                    <a:pt x="42934" y="55165"/>
                    <a:pt x="27852" y="55165"/>
                  </a:cubicBezTo>
                  <a:cubicBezTo>
                    <a:pt x="12770" y="55165"/>
                    <a:pt x="0" y="43261"/>
                    <a:pt x="0" y="27467"/>
                  </a:cubicBezTo>
                  <a:close/>
                  <a:moveTo>
                    <a:pt x="50214" y="27467"/>
                  </a:moveTo>
                  <a:cubicBezTo>
                    <a:pt x="50214" y="14504"/>
                    <a:pt x="40526" y="4449"/>
                    <a:pt x="27871" y="4449"/>
                  </a:cubicBezTo>
                  <a:cubicBezTo>
                    <a:pt x="15216" y="4449"/>
                    <a:pt x="5374" y="14485"/>
                    <a:pt x="5374" y="27467"/>
                  </a:cubicBezTo>
                  <a:cubicBezTo>
                    <a:pt x="5374" y="40449"/>
                    <a:pt x="15120" y="50696"/>
                    <a:pt x="27871" y="50696"/>
                  </a:cubicBezTo>
                  <a:cubicBezTo>
                    <a:pt x="40622" y="50696"/>
                    <a:pt x="50214" y="40699"/>
                    <a:pt x="50214" y="27467"/>
                  </a:cubicBezTo>
                  <a:close/>
                  <a:moveTo>
                    <a:pt x="22208" y="43839"/>
                  </a:moveTo>
                  <a:lnTo>
                    <a:pt x="17316" y="43839"/>
                  </a:lnTo>
                  <a:lnTo>
                    <a:pt x="17316" y="11576"/>
                  </a:lnTo>
                  <a:lnTo>
                    <a:pt x="29586" y="11576"/>
                  </a:lnTo>
                  <a:cubicBezTo>
                    <a:pt x="37001" y="11576"/>
                    <a:pt x="40738" y="14639"/>
                    <a:pt x="40738" y="20725"/>
                  </a:cubicBezTo>
                  <a:cubicBezTo>
                    <a:pt x="40738" y="26504"/>
                    <a:pt x="36963" y="29008"/>
                    <a:pt x="32918" y="29586"/>
                  </a:cubicBezTo>
                  <a:lnTo>
                    <a:pt x="41643" y="43839"/>
                  </a:lnTo>
                  <a:lnTo>
                    <a:pt x="35788" y="43839"/>
                  </a:lnTo>
                  <a:lnTo>
                    <a:pt x="27216" y="29701"/>
                  </a:lnTo>
                  <a:lnTo>
                    <a:pt x="22228" y="29701"/>
                  </a:lnTo>
                  <a:lnTo>
                    <a:pt x="22228" y="43839"/>
                  </a:lnTo>
                  <a:close/>
                  <a:moveTo>
                    <a:pt x="22208" y="25541"/>
                  </a:moveTo>
                  <a:lnTo>
                    <a:pt x="27563" y="25541"/>
                  </a:lnTo>
                  <a:cubicBezTo>
                    <a:pt x="33476" y="25541"/>
                    <a:pt x="35846" y="24809"/>
                    <a:pt x="35846" y="20494"/>
                  </a:cubicBezTo>
                  <a:cubicBezTo>
                    <a:pt x="35846" y="17239"/>
                    <a:pt x="33919" y="15717"/>
                    <a:pt x="28777" y="15717"/>
                  </a:cubicBezTo>
                  <a:lnTo>
                    <a:pt x="22208" y="15717"/>
                  </a:lnTo>
                  <a:lnTo>
                    <a:pt x="22208" y="25541"/>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617" name="Group 616">
            <a:extLst>
              <a:ext uri="{FF2B5EF4-FFF2-40B4-BE49-F238E27FC236}">
                <a16:creationId xmlns:a16="http://schemas.microsoft.com/office/drawing/2014/main" id="{5B0C0AF5-6539-492C-AD5C-09A8802A40CD}"/>
              </a:ext>
            </a:extLst>
          </p:cNvPr>
          <p:cNvGrpSpPr/>
          <p:nvPr userDrawn="1"/>
        </p:nvGrpSpPr>
        <p:grpSpPr>
          <a:xfrm>
            <a:off x="6006704" y="4404063"/>
            <a:ext cx="1377673" cy="157428"/>
            <a:chOff x="5225227" y="4901419"/>
            <a:chExt cx="2738142" cy="312890"/>
          </a:xfrm>
        </p:grpSpPr>
        <p:sp>
          <p:nvSpPr>
            <p:cNvPr id="618" name="Freeform: Shape 617">
              <a:extLst>
                <a:ext uri="{FF2B5EF4-FFF2-40B4-BE49-F238E27FC236}">
                  <a16:creationId xmlns:a16="http://schemas.microsoft.com/office/drawing/2014/main" id="{051D20EF-FB35-485B-9417-F146A365560D}"/>
                </a:ext>
              </a:extLst>
            </p:cNvPr>
            <p:cNvSpPr/>
            <p:nvPr/>
          </p:nvSpPr>
          <p:spPr>
            <a:xfrm>
              <a:off x="5225227" y="4901474"/>
              <a:ext cx="272078" cy="312835"/>
            </a:xfrm>
            <a:custGeom>
              <a:avLst/>
              <a:gdLst>
                <a:gd name="connsiteX0" fmla="*/ 211024 w 272078"/>
                <a:gd name="connsiteY0" fmla="*/ 279316 h 312835"/>
                <a:gd name="connsiteX1" fmla="*/ 136257 w 272078"/>
                <a:gd name="connsiteY1" fmla="*/ 300320 h 312835"/>
                <a:gd name="connsiteX2" fmla="*/ 76617 w 272078"/>
                <a:gd name="connsiteY2" fmla="*/ 287968 h 312835"/>
                <a:gd name="connsiteX3" fmla="*/ 33955 w 272078"/>
                <a:gd name="connsiteY3" fmla="*/ 255046 h 312835"/>
                <a:gd name="connsiteX4" fmla="*/ 8489 w 272078"/>
                <a:gd name="connsiteY4" fmla="*/ 207324 h 312835"/>
                <a:gd name="connsiteX5" fmla="*/ 0 w 272078"/>
                <a:gd name="connsiteY5" fmla="*/ 150351 h 312835"/>
                <a:gd name="connsiteX6" fmla="*/ 8489 w 272078"/>
                <a:gd name="connsiteY6" fmla="*/ 93377 h 312835"/>
                <a:gd name="connsiteX7" fmla="*/ 33955 w 272078"/>
                <a:gd name="connsiteY7" fmla="*/ 45492 h 312835"/>
                <a:gd name="connsiteX8" fmla="*/ 76617 w 272078"/>
                <a:gd name="connsiteY8" fmla="*/ 12352 h 312835"/>
                <a:gd name="connsiteX9" fmla="*/ 136257 w 272078"/>
                <a:gd name="connsiteY9" fmla="*/ 0 h 312835"/>
                <a:gd name="connsiteX10" fmla="*/ 195679 w 272078"/>
                <a:gd name="connsiteY10" fmla="*/ 12352 h 312835"/>
                <a:gd name="connsiteX11" fmla="*/ 238123 w 272078"/>
                <a:gd name="connsiteY11" fmla="*/ 45492 h 312835"/>
                <a:gd name="connsiteX12" fmla="*/ 263590 w 272078"/>
                <a:gd name="connsiteY12" fmla="*/ 93377 h 312835"/>
                <a:gd name="connsiteX13" fmla="*/ 272078 w 272078"/>
                <a:gd name="connsiteY13" fmla="*/ 150351 h 312835"/>
                <a:gd name="connsiteX14" fmla="*/ 261141 w 272078"/>
                <a:gd name="connsiteY14" fmla="*/ 214017 h 312835"/>
                <a:gd name="connsiteX15" fmla="*/ 228383 w 272078"/>
                <a:gd name="connsiteY15" fmla="*/ 264732 h 312835"/>
                <a:gd name="connsiteX16" fmla="*/ 269630 w 272078"/>
                <a:gd name="connsiteY16" fmla="*/ 295858 h 312835"/>
                <a:gd name="connsiteX17" fmla="*/ 255863 w 272078"/>
                <a:gd name="connsiteY17" fmla="*/ 312836 h 312835"/>
                <a:gd name="connsiteX18" fmla="*/ 210970 w 272078"/>
                <a:gd name="connsiteY18" fmla="*/ 279261 h 312835"/>
                <a:gd name="connsiteX19" fmla="*/ 235892 w 272078"/>
                <a:gd name="connsiteY19" fmla="*/ 204549 h 312835"/>
                <a:gd name="connsiteX20" fmla="*/ 244599 w 272078"/>
                <a:gd name="connsiteY20" fmla="*/ 150405 h 312835"/>
                <a:gd name="connsiteX21" fmla="*/ 238341 w 272078"/>
                <a:gd name="connsiteY21" fmla="*/ 103934 h 312835"/>
                <a:gd name="connsiteX22" fmla="*/ 218914 w 272078"/>
                <a:gd name="connsiteY22" fmla="*/ 63285 h 312835"/>
                <a:gd name="connsiteX23" fmla="*/ 185340 w 272078"/>
                <a:gd name="connsiteY23" fmla="*/ 34391 h 312835"/>
                <a:gd name="connsiteX24" fmla="*/ 136202 w 272078"/>
                <a:gd name="connsiteY24" fmla="*/ 23508 h 312835"/>
                <a:gd name="connsiteX25" fmla="*/ 86902 w 272078"/>
                <a:gd name="connsiteY25" fmla="*/ 34391 h 312835"/>
                <a:gd name="connsiteX26" fmla="*/ 53164 w 272078"/>
                <a:gd name="connsiteY26" fmla="*/ 63285 h 312835"/>
                <a:gd name="connsiteX27" fmla="*/ 33738 w 272078"/>
                <a:gd name="connsiteY27" fmla="*/ 103934 h 312835"/>
                <a:gd name="connsiteX28" fmla="*/ 27480 w 272078"/>
                <a:gd name="connsiteY28" fmla="*/ 150405 h 312835"/>
                <a:gd name="connsiteX29" fmla="*/ 33738 w 272078"/>
                <a:gd name="connsiteY29" fmla="*/ 196658 h 312835"/>
                <a:gd name="connsiteX30" fmla="*/ 53164 w 272078"/>
                <a:gd name="connsiteY30" fmla="*/ 237470 h 312835"/>
                <a:gd name="connsiteX31" fmla="*/ 86902 w 272078"/>
                <a:gd name="connsiteY31" fmla="*/ 266365 h 312835"/>
                <a:gd name="connsiteX32" fmla="*/ 136202 w 272078"/>
                <a:gd name="connsiteY32" fmla="*/ 277302 h 312835"/>
                <a:gd name="connsiteX33" fmla="*/ 189584 w 272078"/>
                <a:gd name="connsiteY33" fmla="*/ 263154 h 312835"/>
                <a:gd name="connsiteX34" fmla="*/ 151602 w 272078"/>
                <a:gd name="connsiteY34" fmla="*/ 234477 h 312835"/>
                <a:gd name="connsiteX35" fmla="*/ 165750 w 272078"/>
                <a:gd name="connsiteY35" fmla="*/ 217119 h 312835"/>
                <a:gd name="connsiteX36" fmla="*/ 207814 w 272078"/>
                <a:gd name="connsiteY36" fmla="*/ 249061 h 312835"/>
                <a:gd name="connsiteX37" fmla="*/ 235892 w 272078"/>
                <a:gd name="connsiteY37" fmla="*/ 204603 h 31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2078" h="312835">
                  <a:moveTo>
                    <a:pt x="211024" y="279316"/>
                  </a:moveTo>
                  <a:cubicBezTo>
                    <a:pt x="191326" y="293355"/>
                    <a:pt x="166403"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5" y="45492"/>
                  </a:cubicBezTo>
                  <a:cubicBezTo>
                    <a:pt x="45274" y="31616"/>
                    <a:pt x="59476" y="20569"/>
                    <a:pt x="76617" y="12352"/>
                  </a:cubicBezTo>
                  <a:cubicBezTo>
                    <a:pt x="93704" y="4136"/>
                    <a:pt x="113620" y="0"/>
                    <a:pt x="136257" y="0"/>
                  </a:cubicBezTo>
                  <a:cubicBezTo>
                    <a:pt x="158894" y="0"/>
                    <a:pt x="178701" y="4081"/>
                    <a:pt x="195679" y="12352"/>
                  </a:cubicBezTo>
                  <a:cubicBezTo>
                    <a:pt x="212657" y="20624"/>
                    <a:pt x="226805" y="31616"/>
                    <a:pt x="238123" y="45492"/>
                  </a:cubicBezTo>
                  <a:cubicBezTo>
                    <a:pt x="249442" y="59368"/>
                    <a:pt x="257930" y="75366"/>
                    <a:pt x="263590" y="93377"/>
                  </a:cubicBezTo>
                  <a:cubicBezTo>
                    <a:pt x="269249" y="111443"/>
                    <a:pt x="272078" y="130434"/>
                    <a:pt x="272078" y="150351"/>
                  </a:cubicBezTo>
                  <a:cubicBezTo>
                    <a:pt x="272078" y="172987"/>
                    <a:pt x="268433" y="194210"/>
                    <a:pt x="261141" y="214017"/>
                  </a:cubicBezTo>
                  <a:cubicBezTo>
                    <a:pt x="253849" y="233824"/>
                    <a:pt x="242966" y="250748"/>
                    <a:pt x="228383" y="264732"/>
                  </a:cubicBezTo>
                  <a:lnTo>
                    <a:pt x="269630" y="295858"/>
                  </a:lnTo>
                  <a:lnTo>
                    <a:pt x="255863" y="312836"/>
                  </a:lnTo>
                  <a:lnTo>
                    <a:pt x="210970" y="279261"/>
                  </a:lnTo>
                  <a:close/>
                  <a:moveTo>
                    <a:pt x="235892" y="204549"/>
                  </a:moveTo>
                  <a:cubicBezTo>
                    <a:pt x="241660" y="187027"/>
                    <a:pt x="244599" y="168961"/>
                    <a:pt x="244599" y="150405"/>
                  </a:cubicBezTo>
                  <a:cubicBezTo>
                    <a:pt x="244599" y="134516"/>
                    <a:pt x="242531" y="119007"/>
                    <a:pt x="238341" y="103934"/>
                  </a:cubicBezTo>
                  <a:cubicBezTo>
                    <a:pt x="234151" y="88861"/>
                    <a:pt x="227675" y="75311"/>
                    <a:pt x="218914" y="63285"/>
                  </a:cubicBezTo>
                  <a:cubicBezTo>
                    <a:pt x="210153" y="51314"/>
                    <a:pt x="198944" y="41682"/>
                    <a:pt x="185340" y="34391"/>
                  </a:cubicBezTo>
                  <a:cubicBezTo>
                    <a:pt x="171736" y="27099"/>
                    <a:pt x="155357"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ubicBezTo>
                    <a:pt x="37928" y="211895"/>
                    <a:pt x="44403" y="225499"/>
                    <a:pt x="53164" y="237470"/>
                  </a:cubicBezTo>
                  <a:cubicBezTo>
                    <a:pt x="61925" y="249442"/>
                    <a:pt x="73189" y="259073"/>
                    <a:pt x="86902" y="266365"/>
                  </a:cubicBezTo>
                  <a:cubicBezTo>
                    <a:pt x="100615" y="273657"/>
                    <a:pt x="117103" y="277302"/>
                    <a:pt x="136202" y="277302"/>
                  </a:cubicBezTo>
                  <a:cubicBezTo>
                    <a:pt x="156663" y="277302"/>
                    <a:pt x="174457" y="272568"/>
                    <a:pt x="189584" y="263154"/>
                  </a:cubicBezTo>
                  <a:lnTo>
                    <a:pt x="151602" y="234477"/>
                  </a:lnTo>
                  <a:lnTo>
                    <a:pt x="165750" y="217119"/>
                  </a:lnTo>
                  <a:lnTo>
                    <a:pt x="207814" y="249061"/>
                  </a:lnTo>
                  <a:cubicBezTo>
                    <a:pt x="220764" y="236926"/>
                    <a:pt x="230124" y="222125"/>
                    <a:pt x="235892" y="204603"/>
                  </a:cubicBezTo>
                  <a:close/>
                </a:path>
              </a:pathLst>
            </a:custGeom>
            <a:solidFill>
              <a:srgbClr val="A1ABB2"/>
            </a:solidFill>
            <a:ln w="5435" cap="flat">
              <a:noFill/>
              <a:prstDash val="solid"/>
              <a:miter/>
            </a:ln>
          </p:spPr>
          <p:txBody>
            <a:bodyPr rtlCol="0" anchor="ctr"/>
            <a:lstStyle/>
            <a:p>
              <a:endParaRPr lang="en-US"/>
            </a:p>
          </p:txBody>
        </p:sp>
        <p:sp>
          <p:nvSpPr>
            <p:cNvPr id="619" name="Freeform: Shape 618">
              <a:extLst>
                <a:ext uri="{FF2B5EF4-FFF2-40B4-BE49-F238E27FC236}">
                  <a16:creationId xmlns:a16="http://schemas.microsoft.com/office/drawing/2014/main" id="{C2792679-21D0-43EA-8B4C-3506C25D55E5}"/>
                </a:ext>
              </a:extLst>
            </p:cNvPr>
            <p:cNvSpPr/>
            <p:nvPr/>
          </p:nvSpPr>
          <p:spPr>
            <a:xfrm>
              <a:off x="5537300" y="4907514"/>
              <a:ext cx="224355" cy="294334"/>
            </a:xfrm>
            <a:custGeom>
              <a:avLst/>
              <a:gdLst>
                <a:gd name="connsiteX0" fmla="*/ 27480 w 224355"/>
                <a:gd name="connsiteY0" fmla="*/ 0 h 294334"/>
                <a:gd name="connsiteX1" fmla="*/ 27480 w 224355"/>
                <a:gd name="connsiteY1" fmla="*/ 178701 h 294334"/>
                <a:gd name="connsiteX2" fmla="*/ 33139 w 224355"/>
                <a:gd name="connsiteY2" fmla="*/ 221363 h 294334"/>
                <a:gd name="connsiteX3" fmla="*/ 49736 w 224355"/>
                <a:gd name="connsiteY3" fmla="*/ 250040 h 294334"/>
                <a:gd name="connsiteX4" fmla="*/ 76400 w 224355"/>
                <a:gd name="connsiteY4" fmla="*/ 266202 h 294334"/>
                <a:gd name="connsiteX5" fmla="*/ 111987 w 224355"/>
                <a:gd name="connsiteY5" fmla="*/ 271262 h 294334"/>
                <a:gd name="connsiteX6" fmla="*/ 147956 w 224355"/>
                <a:gd name="connsiteY6" fmla="*/ 266202 h 294334"/>
                <a:gd name="connsiteX7" fmla="*/ 174620 w 224355"/>
                <a:gd name="connsiteY7" fmla="*/ 250040 h 294334"/>
                <a:gd name="connsiteX8" fmla="*/ 191217 w 224355"/>
                <a:gd name="connsiteY8" fmla="*/ 221363 h 294334"/>
                <a:gd name="connsiteX9" fmla="*/ 196876 w 224355"/>
                <a:gd name="connsiteY9" fmla="*/ 178701 h 294334"/>
                <a:gd name="connsiteX10" fmla="*/ 196876 w 224355"/>
                <a:gd name="connsiteY10" fmla="*/ 0 h 294334"/>
                <a:gd name="connsiteX11" fmla="*/ 224356 w 224355"/>
                <a:gd name="connsiteY11" fmla="*/ 0 h 294334"/>
                <a:gd name="connsiteX12" fmla="*/ 224356 w 224355"/>
                <a:gd name="connsiteY12" fmla="*/ 184741 h 294334"/>
                <a:gd name="connsiteX13" fmla="*/ 218098 w 224355"/>
                <a:gd name="connsiteY13" fmla="*/ 226968 h 294334"/>
                <a:gd name="connsiteX14" fmla="*/ 198291 w 224355"/>
                <a:gd name="connsiteY14" fmla="*/ 261957 h 294334"/>
                <a:gd name="connsiteX15" fmla="*/ 163519 w 224355"/>
                <a:gd name="connsiteY15" fmla="*/ 285628 h 294334"/>
                <a:gd name="connsiteX16" fmla="*/ 111987 w 224355"/>
                <a:gd name="connsiteY16" fmla="*/ 294334 h 294334"/>
                <a:gd name="connsiteX17" fmla="*/ 60837 w 224355"/>
                <a:gd name="connsiteY17" fmla="*/ 285628 h 294334"/>
                <a:gd name="connsiteX18" fmla="*/ 26065 w 224355"/>
                <a:gd name="connsiteY18" fmla="*/ 261957 h 294334"/>
                <a:gd name="connsiteX19" fmla="*/ 6258 w 224355"/>
                <a:gd name="connsiteY19" fmla="*/ 226968 h 294334"/>
                <a:gd name="connsiteX20" fmla="*/ 0 w 224355"/>
                <a:gd name="connsiteY20" fmla="*/ 184741 h 294334"/>
                <a:gd name="connsiteX21" fmla="*/ 0 w 224355"/>
                <a:gd name="connsiteY21" fmla="*/ 0 h 294334"/>
                <a:gd name="connsiteX22" fmla="*/ 27480 w 224355"/>
                <a:gd name="connsiteY22" fmla="*/ 0 h 2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355" h="294334">
                  <a:moveTo>
                    <a:pt x="27480" y="0"/>
                  </a:moveTo>
                  <a:lnTo>
                    <a:pt x="27480" y="178701"/>
                  </a:lnTo>
                  <a:cubicBezTo>
                    <a:pt x="27480" y="195407"/>
                    <a:pt x="29384" y="209609"/>
                    <a:pt x="33139" y="221363"/>
                  </a:cubicBezTo>
                  <a:cubicBezTo>
                    <a:pt x="36894" y="233062"/>
                    <a:pt x="42444" y="242640"/>
                    <a:pt x="49736" y="250040"/>
                  </a:cubicBezTo>
                  <a:cubicBezTo>
                    <a:pt x="57028" y="257441"/>
                    <a:pt x="65897" y="262828"/>
                    <a:pt x="76400" y="266202"/>
                  </a:cubicBezTo>
                  <a:cubicBezTo>
                    <a:pt x="86902" y="269575"/>
                    <a:pt x="98764" y="271262"/>
                    <a:pt x="111987" y="271262"/>
                  </a:cubicBezTo>
                  <a:cubicBezTo>
                    <a:pt x="125211" y="271262"/>
                    <a:pt x="137454" y="269575"/>
                    <a:pt x="147956" y="266202"/>
                  </a:cubicBezTo>
                  <a:cubicBezTo>
                    <a:pt x="158459" y="262828"/>
                    <a:pt x="167383" y="257441"/>
                    <a:pt x="174620" y="250040"/>
                  </a:cubicBezTo>
                  <a:cubicBezTo>
                    <a:pt x="181912" y="242640"/>
                    <a:pt x="187408" y="233062"/>
                    <a:pt x="191217" y="221363"/>
                  </a:cubicBezTo>
                  <a:cubicBezTo>
                    <a:pt x="194971" y="209664"/>
                    <a:pt x="196876" y="195407"/>
                    <a:pt x="196876" y="178701"/>
                  </a:cubicBezTo>
                  <a:lnTo>
                    <a:pt x="196876" y="0"/>
                  </a:lnTo>
                  <a:lnTo>
                    <a:pt x="224356" y="0"/>
                  </a:lnTo>
                  <a:lnTo>
                    <a:pt x="224356" y="184741"/>
                  </a:lnTo>
                  <a:cubicBezTo>
                    <a:pt x="224356" y="199542"/>
                    <a:pt x="222288" y="213636"/>
                    <a:pt x="218098" y="226968"/>
                  </a:cubicBezTo>
                  <a:cubicBezTo>
                    <a:pt x="213908" y="240300"/>
                    <a:pt x="207324" y="251945"/>
                    <a:pt x="198291" y="261957"/>
                  </a:cubicBezTo>
                  <a:cubicBezTo>
                    <a:pt x="189258" y="271915"/>
                    <a:pt x="177667" y="279805"/>
                    <a:pt x="163519" y="285628"/>
                  </a:cubicBezTo>
                  <a:cubicBezTo>
                    <a:pt x="149371" y="291396"/>
                    <a:pt x="132176" y="294334"/>
                    <a:pt x="111987" y="294334"/>
                  </a:cubicBezTo>
                  <a:cubicBezTo>
                    <a:pt x="91799" y="294334"/>
                    <a:pt x="74985" y="291450"/>
                    <a:pt x="60837" y="285628"/>
                  </a:cubicBezTo>
                  <a:cubicBezTo>
                    <a:pt x="46689" y="279860"/>
                    <a:pt x="35098" y="271970"/>
                    <a:pt x="26065" y="261957"/>
                  </a:cubicBezTo>
                  <a:cubicBezTo>
                    <a:pt x="17032" y="251999"/>
                    <a:pt x="10448" y="240354"/>
                    <a:pt x="6258" y="226968"/>
                  </a:cubicBezTo>
                  <a:cubicBezTo>
                    <a:pt x="2068" y="213636"/>
                    <a:pt x="0" y="199542"/>
                    <a:pt x="0" y="184741"/>
                  </a:cubicBez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620" name="Freeform: Shape 619">
              <a:extLst>
                <a:ext uri="{FF2B5EF4-FFF2-40B4-BE49-F238E27FC236}">
                  <a16:creationId xmlns:a16="http://schemas.microsoft.com/office/drawing/2014/main" id="{0A279F31-D3DD-4E72-A551-2F207723090F}"/>
                </a:ext>
              </a:extLst>
            </p:cNvPr>
            <p:cNvSpPr/>
            <p:nvPr/>
          </p:nvSpPr>
          <p:spPr>
            <a:xfrm>
              <a:off x="5810957" y="4907514"/>
              <a:ext cx="27479" cy="288620"/>
            </a:xfrm>
            <a:custGeom>
              <a:avLst/>
              <a:gdLst>
                <a:gd name="connsiteX0" fmla="*/ 27480 w 27479"/>
                <a:gd name="connsiteY0" fmla="*/ 0 h 288620"/>
                <a:gd name="connsiteX1" fmla="*/ 27480 w 27479"/>
                <a:gd name="connsiteY1" fmla="*/ 288621 h 288620"/>
                <a:gd name="connsiteX2" fmla="*/ 0 w 27479"/>
                <a:gd name="connsiteY2" fmla="*/ 288621 h 288620"/>
                <a:gd name="connsiteX3" fmla="*/ 0 w 27479"/>
                <a:gd name="connsiteY3" fmla="*/ 0 h 288620"/>
                <a:gd name="connsiteX4" fmla="*/ 27480 w 27479"/>
                <a:gd name="connsiteY4" fmla="*/ 0 h 28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79" h="288620">
                  <a:moveTo>
                    <a:pt x="27480" y="0"/>
                  </a:moveTo>
                  <a:lnTo>
                    <a:pt x="27480" y="288621"/>
                  </a:lnTo>
                  <a:lnTo>
                    <a:pt x="0" y="288621"/>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621" name="Freeform: Shape 620">
              <a:extLst>
                <a:ext uri="{FF2B5EF4-FFF2-40B4-BE49-F238E27FC236}">
                  <a16:creationId xmlns:a16="http://schemas.microsoft.com/office/drawing/2014/main" id="{DFFC28DA-32B2-4AC0-9323-8D9DB8AA4302}"/>
                </a:ext>
              </a:extLst>
            </p:cNvPr>
            <p:cNvSpPr/>
            <p:nvPr/>
          </p:nvSpPr>
          <p:spPr>
            <a:xfrm>
              <a:off x="5876854" y="4901419"/>
              <a:ext cx="256352" cy="300320"/>
            </a:xfrm>
            <a:custGeom>
              <a:avLst/>
              <a:gdLst>
                <a:gd name="connsiteX0" fmla="*/ 212820 w 256352"/>
                <a:gd name="connsiteY0" fmla="*/ 63721 h 300320"/>
                <a:gd name="connsiteX1" fmla="*/ 192632 w 256352"/>
                <a:gd name="connsiteY1" fmla="*/ 41682 h 300320"/>
                <a:gd name="connsiteX2" fmla="*/ 166349 w 256352"/>
                <a:gd name="connsiteY2" fmla="*/ 28133 h 300320"/>
                <a:gd name="connsiteX3" fmla="*/ 136257 w 256352"/>
                <a:gd name="connsiteY3" fmla="*/ 23508 h 300320"/>
                <a:gd name="connsiteX4" fmla="*/ 86956 w 256352"/>
                <a:gd name="connsiteY4" fmla="*/ 34391 h 300320"/>
                <a:gd name="connsiteX5" fmla="*/ 53219 w 256352"/>
                <a:gd name="connsiteY5" fmla="*/ 63285 h 300320"/>
                <a:gd name="connsiteX6" fmla="*/ 33792 w 256352"/>
                <a:gd name="connsiteY6" fmla="*/ 103934 h 300320"/>
                <a:gd name="connsiteX7" fmla="*/ 27534 w 256352"/>
                <a:gd name="connsiteY7" fmla="*/ 150405 h 300320"/>
                <a:gd name="connsiteX8" fmla="*/ 33792 w 256352"/>
                <a:gd name="connsiteY8" fmla="*/ 196658 h 300320"/>
                <a:gd name="connsiteX9" fmla="*/ 53219 w 256352"/>
                <a:gd name="connsiteY9" fmla="*/ 237470 h 300320"/>
                <a:gd name="connsiteX10" fmla="*/ 86956 w 256352"/>
                <a:gd name="connsiteY10" fmla="*/ 266365 h 300320"/>
                <a:gd name="connsiteX11" fmla="*/ 136257 w 256352"/>
                <a:gd name="connsiteY11" fmla="*/ 277302 h 300320"/>
                <a:gd name="connsiteX12" fmla="*/ 172661 w 256352"/>
                <a:gd name="connsiteY12" fmla="*/ 270011 h 300320"/>
                <a:gd name="connsiteX13" fmla="*/ 200576 w 256352"/>
                <a:gd name="connsiteY13" fmla="*/ 250203 h 300320"/>
                <a:gd name="connsiteX14" fmla="*/ 219567 w 256352"/>
                <a:gd name="connsiteY14" fmla="*/ 220873 h 300320"/>
                <a:gd name="connsiteX15" fmla="*/ 228872 w 256352"/>
                <a:gd name="connsiteY15" fmla="*/ 184687 h 300320"/>
                <a:gd name="connsiteX16" fmla="*/ 256352 w 256352"/>
                <a:gd name="connsiteY16" fmla="*/ 184687 h 300320"/>
                <a:gd name="connsiteX17" fmla="*/ 243837 w 256352"/>
                <a:gd name="connsiteY17" fmla="*/ 232790 h 300320"/>
                <a:gd name="connsiteX18" fmla="*/ 218751 w 256352"/>
                <a:gd name="connsiteY18" fmla="*/ 269194 h 300320"/>
                <a:gd name="connsiteX19" fmla="*/ 182565 w 256352"/>
                <a:gd name="connsiteY19" fmla="*/ 292212 h 300320"/>
                <a:gd name="connsiteX20" fmla="*/ 136257 w 256352"/>
                <a:gd name="connsiteY20" fmla="*/ 300320 h 300320"/>
                <a:gd name="connsiteX21" fmla="*/ 76617 w 256352"/>
                <a:gd name="connsiteY21" fmla="*/ 287968 h 300320"/>
                <a:gd name="connsiteX22" fmla="*/ 33955 w 256352"/>
                <a:gd name="connsiteY22" fmla="*/ 255046 h 300320"/>
                <a:gd name="connsiteX23" fmla="*/ 8489 w 256352"/>
                <a:gd name="connsiteY23" fmla="*/ 207324 h 300320"/>
                <a:gd name="connsiteX24" fmla="*/ 0 w 256352"/>
                <a:gd name="connsiteY24" fmla="*/ 150351 h 300320"/>
                <a:gd name="connsiteX25" fmla="*/ 8489 w 256352"/>
                <a:gd name="connsiteY25" fmla="*/ 93377 h 300320"/>
                <a:gd name="connsiteX26" fmla="*/ 33955 w 256352"/>
                <a:gd name="connsiteY26" fmla="*/ 45492 h 300320"/>
                <a:gd name="connsiteX27" fmla="*/ 76617 w 256352"/>
                <a:gd name="connsiteY27" fmla="*/ 12352 h 300320"/>
                <a:gd name="connsiteX28" fmla="*/ 136257 w 256352"/>
                <a:gd name="connsiteY28" fmla="*/ 0 h 300320"/>
                <a:gd name="connsiteX29" fmla="*/ 176470 w 256352"/>
                <a:gd name="connsiteY29" fmla="*/ 6040 h 300320"/>
                <a:gd name="connsiteX30" fmla="*/ 212058 w 256352"/>
                <a:gd name="connsiteY30" fmla="*/ 24052 h 300320"/>
                <a:gd name="connsiteX31" fmla="*/ 238722 w 256352"/>
                <a:gd name="connsiteY31" fmla="*/ 53382 h 300320"/>
                <a:gd name="connsiteX32" fmla="*/ 252271 w 256352"/>
                <a:gd name="connsiteY32" fmla="*/ 93377 h 300320"/>
                <a:gd name="connsiteX33" fmla="*/ 224791 w 256352"/>
                <a:gd name="connsiteY33" fmla="*/ 93377 h 300320"/>
                <a:gd name="connsiteX34" fmla="*/ 212874 w 256352"/>
                <a:gd name="connsiteY34" fmla="*/ 63666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6352" h="300320">
                  <a:moveTo>
                    <a:pt x="212820" y="63721"/>
                  </a:moveTo>
                  <a:cubicBezTo>
                    <a:pt x="207269" y="54960"/>
                    <a:pt x="200576" y="47614"/>
                    <a:pt x="192632" y="41682"/>
                  </a:cubicBezTo>
                  <a:cubicBezTo>
                    <a:pt x="184687" y="35751"/>
                    <a:pt x="175926" y="31235"/>
                    <a:pt x="166349" y="28133"/>
                  </a:cubicBezTo>
                  <a:cubicBezTo>
                    <a:pt x="156772" y="25031"/>
                    <a:pt x="146759" y="23508"/>
                    <a:pt x="136257" y="23508"/>
                  </a:cubicBezTo>
                  <a:cubicBezTo>
                    <a:pt x="117103" y="23508"/>
                    <a:pt x="100669" y="27153"/>
                    <a:pt x="86956" y="34391"/>
                  </a:cubicBezTo>
                  <a:cubicBezTo>
                    <a:pt x="73189" y="41682"/>
                    <a:pt x="61979" y="51314"/>
                    <a:pt x="53219" y="63285"/>
                  </a:cubicBezTo>
                  <a:cubicBezTo>
                    <a:pt x="44458" y="75311"/>
                    <a:pt x="37982" y="88806"/>
                    <a:pt x="33792" y="103934"/>
                  </a:cubicBezTo>
                  <a:cubicBezTo>
                    <a:pt x="29602" y="119007"/>
                    <a:pt x="27534" y="134516"/>
                    <a:pt x="27534" y="150405"/>
                  </a:cubicBezTo>
                  <a:cubicBezTo>
                    <a:pt x="27534" y="166294"/>
                    <a:pt x="29602" y="181476"/>
                    <a:pt x="33792" y="196658"/>
                  </a:cubicBezTo>
                  <a:cubicBezTo>
                    <a:pt x="37982" y="211895"/>
                    <a:pt x="44458" y="225499"/>
                    <a:pt x="53219" y="237470"/>
                  </a:cubicBezTo>
                  <a:cubicBezTo>
                    <a:pt x="61979" y="249442"/>
                    <a:pt x="73244" y="259073"/>
                    <a:pt x="86956" y="266365"/>
                  </a:cubicBezTo>
                  <a:cubicBezTo>
                    <a:pt x="100723" y="273657"/>
                    <a:pt x="117157" y="277302"/>
                    <a:pt x="136257" y="277302"/>
                  </a:cubicBezTo>
                  <a:cubicBezTo>
                    <a:pt x="149752" y="277302"/>
                    <a:pt x="161832" y="274854"/>
                    <a:pt x="172661" y="270011"/>
                  </a:cubicBezTo>
                  <a:cubicBezTo>
                    <a:pt x="183435" y="265168"/>
                    <a:pt x="192740" y="258583"/>
                    <a:pt x="200576" y="250203"/>
                  </a:cubicBezTo>
                  <a:cubicBezTo>
                    <a:pt x="208412" y="241878"/>
                    <a:pt x="214724" y="232083"/>
                    <a:pt x="219567" y="220873"/>
                  </a:cubicBezTo>
                  <a:cubicBezTo>
                    <a:pt x="224410" y="209718"/>
                    <a:pt x="227512" y="197638"/>
                    <a:pt x="228872" y="184687"/>
                  </a:cubicBezTo>
                  <a:lnTo>
                    <a:pt x="256352" y="184687"/>
                  </a:lnTo>
                  <a:cubicBezTo>
                    <a:pt x="254448" y="202481"/>
                    <a:pt x="250312" y="218533"/>
                    <a:pt x="243837" y="232790"/>
                  </a:cubicBezTo>
                  <a:cubicBezTo>
                    <a:pt x="237361" y="247102"/>
                    <a:pt x="229036" y="259182"/>
                    <a:pt x="218751" y="269194"/>
                  </a:cubicBezTo>
                  <a:cubicBezTo>
                    <a:pt x="208521" y="279153"/>
                    <a:pt x="196441" y="286825"/>
                    <a:pt x="182565" y="292212"/>
                  </a:cubicBezTo>
                  <a:cubicBezTo>
                    <a:pt x="168689" y="297599"/>
                    <a:pt x="153235"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5" y="45492"/>
                  </a:cubicBezTo>
                  <a:cubicBezTo>
                    <a:pt x="45274" y="31616"/>
                    <a:pt x="59476" y="20569"/>
                    <a:pt x="76617" y="12352"/>
                  </a:cubicBezTo>
                  <a:cubicBezTo>
                    <a:pt x="93704" y="4136"/>
                    <a:pt x="113620" y="0"/>
                    <a:pt x="136257" y="0"/>
                  </a:cubicBezTo>
                  <a:cubicBezTo>
                    <a:pt x="150024" y="0"/>
                    <a:pt x="163410" y="2013"/>
                    <a:pt x="176470" y="6040"/>
                  </a:cubicBezTo>
                  <a:cubicBezTo>
                    <a:pt x="189530" y="10067"/>
                    <a:pt x="201392" y="16053"/>
                    <a:pt x="212058" y="24052"/>
                  </a:cubicBezTo>
                  <a:cubicBezTo>
                    <a:pt x="222723" y="31996"/>
                    <a:pt x="231593" y="41791"/>
                    <a:pt x="238722" y="53382"/>
                  </a:cubicBezTo>
                  <a:cubicBezTo>
                    <a:pt x="245850" y="64972"/>
                    <a:pt x="250367" y="78304"/>
                    <a:pt x="252271" y="93377"/>
                  </a:cubicBezTo>
                  <a:lnTo>
                    <a:pt x="224791" y="93377"/>
                  </a:lnTo>
                  <a:cubicBezTo>
                    <a:pt x="222343" y="82331"/>
                    <a:pt x="218370" y="72427"/>
                    <a:pt x="212874" y="63666"/>
                  </a:cubicBezTo>
                  <a:close/>
                </a:path>
              </a:pathLst>
            </a:custGeom>
            <a:solidFill>
              <a:srgbClr val="A1ABB2"/>
            </a:solidFill>
            <a:ln w="5435" cap="flat">
              <a:noFill/>
              <a:prstDash val="solid"/>
              <a:miter/>
            </a:ln>
          </p:spPr>
          <p:txBody>
            <a:bodyPr rtlCol="0" anchor="ctr"/>
            <a:lstStyle/>
            <a:p>
              <a:endParaRPr lang="en-US"/>
            </a:p>
          </p:txBody>
        </p:sp>
        <p:sp>
          <p:nvSpPr>
            <p:cNvPr id="622" name="Freeform: Shape 621">
              <a:extLst>
                <a:ext uri="{FF2B5EF4-FFF2-40B4-BE49-F238E27FC236}">
                  <a16:creationId xmlns:a16="http://schemas.microsoft.com/office/drawing/2014/main" id="{DD9651AC-4CA1-4272-AAF0-4561A94CBFAB}"/>
                </a:ext>
              </a:extLst>
            </p:cNvPr>
            <p:cNvSpPr/>
            <p:nvPr/>
          </p:nvSpPr>
          <p:spPr>
            <a:xfrm>
              <a:off x="6158945" y="4907514"/>
              <a:ext cx="238503" cy="288566"/>
            </a:xfrm>
            <a:custGeom>
              <a:avLst/>
              <a:gdLst>
                <a:gd name="connsiteX0" fmla="*/ 27534 w 238503"/>
                <a:gd name="connsiteY0" fmla="*/ 0 h 288566"/>
                <a:gd name="connsiteX1" fmla="*/ 27534 w 238503"/>
                <a:gd name="connsiteY1" fmla="*/ 155248 h 288566"/>
                <a:gd name="connsiteX2" fmla="*/ 195298 w 238503"/>
                <a:gd name="connsiteY2" fmla="*/ 0 h 288566"/>
                <a:gd name="connsiteX3" fmla="*/ 232464 w 238503"/>
                <a:gd name="connsiteY3" fmla="*/ 0 h 288566"/>
                <a:gd name="connsiteX4" fmla="*/ 103499 w 238503"/>
                <a:gd name="connsiteY4" fmla="*/ 119225 h 288566"/>
                <a:gd name="connsiteX5" fmla="*/ 238504 w 238503"/>
                <a:gd name="connsiteY5" fmla="*/ 288566 h 288566"/>
                <a:gd name="connsiteX6" fmla="*/ 202916 w 238503"/>
                <a:gd name="connsiteY6" fmla="*/ 288566 h 288566"/>
                <a:gd name="connsiteX7" fmla="*/ 82875 w 238503"/>
                <a:gd name="connsiteY7" fmla="*/ 138216 h 288566"/>
                <a:gd name="connsiteX8" fmla="*/ 27480 w 238503"/>
                <a:gd name="connsiteY8" fmla="*/ 189530 h 288566"/>
                <a:gd name="connsiteX9" fmla="*/ 27480 w 238503"/>
                <a:gd name="connsiteY9" fmla="*/ 288566 h 288566"/>
                <a:gd name="connsiteX10" fmla="*/ 0 w 238503"/>
                <a:gd name="connsiteY10" fmla="*/ 288566 h 288566"/>
                <a:gd name="connsiteX11" fmla="*/ 0 w 238503"/>
                <a:gd name="connsiteY11" fmla="*/ 0 h 288566"/>
                <a:gd name="connsiteX12" fmla="*/ 27480 w 238503"/>
                <a:gd name="connsiteY12" fmla="*/ 0 h 28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8503" h="288566">
                  <a:moveTo>
                    <a:pt x="27534" y="0"/>
                  </a:moveTo>
                  <a:lnTo>
                    <a:pt x="27534" y="155248"/>
                  </a:lnTo>
                  <a:lnTo>
                    <a:pt x="195298" y="0"/>
                  </a:lnTo>
                  <a:lnTo>
                    <a:pt x="232464" y="0"/>
                  </a:lnTo>
                  <a:lnTo>
                    <a:pt x="103499" y="119225"/>
                  </a:lnTo>
                  <a:lnTo>
                    <a:pt x="238504" y="288566"/>
                  </a:lnTo>
                  <a:lnTo>
                    <a:pt x="202916" y="288566"/>
                  </a:lnTo>
                  <a:lnTo>
                    <a:pt x="82875" y="138216"/>
                  </a:lnTo>
                  <a:lnTo>
                    <a:pt x="27480" y="189530"/>
                  </a:lnTo>
                  <a:lnTo>
                    <a:pt x="27480" y="288566"/>
                  </a:lnTo>
                  <a:lnTo>
                    <a:pt x="0" y="288566"/>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623" name="Freeform: Shape 622">
              <a:extLst>
                <a:ext uri="{FF2B5EF4-FFF2-40B4-BE49-F238E27FC236}">
                  <a16:creationId xmlns:a16="http://schemas.microsoft.com/office/drawing/2014/main" id="{654C997F-AD60-4A77-8520-DAD0FD5016FF}"/>
                </a:ext>
              </a:extLst>
            </p:cNvPr>
            <p:cNvSpPr/>
            <p:nvPr/>
          </p:nvSpPr>
          <p:spPr>
            <a:xfrm>
              <a:off x="6390212" y="4907514"/>
              <a:ext cx="228382" cy="288620"/>
            </a:xfrm>
            <a:custGeom>
              <a:avLst/>
              <a:gdLst>
                <a:gd name="connsiteX0" fmla="*/ 228383 w 228382"/>
                <a:gd name="connsiteY0" fmla="*/ 0 h 288620"/>
                <a:gd name="connsiteX1" fmla="*/ 228383 w 228382"/>
                <a:gd name="connsiteY1" fmla="*/ 23453 h 288620"/>
                <a:gd name="connsiteX2" fmla="*/ 127714 w 228382"/>
                <a:gd name="connsiteY2" fmla="*/ 23453 h 288620"/>
                <a:gd name="connsiteX3" fmla="*/ 127714 w 228382"/>
                <a:gd name="connsiteY3" fmla="*/ 288621 h 288620"/>
                <a:gd name="connsiteX4" fmla="*/ 100234 w 228382"/>
                <a:gd name="connsiteY4" fmla="*/ 288621 h 288620"/>
                <a:gd name="connsiteX5" fmla="*/ 100234 w 228382"/>
                <a:gd name="connsiteY5" fmla="*/ 23453 h 288620"/>
                <a:gd name="connsiteX6" fmla="*/ 0 w 228382"/>
                <a:gd name="connsiteY6" fmla="*/ 23453 h 288620"/>
                <a:gd name="connsiteX7" fmla="*/ 0 w 228382"/>
                <a:gd name="connsiteY7" fmla="*/ 0 h 288620"/>
                <a:gd name="connsiteX8" fmla="*/ 228383 w 228382"/>
                <a:gd name="connsiteY8" fmla="*/ 0 h 28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382" h="288620">
                  <a:moveTo>
                    <a:pt x="228383" y="0"/>
                  </a:moveTo>
                  <a:lnTo>
                    <a:pt x="228383" y="23453"/>
                  </a:lnTo>
                  <a:lnTo>
                    <a:pt x="127714" y="23453"/>
                  </a:lnTo>
                  <a:lnTo>
                    <a:pt x="127714" y="288621"/>
                  </a:lnTo>
                  <a:lnTo>
                    <a:pt x="100234" y="288621"/>
                  </a:lnTo>
                  <a:lnTo>
                    <a:pt x="100234" y="23453"/>
                  </a:lnTo>
                  <a:lnTo>
                    <a:pt x="0" y="23453"/>
                  </a:lnTo>
                  <a:lnTo>
                    <a:pt x="0" y="0"/>
                  </a:lnTo>
                  <a:lnTo>
                    <a:pt x="228383" y="0"/>
                  </a:lnTo>
                  <a:close/>
                </a:path>
              </a:pathLst>
            </a:custGeom>
            <a:solidFill>
              <a:srgbClr val="A1ABB2"/>
            </a:solidFill>
            <a:ln w="5435" cap="flat">
              <a:noFill/>
              <a:prstDash val="solid"/>
              <a:miter/>
            </a:ln>
          </p:spPr>
          <p:txBody>
            <a:bodyPr rtlCol="0" anchor="ctr"/>
            <a:lstStyle/>
            <a:p>
              <a:endParaRPr lang="en-US"/>
            </a:p>
          </p:txBody>
        </p:sp>
        <p:sp>
          <p:nvSpPr>
            <p:cNvPr id="624" name="Freeform: Shape 623">
              <a:extLst>
                <a:ext uri="{FF2B5EF4-FFF2-40B4-BE49-F238E27FC236}">
                  <a16:creationId xmlns:a16="http://schemas.microsoft.com/office/drawing/2014/main" id="{13B1E5AD-0A12-4718-A1A6-E710B1B781A7}"/>
                </a:ext>
              </a:extLst>
            </p:cNvPr>
            <p:cNvSpPr/>
            <p:nvPr/>
          </p:nvSpPr>
          <p:spPr>
            <a:xfrm>
              <a:off x="6637586" y="4907514"/>
              <a:ext cx="227620" cy="288566"/>
            </a:xfrm>
            <a:custGeom>
              <a:avLst/>
              <a:gdLst>
                <a:gd name="connsiteX0" fmla="*/ 132176 w 227620"/>
                <a:gd name="connsiteY0" fmla="*/ 0 h 288566"/>
                <a:gd name="connsiteX1" fmla="*/ 165914 w 227620"/>
                <a:gd name="connsiteY1" fmla="*/ 4462 h 288566"/>
                <a:gd name="connsiteX2" fmla="*/ 193829 w 227620"/>
                <a:gd name="connsiteY2" fmla="*/ 18012 h 288566"/>
                <a:gd name="connsiteX3" fmla="*/ 212820 w 227620"/>
                <a:gd name="connsiteY3" fmla="*/ 41465 h 288566"/>
                <a:gd name="connsiteX4" fmla="*/ 219894 w 227620"/>
                <a:gd name="connsiteY4" fmla="*/ 75202 h 288566"/>
                <a:gd name="connsiteX5" fmla="*/ 205746 w 227620"/>
                <a:gd name="connsiteY5" fmla="*/ 122925 h 288566"/>
                <a:gd name="connsiteX6" fmla="*/ 163682 w 227620"/>
                <a:gd name="connsiteY6" fmla="*/ 148773 h 288566"/>
                <a:gd name="connsiteX7" fmla="*/ 163682 w 227620"/>
                <a:gd name="connsiteY7" fmla="*/ 149589 h 288566"/>
                <a:gd name="connsiteX8" fmla="*/ 187136 w 227620"/>
                <a:gd name="connsiteY8" fmla="*/ 157044 h 288566"/>
                <a:gd name="connsiteX9" fmla="*/ 202318 w 227620"/>
                <a:gd name="connsiteY9" fmla="*/ 170974 h 288566"/>
                <a:gd name="connsiteX10" fmla="*/ 210806 w 227620"/>
                <a:gd name="connsiteY10" fmla="*/ 190564 h 288566"/>
                <a:gd name="connsiteX11" fmla="*/ 214235 w 227620"/>
                <a:gd name="connsiteY11" fmla="*/ 214615 h 288566"/>
                <a:gd name="connsiteX12" fmla="*/ 215051 w 227620"/>
                <a:gd name="connsiteY12" fmla="*/ 232409 h 288566"/>
                <a:gd name="connsiteX13" fmla="*/ 216683 w 227620"/>
                <a:gd name="connsiteY13" fmla="*/ 253632 h 288566"/>
                <a:gd name="connsiteX14" fmla="*/ 220547 w 227620"/>
                <a:gd name="connsiteY14" fmla="*/ 273820 h 288566"/>
                <a:gd name="connsiteX15" fmla="*/ 227621 w 227620"/>
                <a:gd name="connsiteY15" fmla="*/ 288566 h 288566"/>
                <a:gd name="connsiteX16" fmla="*/ 197311 w 227620"/>
                <a:gd name="connsiteY16" fmla="*/ 288566 h 288566"/>
                <a:gd name="connsiteX17" fmla="*/ 193448 w 227620"/>
                <a:gd name="connsiteY17" fmla="*/ 278663 h 288566"/>
                <a:gd name="connsiteX18" fmla="*/ 191435 w 227620"/>
                <a:gd name="connsiteY18" fmla="*/ 266528 h 288566"/>
                <a:gd name="connsiteX19" fmla="*/ 190401 w 227620"/>
                <a:gd name="connsiteY19" fmla="*/ 254176 h 288566"/>
                <a:gd name="connsiteX20" fmla="*/ 189584 w 227620"/>
                <a:gd name="connsiteY20" fmla="*/ 243673 h 288566"/>
                <a:gd name="connsiteX21" fmla="*/ 186972 w 227620"/>
                <a:gd name="connsiteY21" fmla="*/ 213146 h 288566"/>
                <a:gd name="connsiteX22" fmla="*/ 179300 w 227620"/>
                <a:gd name="connsiteY22" fmla="*/ 186047 h 288566"/>
                <a:gd name="connsiteX23" fmla="*/ 162322 w 227620"/>
                <a:gd name="connsiteY23" fmla="*/ 166839 h 288566"/>
                <a:gd name="connsiteX24" fmla="*/ 131795 w 227620"/>
                <a:gd name="connsiteY24" fmla="*/ 160363 h 288566"/>
                <a:gd name="connsiteX25" fmla="*/ 27480 w 227620"/>
                <a:gd name="connsiteY25" fmla="*/ 160363 h 288566"/>
                <a:gd name="connsiteX26" fmla="*/ 27480 w 227620"/>
                <a:gd name="connsiteY26" fmla="*/ 288512 h 288566"/>
                <a:gd name="connsiteX27" fmla="*/ 0 w 227620"/>
                <a:gd name="connsiteY27" fmla="*/ 288512 h 288566"/>
                <a:gd name="connsiteX28" fmla="*/ 0 w 227620"/>
                <a:gd name="connsiteY28" fmla="*/ 0 h 288566"/>
                <a:gd name="connsiteX29" fmla="*/ 132176 w 227620"/>
                <a:gd name="connsiteY29" fmla="*/ 0 h 288566"/>
                <a:gd name="connsiteX30" fmla="*/ 130162 w 227620"/>
                <a:gd name="connsiteY30" fmla="*/ 137019 h 288566"/>
                <a:gd name="connsiteX31" fmla="*/ 153996 w 227620"/>
                <a:gd name="connsiteY31" fmla="*/ 133155 h 288566"/>
                <a:gd name="connsiteX32" fmla="*/ 173804 w 227620"/>
                <a:gd name="connsiteY32" fmla="*/ 122054 h 288566"/>
                <a:gd name="connsiteX33" fmla="*/ 187353 w 227620"/>
                <a:gd name="connsiteY33" fmla="*/ 104478 h 288566"/>
                <a:gd name="connsiteX34" fmla="*/ 192414 w 227620"/>
                <a:gd name="connsiteY34" fmla="*/ 80807 h 288566"/>
                <a:gd name="connsiteX35" fmla="*/ 177069 w 227620"/>
                <a:gd name="connsiteY35" fmla="*/ 38744 h 288566"/>
                <a:gd name="connsiteX36" fmla="*/ 130162 w 227620"/>
                <a:gd name="connsiteY36" fmla="*/ 23399 h 288566"/>
                <a:gd name="connsiteX37" fmla="*/ 27480 w 227620"/>
                <a:gd name="connsiteY37" fmla="*/ 23399 h 288566"/>
                <a:gd name="connsiteX38" fmla="*/ 27480 w 227620"/>
                <a:gd name="connsiteY38" fmla="*/ 137073 h 288566"/>
                <a:gd name="connsiteX39" fmla="*/ 130162 w 227620"/>
                <a:gd name="connsiteY39" fmla="*/ 137073 h 28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7620" h="288566">
                  <a:moveTo>
                    <a:pt x="132176" y="0"/>
                  </a:moveTo>
                  <a:cubicBezTo>
                    <a:pt x="144038" y="0"/>
                    <a:pt x="155302" y="1469"/>
                    <a:pt x="165914" y="4462"/>
                  </a:cubicBezTo>
                  <a:cubicBezTo>
                    <a:pt x="176579" y="7455"/>
                    <a:pt x="185830" y="11971"/>
                    <a:pt x="193829" y="18012"/>
                  </a:cubicBezTo>
                  <a:cubicBezTo>
                    <a:pt x="201773" y="24052"/>
                    <a:pt x="208086" y="31888"/>
                    <a:pt x="212820" y="41465"/>
                  </a:cubicBezTo>
                  <a:cubicBezTo>
                    <a:pt x="217554" y="51042"/>
                    <a:pt x="219894" y="62306"/>
                    <a:pt x="219894" y="75202"/>
                  </a:cubicBezTo>
                  <a:cubicBezTo>
                    <a:pt x="219894" y="93541"/>
                    <a:pt x="215160" y="109430"/>
                    <a:pt x="205746" y="122925"/>
                  </a:cubicBezTo>
                  <a:cubicBezTo>
                    <a:pt x="196332" y="136420"/>
                    <a:pt x="182293" y="145018"/>
                    <a:pt x="163682" y="148773"/>
                  </a:cubicBezTo>
                  <a:lnTo>
                    <a:pt x="163682" y="149589"/>
                  </a:lnTo>
                  <a:cubicBezTo>
                    <a:pt x="173096" y="150949"/>
                    <a:pt x="180932" y="153452"/>
                    <a:pt x="187136" y="157044"/>
                  </a:cubicBezTo>
                  <a:cubicBezTo>
                    <a:pt x="193339" y="160690"/>
                    <a:pt x="198400" y="165315"/>
                    <a:pt x="202318" y="170974"/>
                  </a:cubicBezTo>
                  <a:cubicBezTo>
                    <a:pt x="206236" y="176633"/>
                    <a:pt x="209065" y="183163"/>
                    <a:pt x="210806" y="190564"/>
                  </a:cubicBezTo>
                  <a:cubicBezTo>
                    <a:pt x="212548" y="197964"/>
                    <a:pt x="213691" y="206018"/>
                    <a:pt x="214235" y="214615"/>
                  </a:cubicBezTo>
                  <a:cubicBezTo>
                    <a:pt x="214507" y="219458"/>
                    <a:pt x="214779" y="225390"/>
                    <a:pt x="215051" y="232409"/>
                  </a:cubicBezTo>
                  <a:cubicBezTo>
                    <a:pt x="215323" y="239429"/>
                    <a:pt x="215867" y="246503"/>
                    <a:pt x="216683" y="253632"/>
                  </a:cubicBezTo>
                  <a:cubicBezTo>
                    <a:pt x="217500" y="260760"/>
                    <a:pt x="218751" y="267508"/>
                    <a:pt x="220547" y="273820"/>
                  </a:cubicBezTo>
                  <a:cubicBezTo>
                    <a:pt x="222288" y="280186"/>
                    <a:pt x="224628" y="285084"/>
                    <a:pt x="227621" y="288566"/>
                  </a:cubicBezTo>
                  <a:lnTo>
                    <a:pt x="197311" y="288566"/>
                  </a:lnTo>
                  <a:cubicBezTo>
                    <a:pt x="195679" y="285900"/>
                    <a:pt x="194427" y="282581"/>
                    <a:pt x="193448" y="278663"/>
                  </a:cubicBezTo>
                  <a:cubicBezTo>
                    <a:pt x="192523" y="274745"/>
                    <a:pt x="191815" y="270718"/>
                    <a:pt x="191435" y="266528"/>
                  </a:cubicBezTo>
                  <a:cubicBezTo>
                    <a:pt x="191054" y="262338"/>
                    <a:pt x="190673" y="258257"/>
                    <a:pt x="190401" y="254176"/>
                  </a:cubicBezTo>
                  <a:cubicBezTo>
                    <a:pt x="190128" y="250149"/>
                    <a:pt x="189856" y="246612"/>
                    <a:pt x="189584" y="243673"/>
                  </a:cubicBezTo>
                  <a:cubicBezTo>
                    <a:pt x="189040" y="233443"/>
                    <a:pt x="188170" y="223268"/>
                    <a:pt x="186972" y="213146"/>
                  </a:cubicBezTo>
                  <a:cubicBezTo>
                    <a:pt x="185775" y="203025"/>
                    <a:pt x="183218" y="193992"/>
                    <a:pt x="179300" y="186047"/>
                  </a:cubicBezTo>
                  <a:cubicBezTo>
                    <a:pt x="175382" y="178103"/>
                    <a:pt x="169723" y="171682"/>
                    <a:pt x="162322" y="166839"/>
                  </a:cubicBezTo>
                  <a:cubicBezTo>
                    <a:pt x="154921" y="161996"/>
                    <a:pt x="144746" y="159819"/>
                    <a:pt x="131795" y="160363"/>
                  </a:cubicBezTo>
                  <a:lnTo>
                    <a:pt x="27480" y="160363"/>
                  </a:lnTo>
                  <a:lnTo>
                    <a:pt x="27480" y="288512"/>
                  </a:lnTo>
                  <a:lnTo>
                    <a:pt x="0" y="288512"/>
                  </a:lnTo>
                  <a:lnTo>
                    <a:pt x="0" y="0"/>
                  </a:lnTo>
                  <a:lnTo>
                    <a:pt x="132176" y="0"/>
                  </a:lnTo>
                  <a:close/>
                  <a:moveTo>
                    <a:pt x="130162" y="137019"/>
                  </a:moveTo>
                  <a:cubicBezTo>
                    <a:pt x="138488" y="137019"/>
                    <a:pt x="146487" y="135767"/>
                    <a:pt x="153996" y="133155"/>
                  </a:cubicBezTo>
                  <a:cubicBezTo>
                    <a:pt x="161560" y="130598"/>
                    <a:pt x="168145" y="126897"/>
                    <a:pt x="173804" y="122054"/>
                  </a:cubicBezTo>
                  <a:cubicBezTo>
                    <a:pt x="179463" y="117211"/>
                    <a:pt x="183979" y="111335"/>
                    <a:pt x="187353" y="104478"/>
                  </a:cubicBezTo>
                  <a:cubicBezTo>
                    <a:pt x="190727" y="97622"/>
                    <a:pt x="192414" y="89731"/>
                    <a:pt x="192414" y="80807"/>
                  </a:cubicBezTo>
                  <a:cubicBezTo>
                    <a:pt x="192414" y="63013"/>
                    <a:pt x="187299" y="49029"/>
                    <a:pt x="177069" y="38744"/>
                  </a:cubicBezTo>
                  <a:cubicBezTo>
                    <a:pt x="166839" y="28514"/>
                    <a:pt x="151221" y="23399"/>
                    <a:pt x="130162" y="23399"/>
                  </a:cubicBezTo>
                  <a:lnTo>
                    <a:pt x="27480" y="23399"/>
                  </a:lnTo>
                  <a:lnTo>
                    <a:pt x="27480" y="137073"/>
                  </a:lnTo>
                  <a:lnTo>
                    <a:pt x="130162" y="137073"/>
                  </a:lnTo>
                  <a:close/>
                </a:path>
              </a:pathLst>
            </a:custGeom>
            <a:solidFill>
              <a:srgbClr val="A1ABB2"/>
            </a:solidFill>
            <a:ln w="5435" cap="flat">
              <a:noFill/>
              <a:prstDash val="solid"/>
              <a:miter/>
            </a:ln>
          </p:spPr>
          <p:txBody>
            <a:bodyPr rtlCol="0" anchor="ctr"/>
            <a:lstStyle/>
            <a:p>
              <a:endParaRPr lang="en-US"/>
            </a:p>
          </p:txBody>
        </p:sp>
        <p:sp>
          <p:nvSpPr>
            <p:cNvPr id="625" name="Freeform: Shape 624">
              <a:extLst>
                <a:ext uri="{FF2B5EF4-FFF2-40B4-BE49-F238E27FC236}">
                  <a16:creationId xmlns:a16="http://schemas.microsoft.com/office/drawing/2014/main" id="{A3442BBF-AF88-42E6-ACFB-174BACF81A19}"/>
                </a:ext>
              </a:extLst>
            </p:cNvPr>
            <p:cNvSpPr/>
            <p:nvPr/>
          </p:nvSpPr>
          <p:spPr>
            <a:xfrm>
              <a:off x="6883762" y="4901474"/>
              <a:ext cx="272078" cy="300320"/>
            </a:xfrm>
            <a:custGeom>
              <a:avLst/>
              <a:gdLst>
                <a:gd name="connsiteX0" fmla="*/ 8489 w 272078"/>
                <a:gd name="connsiteY0" fmla="*/ 93377 h 300320"/>
                <a:gd name="connsiteX1" fmla="*/ 33955 w 272078"/>
                <a:gd name="connsiteY1" fmla="*/ 45492 h 300320"/>
                <a:gd name="connsiteX2" fmla="*/ 76617 w 272078"/>
                <a:gd name="connsiteY2" fmla="*/ 12352 h 300320"/>
                <a:gd name="connsiteX3" fmla="*/ 136257 w 272078"/>
                <a:gd name="connsiteY3" fmla="*/ 0 h 300320"/>
                <a:gd name="connsiteX4" fmla="*/ 195679 w 272078"/>
                <a:gd name="connsiteY4" fmla="*/ 12352 h 300320"/>
                <a:gd name="connsiteX5" fmla="*/ 238123 w 272078"/>
                <a:gd name="connsiteY5" fmla="*/ 45492 h 300320"/>
                <a:gd name="connsiteX6" fmla="*/ 263590 w 272078"/>
                <a:gd name="connsiteY6" fmla="*/ 93377 h 300320"/>
                <a:gd name="connsiteX7" fmla="*/ 272078 w 272078"/>
                <a:gd name="connsiteY7" fmla="*/ 150351 h 300320"/>
                <a:gd name="connsiteX8" fmla="*/ 263590 w 272078"/>
                <a:gd name="connsiteY8" fmla="*/ 207324 h 300320"/>
                <a:gd name="connsiteX9" fmla="*/ 238123 w 272078"/>
                <a:gd name="connsiteY9" fmla="*/ 255046 h 300320"/>
                <a:gd name="connsiteX10" fmla="*/ 195679 w 272078"/>
                <a:gd name="connsiteY10" fmla="*/ 287968 h 300320"/>
                <a:gd name="connsiteX11" fmla="*/ 136257 w 272078"/>
                <a:gd name="connsiteY11" fmla="*/ 300320 h 300320"/>
                <a:gd name="connsiteX12" fmla="*/ 76617 w 272078"/>
                <a:gd name="connsiteY12" fmla="*/ 287968 h 300320"/>
                <a:gd name="connsiteX13" fmla="*/ 33955 w 272078"/>
                <a:gd name="connsiteY13" fmla="*/ 255046 h 300320"/>
                <a:gd name="connsiteX14" fmla="*/ 8489 w 272078"/>
                <a:gd name="connsiteY14" fmla="*/ 207324 h 300320"/>
                <a:gd name="connsiteX15" fmla="*/ 0 w 272078"/>
                <a:gd name="connsiteY15" fmla="*/ 150351 h 300320"/>
                <a:gd name="connsiteX16" fmla="*/ 8489 w 272078"/>
                <a:gd name="connsiteY16" fmla="*/ 93377 h 300320"/>
                <a:gd name="connsiteX17" fmla="*/ 33738 w 272078"/>
                <a:gd name="connsiteY17" fmla="*/ 196658 h 300320"/>
                <a:gd name="connsiteX18" fmla="*/ 53164 w 272078"/>
                <a:gd name="connsiteY18" fmla="*/ 237470 h 300320"/>
                <a:gd name="connsiteX19" fmla="*/ 86902 w 272078"/>
                <a:gd name="connsiteY19" fmla="*/ 266365 h 300320"/>
                <a:gd name="connsiteX20" fmla="*/ 136202 w 272078"/>
                <a:gd name="connsiteY20" fmla="*/ 277302 h 300320"/>
                <a:gd name="connsiteX21" fmla="*/ 185340 w 272078"/>
                <a:gd name="connsiteY21" fmla="*/ 266365 h 300320"/>
                <a:gd name="connsiteX22" fmla="*/ 218914 w 272078"/>
                <a:gd name="connsiteY22" fmla="*/ 237470 h 300320"/>
                <a:gd name="connsiteX23" fmla="*/ 238341 w 272078"/>
                <a:gd name="connsiteY23" fmla="*/ 196658 h 300320"/>
                <a:gd name="connsiteX24" fmla="*/ 244598 w 272078"/>
                <a:gd name="connsiteY24" fmla="*/ 150405 h 300320"/>
                <a:gd name="connsiteX25" fmla="*/ 238341 w 272078"/>
                <a:gd name="connsiteY25" fmla="*/ 103934 h 300320"/>
                <a:gd name="connsiteX26" fmla="*/ 218914 w 272078"/>
                <a:gd name="connsiteY26" fmla="*/ 63285 h 300320"/>
                <a:gd name="connsiteX27" fmla="*/ 185340 w 272078"/>
                <a:gd name="connsiteY27" fmla="*/ 34391 h 300320"/>
                <a:gd name="connsiteX28" fmla="*/ 136202 w 272078"/>
                <a:gd name="connsiteY28" fmla="*/ 23508 h 300320"/>
                <a:gd name="connsiteX29" fmla="*/ 86902 w 272078"/>
                <a:gd name="connsiteY29" fmla="*/ 34391 h 300320"/>
                <a:gd name="connsiteX30" fmla="*/ 53164 w 272078"/>
                <a:gd name="connsiteY30" fmla="*/ 63285 h 300320"/>
                <a:gd name="connsiteX31" fmla="*/ 33738 w 272078"/>
                <a:gd name="connsiteY31" fmla="*/ 103934 h 300320"/>
                <a:gd name="connsiteX32" fmla="*/ 27480 w 272078"/>
                <a:gd name="connsiteY32" fmla="*/ 150405 h 300320"/>
                <a:gd name="connsiteX33" fmla="*/ 33738 w 272078"/>
                <a:gd name="connsiteY33" fmla="*/ 196658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2078" h="300320">
                  <a:moveTo>
                    <a:pt x="8489" y="93377"/>
                  </a:moveTo>
                  <a:cubicBezTo>
                    <a:pt x="14148" y="75311"/>
                    <a:pt x="22637" y="59368"/>
                    <a:pt x="33955" y="45492"/>
                  </a:cubicBezTo>
                  <a:cubicBezTo>
                    <a:pt x="45274" y="31616"/>
                    <a:pt x="59476" y="20569"/>
                    <a:pt x="76617" y="12352"/>
                  </a:cubicBezTo>
                  <a:cubicBezTo>
                    <a:pt x="93704" y="4136"/>
                    <a:pt x="113620" y="0"/>
                    <a:pt x="136257" y="0"/>
                  </a:cubicBezTo>
                  <a:cubicBezTo>
                    <a:pt x="158894" y="0"/>
                    <a:pt x="178701" y="4081"/>
                    <a:pt x="195679" y="12352"/>
                  </a:cubicBezTo>
                  <a:cubicBezTo>
                    <a:pt x="212656" y="20569"/>
                    <a:pt x="226805" y="31616"/>
                    <a:pt x="238123" y="45492"/>
                  </a:cubicBezTo>
                  <a:cubicBezTo>
                    <a:pt x="249441" y="59368"/>
                    <a:pt x="257930" y="75366"/>
                    <a:pt x="263590" y="93377"/>
                  </a:cubicBezTo>
                  <a:cubicBezTo>
                    <a:pt x="269249" y="111443"/>
                    <a:pt x="272078" y="130434"/>
                    <a:pt x="272078" y="150351"/>
                  </a:cubicBezTo>
                  <a:cubicBezTo>
                    <a:pt x="272078" y="170267"/>
                    <a:pt x="269249" y="189312"/>
                    <a:pt x="263590" y="207324"/>
                  </a:cubicBezTo>
                  <a:cubicBezTo>
                    <a:pt x="257930" y="225390"/>
                    <a:pt x="249441" y="241279"/>
                    <a:pt x="238123" y="255046"/>
                  </a:cubicBezTo>
                  <a:cubicBezTo>
                    <a:pt x="226805" y="268814"/>
                    <a:pt x="212656" y="279751"/>
                    <a:pt x="195679" y="287968"/>
                  </a:cubicBezTo>
                  <a:cubicBezTo>
                    <a:pt x="178701" y="296185"/>
                    <a:pt x="158894"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lose/>
                  <a:moveTo>
                    <a:pt x="33738" y="196658"/>
                  </a:moveTo>
                  <a:cubicBezTo>
                    <a:pt x="37928" y="211895"/>
                    <a:pt x="44403" y="225499"/>
                    <a:pt x="53164" y="237470"/>
                  </a:cubicBezTo>
                  <a:cubicBezTo>
                    <a:pt x="61925" y="249442"/>
                    <a:pt x="73189" y="259073"/>
                    <a:pt x="86902" y="266365"/>
                  </a:cubicBezTo>
                  <a:cubicBezTo>
                    <a:pt x="100615" y="273657"/>
                    <a:pt x="117103" y="277302"/>
                    <a:pt x="136202" y="277302"/>
                  </a:cubicBezTo>
                  <a:cubicBezTo>
                    <a:pt x="155302" y="277302"/>
                    <a:pt x="171681" y="273657"/>
                    <a:pt x="185340" y="266365"/>
                  </a:cubicBezTo>
                  <a:cubicBezTo>
                    <a:pt x="198944" y="259073"/>
                    <a:pt x="210153" y="249442"/>
                    <a:pt x="218914" y="237470"/>
                  </a:cubicBezTo>
                  <a:cubicBezTo>
                    <a:pt x="227675" y="225499"/>
                    <a:pt x="234151" y="211895"/>
                    <a:pt x="238341" y="196658"/>
                  </a:cubicBezTo>
                  <a:cubicBezTo>
                    <a:pt x="242531" y="181422"/>
                    <a:pt x="244598" y="166022"/>
                    <a:pt x="244598" y="150405"/>
                  </a:cubicBezTo>
                  <a:cubicBezTo>
                    <a:pt x="244598" y="134788"/>
                    <a:pt x="242531" y="119007"/>
                    <a:pt x="238341" y="103934"/>
                  </a:cubicBezTo>
                  <a:cubicBezTo>
                    <a:pt x="234151" y="88861"/>
                    <a:pt x="227675" y="75311"/>
                    <a:pt x="218914" y="63285"/>
                  </a:cubicBezTo>
                  <a:cubicBezTo>
                    <a:pt x="210153" y="51314"/>
                    <a:pt x="198944" y="41682"/>
                    <a:pt x="185340" y="34391"/>
                  </a:cubicBezTo>
                  <a:cubicBezTo>
                    <a:pt x="171736" y="27099"/>
                    <a:pt x="155357"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lose/>
                </a:path>
              </a:pathLst>
            </a:custGeom>
            <a:solidFill>
              <a:srgbClr val="A1ABB2"/>
            </a:solidFill>
            <a:ln w="5435" cap="flat">
              <a:noFill/>
              <a:prstDash val="solid"/>
              <a:miter/>
            </a:ln>
          </p:spPr>
          <p:txBody>
            <a:bodyPr rtlCol="0" anchor="ctr"/>
            <a:lstStyle/>
            <a:p>
              <a:endParaRPr lang="en-US"/>
            </a:p>
          </p:txBody>
        </p:sp>
        <p:sp>
          <p:nvSpPr>
            <p:cNvPr id="626" name="Freeform: Shape 625">
              <a:extLst>
                <a:ext uri="{FF2B5EF4-FFF2-40B4-BE49-F238E27FC236}">
                  <a16:creationId xmlns:a16="http://schemas.microsoft.com/office/drawing/2014/main" id="{4E4107E0-A173-4FB0-A4E5-4486D08C407C}"/>
                </a:ext>
              </a:extLst>
            </p:cNvPr>
            <p:cNvSpPr/>
            <p:nvPr/>
          </p:nvSpPr>
          <p:spPr>
            <a:xfrm>
              <a:off x="7182069" y="4907514"/>
              <a:ext cx="227185" cy="288620"/>
            </a:xfrm>
            <a:custGeom>
              <a:avLst/>
              <a:gdLst>
                <a:gd name="connsiteX0" fmla="*/ 30745 w 227185"/>
                <a:gd name="connsiteY0" fmla="*/ 0 h 288620"/>
                <a:gd name="connsiteX1" fmla="*/ 198889 w 227185"/>
                <a:gd name="connsiteY1" fmla="*/ 244163 h 288620"/>
                <a:gd name="connsiteX2" fmla="*/ 199706 w 227185"/>
                <a:gd name="connsiteY2" fmla="*/ 244163 h 288620"/>
                <a:gd name="connsiteX3" fmla="*/ 199706 w 227185"/>
                <a:gd name="connsiteY3" fmla="*/ 0 h 288620"/>
                <a:gd name="connsiteX4" fmla="*/ 227185 w 227185"/>
                <a:gd name="connsiteY4" fmla="*/ 0 h 288620"/>
                <a:gd name="connsiteX5" fmla="*/ 227185 w 227185"/>
                <a:gd name="connsiteY5" fmla="*/ 288621 h 288620"/>
                <a:gd name="connsiteX6" fmla="*/ 196441 w 227185"/>
                <a:gd name="connsiteY6" fmla="*/ 288621 h 288620"/>
                <a:gd name="connsiteX7" fmla="*/ 28296 w 227185"/>
                <a:gd name="connsiteY7" fmla="*/ 44458 h 288620"/>
                <a:gd name="connsiteX8" fmla="*/ 27480 w 227185"/>
                <a:gd name="connsiteY8" fmla="*/ 44458 h 288620"/>
                <a:gd name="connsiteX9" fmla="*/ 27480 w 227185"/>
                <a:gd name="connsiteY9" fmla="*/ 288621 h 288620"/>
                <a:gd name="connsiteX10" fmla="*/ 0 w 227185"/>
                <a:gd name="connsiteY10" fmla="*/ 288621 h 288620"/>
                <a:gd name="connsiteX11" fmla="*/ 0 w 227185"/>
                <a:gd name="connsiteY11" fmla="*/ 0 h 288620"/>
                <a:gd name="connsiteX12" fmla="*/ 30745 w 227185"/>
                <a:gd name="connsiteY12" fmla="*/ 0 h 28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185" h="288620">
                  <a:moveTo>
                    <a:pt x="30745" y="0"/>
                  </a:moveTo>
                  <a:lnTo>
                    <a:pt x="198889" y="244163"/>
                  </a:lnTo>
                  <a:lnTo>
                    <a:pt x="199706" y="244163"/>
                  </a:lnTo>
                  <a:lnTo>
                    <a:pt x="199706" y="0"/>
                  </a:lnTo>
                  <a:lnTo>
                    <a:pt x="227185" y="0"/>
                  </a:lnTo>
                  <a:lnTo>
                    <a:pt x="227185" y="288621"/>
                  </a:lnTo>
                  <a:lnTo>
                    <a:pt x="196441" y="288621"/>
                  </a:lnTo>
                  <a:lnTo>
                    <a:pt x="28296" y="44458"/>
                  </a:lnTo>
                  <a:lnTo>
                    <a:pt x="27480" y="44458"/>
                  </a:lnTo>
                  <a:lnTo>
                    <a:pt x="27480" y="288621"/>
                  </a:lnTo>
                  <a:lnTo>
                    <a:pt x="0" y="288621"/>
                  </a:lnTo>
                  <a:lnTo>
                    <a:pt x="0" y="0"/>
                  </a:lnTo>
                  <a:lnTo>
                    <a:pt x="30745" y="0"/>
                  </a:lnTo>
                  <a:close/>
                </a:path>
              </a:pathLst>
            </a:custGeom>
            <a:solidFill>
              <a:srgbClr val="A1ABB2"/>
            </a:solidFill>
            <a:ln w="5435" cap="flat">
              <a:noFill/>
              <a:prstDash val="solid"/>
              <a:miter/>
            </a:ln>
          </p:spPr>
          <p:txBody>
            <a:bodyPr rtlCol="0" anchor="ctr"/>
            <a:lstStyle/>
            <a:p>
              <a:endParaRPr lang="en-US"/>
            </a:p>
          </p:txBody>
        </p:sp>
        <p:sp>
          <p:nvSpPr>
            <p:cNvPr id="627" name="Freeform: Shape 626">
              <a:extLst>
                <a:ext uri="{FF2B5EF4-FFF2-40B4-BE49-F238E27FC236}">
                  <a16:creationId xmlns:a16="http://schemas.microsoft.com/office/drawing/2014/main" id="{25B5BB36-6EFA-4D97-938D-CE588BAD6E24}"/>
                </a:ext>
              </a:extLst>
            </p:cNvPr>
            <p:cNvSpPr/>
            <p:nvPr/>
          </p:nvSpPr>
          <p:spPr>
            <a:xfrm>
              <a:off x="7461004" y="4907514"/>
              <a:ext cx="27480" cy="288620"/>
            </a:xfrm>
            <a:custGeom>
              <a:avLst/>
              <a:gdLst>
                <a:gd name="connsiteX0" fmla="*/ 27480 w 27480"/>
                <a:gd name="connsiteY0" fmla="*/ 0 h 288620"/>
                <a:gd name="connsiteX1" fmla="*/ 27480 w 27480"/>
                <a:gd name="connsiteY1" fmla="*/ 288621 h 288620"/>
                <a:gd name="connsiteX2" fmla="*/ 0 w 27480"/>
                <a:gd name="connsiteY2" fmla="*/ 288621 h 288620"/>
                <a:gd name="connsiteX3" fmla="*/ 0 w 27480"/>
                <a:gd name="connsiteY3" fmla="*/ 0 h 288620"/>
                <a:gd name="connsiteX4" fmla="*/ 27480 w 27480"/>
                <a:gd name="connsiteY4" fmla="*/ 0 h 28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80" h="288620">
                  <a:moveTo>
                    <a:pt x="27480" y="0"/>
                  </a:moveTo>
                  <a:lnTo>
                    <a:pt x="27480" y="288621"/>
                  </a:lnTo>
                  <a:lnTo>
                    <a:pt x="0" y="288621"/>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628" name="Freeform: Shape 627">
              <a:extLst>
                <a:ext uri="{FF2B5EF4-FFF2-40B4-BE49-F238E27FC236}">
                  <a16:creationId xmlns:a16="http://schemas.microsoft.com/office/drawing/2014/main" id="{52389F33-D3B2-4883-87CC-FE6545513A41}"/>
                </a:ext>
              </a:extLst>
            </p:cNvPr>
            <p:cNvSpPr/>
            <p:nvPr/>
          </p:nvSpPr>
          <p:spPr>
            <a:xfrm>
              <a:off x="7526956" y="4901419"/>
              <a:ext cx="256297" cy="300320"/>
            </a:xfrm>
            <a:custGeom>
              <a:avLst/>
              <a:gdLst>
                <a:gd name="connsiteX0" fmla="*/ 212765 w 256297"/>
                <a:gd name="connsiteY0" fmla="*/ 63721 h 300320"/>
                <a:gd name="connsiteX1" fmla="*/ 192577 w 256297"/>
                <a:gd name="connsiteY1" fmla="*/ 41682 h 300320"/>
                <a:gd name="connsiteX2" fmla="*/ 166294 w 256297"/>
                <a:gd name="connsiteY2" fmla="*/ 28133 h 300320"/>
                <a:gd name="connsiteX3" fmla="*/ 136202 w 256297"/>
                <a:gd name="connsiteY3" fmla="*/ 23508 h 300320"/>
                <a:gd name="connsiteX4" fmla="*/ 86902 w 256297"/>
                <a:gd name="connsiteY4" fmla="*/ 34391 h 300320"/>
                <a:gd name="connsiteX5" fmla="*/ 53164 w 256297"/>
                <a:gd name="connsiteY5" fmla="*/ 63285 h 300320"/>
                <a:gd name="connsiteX6" fmla="*/ 33738 w 256297"/>
                <a:gd name="connsiteY6" fmla="*/ 103934 h 300320"/>
                <a:gd name="connsiteX7" fmla="*/ 27480 w 256297"/>
                <a:gd name="connsiteY7" fmla="*/ 150405 h 300320"/>
                <a:gd name="connsiteX8" fmla="*/ 33738 w 256297"/>
                <a:gd name="connsiteY8" fmla="*/ 196658 h 300320"/>
                <a:gd name="connsiteX9" fmla="*/ 53164 w 256297"/>
                <a:gd name="connsiteY9" fmla="*/ 237470 h 300320"/>
                <a:gd name="connsiteX10" fmla="*/ 86902 w 256297"/>
                <a:gd name="connsiteY10" fmla="*/ 266365 h 300320"/>
                <a:gd name="connsiteX11" fmla="*/ 136202 w 256297"/>
                <a:gd name="connsiteY11" fmla="*/ 277302 h 300320"/>
                <a:gd name="connsiteX12" fmla="*/ 172607 w 256297"/>
                <a:gd name="connsiteY12" fmla="*/ 270011 h 300320"/>
                <a:gd name="connsiteX13" fmla="*/ 200522 w 256297"/>
                <a:gd name="connsiteY13" fmla="*/ 250203 h 300320"/>
                <a:gd name="connsiteX14" fmla="*/ 219513 w 256297"/>
                <a:gd name="connsiteY14" fmla="*/ 220873 h 300320"/>
                <a:gd name="connsiteX15" fmla="*/ 228818 w 256297"/>
                <a:gd name="connsiteY15" fmla="*/ 184687 h 300320"/>
                <a:gd name="connsiteX16" fmla="*/ 256298 w 256297"/>
                <a:gd name="connsiteY16" fmla="*/ 184687 h 300320"/>
                <a:gd name="connsiteX17" fmla="*/ 243782 w 256297"/>
                <a:gd name="connsiteY17" fmla="*/ 232790 h 300320"/>
                <a:gd name="connsiteX18" fmla="*/ 218697 w 256297"/>
                <a:gd name="connsiteY18" fmla="*/ 269194 h 300320"/>
                <a:gd name="connsiteX19" fmla="*/ 182510 w 256297"/>
                <a:gd name="connsiteY19" fmla="*/ 292212 h 300320"/>
                <a:gd name="connsiteX20" fmla="*/ 136257 w 256297"/>
                <a:gd name="connsiteY20" fmla="*/ 300320 h 300320"/>
                <a:gd name="connsiteX21" fmla="*/ 76617 w 256297"/>
                <a:gd name="connsiteY21" fmla="*/ 287968 h 300320"/>
                <a:gd name="connsiteX22" fmla="*/ 33956 w 256297"/>
                <a:gd name="connsiteY22" fmla="*/ 255046 h 300320"/>
                <a:gd name="connsiteX23" fmla="*/ 8489 w 256297"/>
                <a:gd name="connsiteY23" fmla="*/ 207324 h 300320"/>
                <a:gd name="connsiteX24" fmla="*/ 0 w 256297"/>
                <a:gd name="connsiteY24" fmla="*/ 150351 h 300320"/>
                <a:gd name="connsiteX25" fmla="*/ 8489 w 256297"/>
                <a:gd name="connsiteY25" fmla="*/ 93377 h 300320"/>
                <a:gd name="connsiteX26" fmla="*/ 33956 w 256297"/>
                <a:gd name="connsiteY26" fmla="*/ 45492 h 300320"/>
                <a:gd name="connsiteX27" fmla="*/ 76617 w 256297"/>
                <a:gd name="connsiteY27" fmla="*/ 12352 h 300320"/>
                <a:gd name="connsiteX28" fmla="*/ 136257 w 256297"/>
                <a:gd name="connsiteY28" fmla="*/ 0 h 300320"/>
                <a:gd name="connsiteX29" fmla="*/ 176470 w 256297"/>
                <a:gd name="connsiteY29" fmla="*/ 6040 h 300320"/>
                <a:gd name="connsiteX30" fmla="*/ 212058 w 256297"/>
                <a:gd name="connsiteY30" fmla="*/ 24052 h 300320"/>
                <a:gd name="connsiteX31" fmla="*/ 238722 w 256297"/>
                <a:gd name="connsiteY31" fmla="*/ 53382 h 300320"/>
                <a:gd name="connsiteX32" fmla="*/ 252271 w 256297"/>
                <a:gd name="connsiteY32" fmla="*/ 93377 h 300320"/>
                <a:gd name="connsiteX33" fmla="*/ 224791 w 256297"/>
                <a:gd name="connsiteY33" fmla="*/ 93377 h 300320"/>
                <a:gd name="connsiteX34" fmla="*/ 212874 w 256297"/>
                <a:gd name="connsiteY34" fmla="*/ 63666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6297" h="300320">
                  <a:moveTo>
                    <a:pt x="212765" y="63721"/>
                  </a:moveTo>
                  <a:cubicBezTo>
                    <a:pt x="207215" y="54960"/>
                    <a:pt x="200522" y="47614"/>
                    <a:pt x="192577" y="41682"/>
                  </a:cubicBezTo>
                  <a:cubicBezTo>
                    <a:pt x="184633" y="35751"/>
                    <a:pt x="175872" y="31235"/>
                    <a:pt x="166294" y="28133"/>
                  </a:cubicBezTo>
                  <a:cubicBezTo>
                    <a:pt x="156717" y="25031"/>
                    <a:pt x="146705"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ubicBezTo>
                    <a:pt x="37928" y="211895"/>
                    <a:pt x="44403" y="225499"/>
                    <a:pt x="53164" y="237470"/>
                  </a:cubicBezTo>
                  <a:cubicBezTo>
                    <a:pt x="61925" y="249442"/>
                    <a:pt x="73189" y="259073"/>
                    <a:pt x="86902" y="266365"/>
                  </a:cubicBezTo>
                  <a:cubicBezTo>
                    <a:pt x="100669" y="273657"/>
                    <a:pt x="117103" y="277302"/>
                    <a:pt x="136202" y="277302"/>
                  </a:cubicBezTo>
                  <a:cubicBezTo>
                    <a:pt x="149698" y="277302"/>
                    <a:pt x="161778" y="274854"/>
                    <a:pt x="172607" y="270011"/>
                  </a:cubicBezTo>
                  <a:cubicBezTo>
                    <a:pt x="183381" y="265168"/>
                    <a:pt x="192686" y="258583"/>
                    <a:pt x="200522" y="250203"/>
                  </a:cubicBezTo>
                  <a:cubicBezTo>
                    <a:pt x="208358" y="241878"/>
                    <a:pt x="214670" y="232083"/>
                    <a:pt x="219513" y="220873"/>
                  </a:cubicBezTo>
                  <a:cubicBezTo>
                    <a:pt x="224356" y="209718"/>
                    <a:pt x="227458" y="197638"/>
                    <a:pt x="228818" y="184687"/>
                  </a:cubicBezTo>
                  <a:lnTo>
                    <a:pt x="256298" y="184687"/>
                  </a:lnTo>
                  <a:cubicBezTo>
                    <a:pt x="254393" y="202481"/>
                    <a:pt x="250258" y="218533"/>
                    <a:pt x="243782" y="232790"/>
                  </a:cubicBezTo>
                  <a:cubicBezTo>
                    <a:pt x="237307" y="247102"/>
                    <a:pt x="228981" y="259182"/>
                    <a:pt x="218697" y="269194"/>
                  </a:cubicBezTo>
                  <a:cubicBezTo>
                    <a:pt x="208466" y="279153"/>
                    <a:pt x="196386" y="286825"/>
                    <a:pt x="182510" y="292212"/>
                  </a:cubicBezTo>
                  <a:cubicBezTo>
                    <a:pt x="168634" y="297599"/>
                    <a:pt x="153235" y="300320"/>
                    <a:pt x="136257" y="300320"/>
                  </a:cubicBezTo>
                  <a:cubicBezTo>
                    <a:pt x="113620" y="300320"/>
                    <a:pt x="93758" y="296185"/>
                    <a:pt x="76617" y="287968"/>
                  </a:cubicBezTo>
                  <a:cubicBezTo>
                    <a:pt x="59476" y="279751"/>
                    <a:pt x="45274" y="268759"/>
                    <a:pt x="33956"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6" y="45492"/>
                  </a:cubicBezTo>
                  <a:cubicBezTo>
                    <a:pt x="45274" y="31616"/>
                    <a:pt x="59476" y="20569"/>
                    <a:pt x="76617" y="12352"/>
                  </a:cubicBezTo>
                  <a:cubicBezTo>
                    <a:pt x="93704" y="4136"/>
                    <a:pt x="113620" y="0"/>
                    <a:pt x="136257" y="0"/>
                  </a:cubicBezTo>
                  <a:cubicBezTo>
                    <a:pt x="150024" y="0"/>
                    <a:pt x="163410" y="2013"/>
                    <a:pt x="176470" y="6040"/>
                  </a:cubicBezTo>
                  <a:cubicBezTo>
                    <a:pt x="189530" y="10067"/>
                    <a:pt x="201393" y="16053"/>
                    <a:pt x="212058" y="24052"/>
                  </a:cubicBezTo>
                  <a:cubicBezTo>
                    <a:pt x="222724" y="32051"/>
                    <a:pt x="231593" y="41791"/>
                    <a:pt x="238722" y="53382"/>
                  </a:cubicBezTo>
                  <a:cubicBezTo>
                    <a:pt x="245850" y="64972"/>
                    <a:pt x="250367" y="78304"/>
                    <a:pt x="252271" y="93377"/>
                  </a:cubicBezTo>
                  <a:lnTo>
                    <a:pt x="224791" y="93377"/>
                  </a:lnTo>
                  <a:cubicBezTo>
                    <a:pt x="222343" y="82331"/>
                    <a:pt x="218370" y="72427"/>
                    <a:pt x="212874" y="63666"/>
                  </a:cubicBezTo>
                  <a:close/>
                </a:path>
              </a:pathLst>
            </a:custGeom>
            <a:solidFill>
              <a:srgbClr val="A1ABB2"/>
            </a:solidFill>
            <a:ln w="5435" cap="flat">
              <a:noFill/>
              <a:prstDash val="solid"/>
              <a:miter/>
            </a:ln>
          </p:spPr>
          <p:txBody>
            <a:bodyPr rtlCol="0" anchor="ctr"/>
            <a:lstStyle/>
            <a:p>
              <a:endParaRPr lang="en-US"/>
            </a:p>
          </p:txBody>
        </p:sp>
        <p:sp>
          <p:nvSpPr>
            <p:cNvPr id="629" name="Freeform: Shape 628">
              <a:extLst>
                <a:ext uri="{FF2B5EF4-FFF2-40B4-BE49-F238E27FC236}">
                  <a16:creationId xmlns:a16="http://schemas.microsoft.com/office/drawing/2014/main" id="{5E482D63-38FB-47B3-B336-A0D0C67F84D9}"/>
                </a:ext>
              </a:extLst>
            </p:cNvPr>
            <p:cNvSpPr/>
            <p:nvPr/>
          </p:nvSpPr>
          <p:spPr>
            <a:xfrm>
              <a:off x="7809972" y="4911704"/>
              <a:ext cx="153397" cy="153125"/>
            </a:xfrm>
            <a:custGeom>
              <a:avLst/>
              <a:gdLst>
                <a:gd name="connsiteX0" fmla="*/ 107036 w 153397"/>
                <a:gd name="connsiteY0" fmla="*/ 5877 h 153125"/>
                <a:gd name="connsiteX1" fmla="*/ 131360 w 153397"/>
                <a:gd name="connsiteY1" fmla="*/ 22147 h 153125"/>
                <a:gd name="connsiteX2" fmla="*/ 147521 w 153397"/>
                <a:gd name="connsiteY2" fmla="*/ 46580 h 153125"/>
                <a:gd name="connsiteX3" fmla="*/ 153398 w 153397"/>
                <a:gd name="connsiteY3" fmla="*/ 76672 h 153125"/>
                <a:gd name="connsiteX4" fmla="*/ 147521 w 153397"/>
                <a:gd name="connsiteY4" fmla="*/ 106872 h 153125"/>
                <a:gd name="connsiteX5" fmla="*/ 131360 w 153397"/>
                <a:gd name="connsiteY5" fmla="*/ 131087 h 153125"/>
                <a:gd name="connsiteX6" fmla="*/ 107036 w 153397"/>
                <a:gd name="connsiteY6" fmla="*/ 147249 h 153125"/>
                <a:gd name="connsiteX7" fmla="*/ 76726 w 153397"/>
                <a:gd name="connsiteY7" fmla="*/ 153126 h 153125"/>
                <a:gd name="connsiteX8" fmla="*/ 46417 w 153397"/>
                <a:gd name="connsiteY8" fmla="*/ 147249 h 153125"/>
                <a:gd name="connsiteX9" fmla="*/ 22093 w 153397"/>
                <a:gd name="connsiteY9" fmla="*/ 131087 h 153125"/>
                <a:gd name="connsiteX10" fmla="*/ 5877 w 153397"/>
                <a:gd name="connsiteY10" fmla="*/ 106872 h 153125"/>
                <a:gd name="connsiteX11" fmla="*/ 0 w 153397"/>
                <a:gd name="connsiteY11" fmla="*/ 76672 h 153125"/>
                <a:gd name="connsiteX12" fmla="*/ 5877 w 153397"/>
                <a:gd name="connsiteY12" fmla="*/ 46580 h 153125"/>
                <a:gd name="connsiteX13" fmla="*/ 22093 w 153397"/>
                <a:gd name="connsiteY13" fmla="*/ 22147 h 153125"/>
                <a:gd name="connsiteX14" fmla="*/ 46417 w 153397"/>
                <a:gd name="connsiteY14" fmla="*/ 5877 h 153125"/>
                <a:gd name="connsiteX15" fmla="*/ 76726 w 153397"/>
                <a:gd name="connsiteY15" fmla="*/ 0 h 153125"/>
                <a:gd name="connsiteX16" fmla="*/ 107036 w 153397"/>
                <a:gd name="connsiteY16" fmla="*/ 5877 h 153125"/>
                <a:gd name="connsiteX17" fmla="*/ 50824 w 153397"/>
                <a:gd name="connsiteY17" fmla="*/ 16107 h 153125"/>
                <a:gd name="connsiteX18" fmla="*/ 30310 w 153397"/>
                <a:gd name="connsiteY18" fmla="*/ 30146 h 153125"/>
                <a:gd name="connsiteX19" fmla="*/ 16814 w 153397"/>
                <a:gd name="connsiteY19" fmla="*/ 50988 h 153125"/>
                <a:gd name="connsiteX20" fmla="*/ 11972 w 153397"/>
                <a:gd name="connsiteY20" fmla="*/ 76781 h 153125"/>
                <a:gd name="connsiteX21" fmla="*/ 16814 w 153397"/>
                <a:gd name="connsiteY21" fmla="*/ 102574 h 153125"/>
                <a:gd name="connsiteX22" fmla="*/ 30310 w 153397"/>
                <a:gd name="connsiteY22" fmla="*/ 123415 h 153125"/>
                <a:gd name="connsiteX23" fmla="*/ 50824 w 153397"/>
                <a:gd name="connsiteY23" fmla="*/ 137454 h 153125"/>
                <a:gd name="connsiteX24" fmla="*/ 76726 w 153397"/>
                <a:gd name="connsiteY24" fmla="*/ 142624 h 153125"/>
                <a:gd name="connsiteX25" fmla="*/ 102410 w 153397"/>
                <a:gd name="connsiteY25" fmla="*/ 137454 h 153125"/>
                <a:gd name="connsiteX26" fmla="*/ 122925 w 153397"/>
                <a:gd name="connsiteY26" fmla="*/ 123415 h 153125"/>
                <a:gd name="connsiteX27" fmla="*/ 136529 w 153397"/>
                <a:gd name="connsiteY27" fmla="*/ 102574 h 153125"/>
                <a:gd name="connsiteX28" fmla="*/ 141481 w 153397"/>
                <a:gd name="connsiteY28" fmla="*/ 76781 h 153125"/>
                <a:gd name="connsiteX29" fmla="*/ 136529 w 153397"/>
                <a:gd name="connsiteY29" fmla="*/ 50988 h 153125"/>
                <a:gd name="connsiteX30" fmla="*/ 122925 w 153397"/>
                <a:gd name="connsiteY30" fmla="*/ 30146 h 153125"/>
                <a:gd name="connsiteX31" fmla="*/ 102410 w 153397"/>
                <a:gd name="connsiteY31" fmla="*/ 16107 h 153125"/>
                <a:gd name="connsiteX32" fmla="*/ 76726 w 153397"/>
                <a:gd name="connsiteY32" fmla="*/ 10938 h 153125"/>
                <a:gd name="connsiteX33" fmla="*/ 50824 w 153397"/>
                <a:gd name="connsiteY33" fmla="*/ 16107 h 153125"/>
                <a:gd name="connsiteX34" fmla="*/ 48865 w 153397"/>
                <a:gd name="connsiteY34" fmla="*/ 121075 h 153125"/>
                <a:gd name="connsiteX35" fmla="*/ 48865 w 153397"/>
                <a:gd name="connsiteY35" fmla="*/ 32377 h 153125"/>
                <a:gd name="connsiteX36" fmla="*/ 82875 w 153397"/>
                <a:gd name="connsiteY36" fmla="*/ 32377 h 153125"/>
                <a:gd name="connsiteX37" fmla="*/ 104859 w 153397"/>
                <a:gd name="connsiteY37" fmla="*/ 38690 h 153125"/>
                <a:gd name="connsiteX38" fmla="*/ 111770 w 153397"/>
                <a:gd name="connsiteY38" fmla="*/ 56919 h 153125"/>
                <a:gd name="connsiteX39" fmla="*/ 110029 w 153397"/>
                <a:gd name="connsiteY39" fmla="*/ 67040 h 153125"/>
                <a:gd name="connsiteX40" fmla="*/ 105185 w 153397"/>
                <a:gd name="connsiteY40" fmla="*/ 74386 h 153125"/>
                <a:gd name="connsiteX41" fmla="*/ 98057 w 153397"/>
                <a:gd name="connsiteY41" fmla="*/ 79120 h 153125"/>
                <a:gd name="connsiteX42" fmla="*/ 89514 w 153397"/>
                <a:gd name="connsiteY42" fmla="*/ 81678 h 153125"/>
                <a:gd name="connsiteX43" fmla="*/ 115905 w 153397"/>
                <a:gd name="connsiteY43" fmla="*/ 121075 h 153125"/>
                <a:gd name="connsiteX44" fmla="*/ 103118 w 153397"/>
                <a:gd name="connsiteY44" fmla="*/ 121075 h 153125"/>
                <a:gd name="connsiteX45" fmla="*/ 78141 w 153397"/>
                <a:gd name="connsiteY45" fmla="*/ 81678 h 153125"/>
                <a:gd name="connsiteX46" fmla="*/ 59803 w 153397"/>
                <a:gd name="connsiteY46" fmla="*/ 81678 h 153125"/>
                <a:gd name="connsiteX47" fmla="*/ 59803 w 153397"/>
                <a:gd name="connsiteY47" fmla="*/ 121075 h 153125"/>
                <a:gd name="connsiteX48" fmla="*/ 48865 w 153397"/>
                <a:gd name="connsiteY48" fmla="*/ 121075 h 153125"/>
                <a:gd name="connsiteX49" fmla="*/ 84018 w 153397"/>
                <a:gd name="connsiteY49" fmla="*/ 72101 h 153125"/>
                <a:gd name="connsiteX50" fmla="*/ 92561 w 153397"/>
                <a:gd name="connsiteY50" fmla="*/ 70359 h 153125"/>
                <a:gd name="connsiteX51" fmla="*/ 98547 w 153397"/>
                <a:gd name="connsiteY51" fmla="*/ 65734 h 153125"/>
                <a:gd name="connsiteX52" fmla="*/ 100832 w 153397"/>
                <a:gd name="connsiteY52" fmla="*/ 56973 h 153125"/>
                <a:gd name="connsiteX53" fmla="*/ 99091 w 153397"/>
                <a:gd name="connsiteY53" fmla="*/ 49355 h 153125"/>
                <a:gd name="connsiteX54" fmla="*/ 94357 w 153397"/>
                <a:gd name="connsiteY54" fmla="*/ 44730 h 153125"/>
                <a:gd name="connsiteX55" fmla="*/ 87664 w 153397"/>
                <a:gd name="connsiteY55" fmla="*/ 42335 h 153125"/>
                <a:gd name="connsiteX56" fmla="*/ 79828 w 153397"/>
                <a:gd name="connsiteY56" fmla="*/ 41737 h 153125"/>
                <a:gd name="connsiteX57" fmla="*/ 59803 w 153397"/>
                <a:gd name="connsiteY57" fmla="*/ 41737 h 153125"/>
                <a:gd name="connsiteX58" fmla="*/ 59803 w 153397"/>
                <a:gd name="connsiteY58" fmla="*/ 72482 h 153125"/>
                <a:gd name="connsiteX59" fmla="*/ 74223 w 153397"/>
                <a:gd name="connsiteY59" fmla="*/ 72482 h 153125"/>
                <a:gd name="connsiteX60" fmla="*/ 84018 w 153397"/>
                <a:gd name="connsiteY60" fmla="*/ 72155 h 15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3397" h="153125">
                  <a:moveTo>
                    <a:pt x="107036" y="5877"/>
                  </a:moveTo>
                  <a:cubicBezTo>
                    <a:pt x="116395" y="9795"/>
                    <a:pt x="124503" y="15236"/>
                    <a:pt x="131360" y="22147"/>
                  </a:cubicBezTo>
                  <a:cubicBezTo>
                    <a:pt x="138216" y="29112"/>
                    <a:pt x="143603" y="37220"/>
                    <a:pt x="147521" y="46580"/>
                  </a:cubicBezTo>
                  <a:cubicBezTo>
                    <a:pt x="151439" y="55939"/>
                    <a:pt x="153398" y="65952"/>
                    <a:pt x="153398" y="76672"/>
                  </a:cubicBezTo>
                  <a:cubicBezTo>
                    <a:pt x="153398" y="87392"/>
                    <a:pt x="151439" y="97622"/>
                    <a:pt x="147521" y="106872"/>
                  </a:cubicBezTo>
                  <a:cubicBezTo>
                    <a:pt x="143603" y="116177"/>
                    <a:pt x="138216" y="124231"/>
                    <a:pt x="131360" y="131087"/>
                  </a:cubicBezTo>
                  <a:cubicBezTo>
                    <a:pt x="124503" y="137944"/>
                    <a:pt x="116395" y="143331"/>
                    <a:pt x="107036" y="147249"/>
                  </a:cubicBezTo>
                  <a:cubicBezTo>
                    <a:pt x="97676" y="151167"/>
                    <a:pt x="87555" y="153126"/>
                    <a:pt x="76726" y="153126"/>
                  </a:cubicBezTo>
                  <a:cubicBezTo>
                    <a:pt x="65897" y="153126"/>
                    <a:pt x="55776" y="151167"/>
                    <a:pt x="46417" y="147249"/>
                  </a:cubicBezTo>
                  <a:cubicBezTo>
                    <a:pt x="37057" y="143331"/>
                    <a:pt x="28949" y="137944"/>
                    <a:pt x="22093" y="131087"/>
                  </a:cubicBezTo>
                  <a:cubicBezTo>
                    <a:pt x="15236" y="124231"/>
                    <a:pt x="9849" y="116123"/>
                    <a:pt x="5877" y="106872"/>
                  </a:cubicBezTo>
                  <a:cubicBezTo>
                    <a:pt x="1959" y="97567"/>
                    <a:pt x="0" y="87500"/>
                    <a:pt x="0" y="76672"/>
                  </a:cubicBezTo>
                  <a:cubicBezTo>
                    <a:pt x="0" y="65843"/>
                    <a:pt x="1959" y="55939"/>
                    <a:pt x="5877" y="46580"/>
                  </a:cubicBezTo>
                  <a:cubicBezTo>
                    <a:pt x="9795" y="37220"/>
                    <a:pt x="15182" y="29112"/>
                    <a:pt x="22093" y="22147"/>
                  </a:cubicBezTo>
                  <a:cubicBezTo>
                    <a:pt x="28949" y="15182"/>
                    <a:pt x="37057" y="9795"/>
                    <a:pt x="46417" y="5877"/>
                  </a:cubicBezTo>
                  <a:cubicBezTo>
                    <a:pt x="55776" y="1959"/>
                    <a:pt x="65897" y="0"/>
                    <a:pt x="76726" y="0"/>
                  </a:cubicBezTo>
                  <a:cubicBezTo>
                    <a:pt x="87555" y="0"/>
                    <a:pt x="97676" y="1959"/>
                    <a:pt x="107036" y="5877"/>
                  </a:cubicBezTo>
                  <a:close/>
                  <a:moveTo>
                    <a:pt x="50824" y="16107"/>
                  </a:moveTo>
                  <a:cubicBezTo>
                    <a:pt x="42934" y="19535"/>
                    <a:pt x="36078" y="24215"/>
                    <a:pt x="30310" y="30146"/>
                  </a:cubicBezTo>
                  <a:cubicBezTo>
                    <a:pt x="24542" y="36078"/>
                    <a:pt x="20025" y="42988"/>
                    <a:pt x="16814" y="50988"/>
                  </a:cubicBezTo>
                  <a:cubicBezTo>
                    <a:pt x="13604" y="58987"/>
                    <a:pt x="11972" y="67530"/>
                    <a:pt x="11972" y="76781"/>
                  </a:cubicBezTo>
                  <a:cubicBezTo>
                    <a:pt x="11972" y="86031"/>
                    <a:pt x="13604" y="94574"/>
                    <a:pt x="16814" y="102574"/>
                  </a:cubicBezTo>
                  <a:cubicBezTo>
                    <a:pt x="20025" y="110573"/>
                    <a:pt x="24542" y="117483"/>
                    <a:pt x="30310" y="123415"/>
                  </a:cubicBezTo>
                  <a:cubicBezTo>
                    <a:pt x="36078" y="129346"/>
                    <a:pt x="42934" y="134026"/>
                    <a:pt x="50824" y="137454"/>
                  </a:cubicBezTo>
                  <a:cubicBezTo>
                    <a:pt x="58715" y="140882"/>
                    <a:pt x="67367" y="142624"/>
                    <a:pt x="76726" y="142624"/>
                  </a:cubicBezTo>
                  <a:cubicBezTo>
                    <a:pt x="86086" y="142624"/>
                    <a:pt x="94466" y="140882"/>
                    <a:pt x="102410" y="137454"/>
                  </a:cubicBezTo>
                  <a:cubicBezTo>
                    <a:pt x="110301" y="134026"/>
                    <a:pt x="117157" y="129346"/>
                    <a:pt x="122925" y="123415"/>
                  </a:cubicBezTo>
                  <a:cubicBezTo>
                    <a:pt x="128693" y="117483"/>
                    <a:pt x="133210" y="110573"/>
                    <a:pt x="136529" y="102574"/>
                  </a:cubicBezTo>
                  <a:cubicBezTo>
                    <a:pt x="139848" y="94629"/>
                    <a:pt x="141481" y="86031"/>
                    <a:pt x="141481" y="76781"/>
                  </a:cubicBezTo>
                  <a:cubicBezTo>
                    <a:pt x="141481" y="67530"/>
                    <a:pt x="139848" y="58987"/>
                    <a:pt x="136529" y="50988"/>
                  </a:cubicBezTo>
                  <a:cubicBezTo>
                    <a:pt x="133210" y="43043"/>
                    <a:pt x="128693" y="36078"/>
                    <a:pt x="122925" y="30146"/>
                  </a:cubicBezTo>
                  <a:cubicBezTo>
                    <a:pt x="117157" y="24215"/>
                    <a:pt x="110301" y="19535"/>
                    <a:pt x="102410" y="16107"/>
                  </a:cubicBezTo>
                  <a:cubicBezTo>
                    <a:pt x="94520" y="12679"/>
                    <a:pt x="85922" y="10938"/>
                    <a:pt x="76726" y="10938"/>
                  </a:cubicBezTo>
                  <a:cubicBezTo>
                    <a:pt x="67530" y="10938"/>
                    <a:pt x="58769" y="12679"/>
                    <a:pt x="50824" y="16107"/>
                  </a:cubicBezTo>
                  <a:close/>
                  <a:moveTo>
                    <a:pt x="48865" y="121075"/>
                  </a:moveTo>
                  <a:lnTo>
                    <a:pt x="48865" y="32377"/>
                  </a:lnTo>
                  <a:lnTo>
                    <a:pt x="82875" y="32377"/>
                  </a:lnTo>
                  <a:cubicBezTo>
                    <a:pt x="92888" y="32377"/>
                    <a:pt x="100234" y="34500"/>
                    <a:pt x="104859" y="38690"/>
                  </a:cubicBezTo>
                  <a:cubicBezTo>
                    <a:pt x="109484" y="42880"/>
                    <a:pt x="111770" y="48974"/>
                    <a:pt x="111770" y="56919"/>
                  </a:cubicBezTo>
                  <a:cubicBezTo>
                    <a:pt x="111770" y="60782"/>
                    <a:pt x="111171" y="64156"/>
                    <a:pt x="110029" y="67040"/>
                  </a:cubicBezTo>
                  <a:cubicBezTo>
                    <a:pt x="108886" y="69924"/>
                    <a:pt x="107253" y="72373"/>
                    <a:pt x="105185" y="74386"/>
                  </a:cubicBezTo>
                  <a:cubicBezTo>
                    <a:pt x="103118" y="76400"/>
                    <a:pt x="100723" y="77978"/>
                    <a:pt x="98057" y="79120"/>
                  </a:cubicBezTo>
                  <a:cubicBezTo>
                    <a:pt x="95391" y="80263"/>
                    <a:pt x="92507" y="81134"/>
                    <a:pt x="89514" y="81678"/>
                  </a:cubicBezTo>
                  <a:lnTo>
                    <a:pt x="115905" y="121075"/>
                  </a:lnTo>
                  <a:lnTo>
                    <a:pt x="103118" y="121075"/>
                  </a:lnTo>
                  <a:lnTo>
                    <a:pt x="78141" y="81678"/>
                  </a:lnTo>
                  <a:lnTo>
                    <a:pt x="59803" y="81678"/>
                  </a:lnTo>
                  <a:lnTo>
                    <a:pt x="59803" y="121075"/>
                  </a:lnTo>
                  <a:lnTo>
                    <a:pt x="48865" y="121075"/>
                  </a:lnTo>
                  <a:close/>
                  <a:moveTo>
                    <a:pt x="84018" y="72101"/>
                  </a:moveTo>
                  <a:cubicBezTo>
                    <a:pt x="87228" y="71883"/>
                    <a:pt x="90112" y="71285"/>
                    <a:pt x="92561" y="70359"/>
                  </a:cubicBezTo>
                  <a:cubicBezTo>
                    <a:pt x="95010" y="69380"/>
                    <a:pt x="97023" y="67856"/>
                    <a:pt x="98547" y="65734"/>
                  </a:cubicBezTo>
                  <a:cubicBezTo>
                    <a:pt x="100071" y="63612"/>
                    <a:pt x="100832" y="60673"/>
                    <a:pt x="100832" y="56973"/>
                  </a:cubicBezTo>
                  <a:cubicBezTo>
                    <a:pt x="100832" y="53817"/>
                    <a:pt x="100234" y="51260"/>
                    <a:pt x="99091" y="49355"/>
                  </a:cubicBezTo>
                  <a:cubicBezTo>
                    <a:pt x="97948" y="47450"/>
                    <a:pt x="96316" y="45872"/>
                    <a:pt x="94357" y="44730"/>
                  </a:cubicBezTo>
                  <a:cubicBezTo>
                    <a:pt x="92398" y="43587"/>
                    <a:pt x="90112" y="42771"/>
                    <a:pt x="87664" y="42335"/>
                  </a:cubicBezTo>
                  <a:cubicBezTo>
                    <a:pt x="85215" y="41900"/>
                    <a:pt x="82603" y="41737"/>
                    <a:pt x="79828" y="41737"/>
                  </a:cubicBezTo>
                  <a:lnTo>
                    <a:pt x="59803" y="41737"/>
                  </a:lnTo>
                  <a:lnTo>
                    <a:pt x="59803" y="72482"/>
                  </a:lnTo>
                  <a:lnTo>
                    <a:pt x="74223" y="72482"/>
                  </a:lnTo>
                  <a:cubicBezTo>
                    <a:pt x="77542" y="72482"/>
                    <a:pt x="80807" y="72373"/>
                    <a:pt x="84018" y="72155"/>
                  </a:cubicBezTo>
                  <a:close/>
                </a:path>
              </a:pathLst>
            </a:custGeom>
            <a:solidFill>
              <a:srgbClr val="A1ABB2"/>
            </a:solidFill>
            <a:ln w="5435" cap="flat">
              <a:noFill/>
              <a:prstDash val="solid"/>
              <a:miter/>
            </a:ln>
          </p:spPr>
          <p:txBody>
            <a:bodyPr rtlCol="0" anchor="ctr"/>
            <a:lstStyle/>
            <a:p>
              <a:endParaRPr lang="en-US"/>
            </a:p>
          </p:txBody>
        </p:sp>
      </p:grpSp>
    </p:spTree>
    <p:extLst>
      <p:ext uri="{BB962C8B-B14F-4D97-AF65-F5344CB8AC3E}">
        <p14:creationId xmlns:p14="http://schemas.microsoft.com/office/powerpoint/2010/main" val="1188204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BL Bran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EB5D23-4A33-4E09-A5C7-6D09B739B3B9}"/>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pic>
        <p:nvPicPr>
          <p:cNvPr id="9" name="Picture 8">
            <a:extLst>
              <a:ext uri="{FF2B5EF4-FFF2-40B4-BE49-F238E27FC236}">
                <a16:creationId xmlns:a16="http://schemas.microsoft.com/office/drawing/2014/main" id="{1D798BC3-8C7C-4240-A9CA-D201FE50BE06}"/>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81064" y="6462795"/>
            <a:ext cx="1184456" cy="168599"/>
          </a:xfrm>
          <a:prstGeom prst="rect">
            <a:avLst/>
          </a:prstGeom>
        </p:spPr>
      </p:pic>
      <p:sp>
        <p:nvSpPr>
          <p:cNvPr id="10" name="TextBox 9">
            <a:extLst>
              <a:ext uri="{FF2B5EF4-FFF2-40B4-BE49-F238E27FC236}">
                <a16:creationId xmlns:a16="http://schemas.microsoft.com/office/drawing/2014/main" id="{1357B330-C6C1-418F-9B4D-F3ED396A9AB7}"/>
              </a:ext>
            </a:extLst>
          </p:cNvPr>
          <p:cNvSpPr txBox="1"/>
          <p:nvPr userDrawn="1"/>
        </p:nvSpPr>
        <p:spPr>
          <a:xfrm>
            <a:off x="838200" y="679764"/>
            <a:ext cx="10515600"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srgbClr val="495965"/>
                </a:solidFill>
                <a:effectLst/>
                <a:uLnTx/>
                <a:uFillTx/>
                <a:latin typeface="Avenir Next LT Pro"/>
                <a:ea typeface="+mn-ea"/>
                <a:cs typeface="+mn-cs"/>
              </a:rPr>
              <a:t>Acuity Brands Lighting &amp; Controls</a:t>
            </a:r>
          </a:p>
        </p:txBody>
      </p:sp>
      <p:sp>
        <p:nvSpPr>
          <p:cNvPr id="2" name="Footer Placeholder 1">
            <a:extLst>
              <a:ext uri="{FF2B5EF4-FFF2-40B4-BE49-F238E27FC236}">
                <a16:creationId xmlns:a16="http://schemas.microsoft.com/office/drawing/2014/main" id="{062E4A73-DFCE-4DFD-8550-5A23F315B621}"/>
              </a:ext>
            </a:extLst>
          </p:cNvPr>
          <p:cNvSpPr>
            <a:spLocks noGrp="1"/>
          </p:cNvSpPr>
          <p:nvPr>
            <p:ph type="ftr" sz="quarter" idx="10"/>
          </p:nvPr>
        </p:nvSpPr>
        <p:spPr>
          <a:xfrm>
            <a:off x="7239000" y="6356350"/>
            <a:ext cx="41148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95965"/>
                </a:solidFill>
                <a:effectLst/>
                <a:uLnTx/>
                <a:uFillTx/>
                <a:latin typeface="Arial"/>
                <a:ea typeface="Times New Roman" panose="02020603050405020304" pitchFamily="18" charset="0"/>
                <a:cs typeface="+mn-cs"/>
              </a:rPr>
              <a:t>Proprietary &amp; Confidential</a:t>
            </a:r>
            <a:endParaRPr kumimoji="0" lang="en-US" sz="800" b="0" i="0" u="none" strike="noStrike" kern="1200" cap="none" spc="0" normalizeH="0" baseline="0" noProof="0" dirty="0">
              <a:ln>
                <a:noFill/>
              </a:ln>
              <a:solidFill>
                <a:srgbClr val="495965"/>
              </a:solidFill>
              <a:effectLst/>
              <a:uLnTx/>
              <a:uFillTx/>
              <a:latin typeface="Arial"/>
              <a:ea typeface="+mn-ea"/>
              <a:cs typeface="+mn-cs"/>
            </a:endParaRPr>
          </a:p>
        </p:txBody>
      </p:sp>
      <p:sp>
        <p:nvSpPr>
          <p:cNvPr id="43" name="Content Placeholder 3">
            <a:extLst>
              <a:ext uri="{FF2B5EF4-FFF2-40B4-BE49-F238E27FC236}">
                <a16:creationId xmlns:a16="http://schemas.microsoft.com/office/drawing/2014/main" id="{573F67B6-5269-4312-8345-E02594B2E99B}"/>
              </a:ext>
            </a:extLst>
          </p:cNvPr>
          <p:cNvSpPr txBox="1">
            <a:spLocks/>
          </p:cNvSpPr>
          <p:nvPr userDrawn="1"/>
        </p:nvSpPr>
        <p:spPr>
          <a:xfrm>
            <a:off x="838200" y="1690688"/>
            <a:ext cx="1611134" cy="341632"/>
          </a:xfrm>
          <a:prstGeom prst="rect">
            <a:avLst/>
          </a:prstGeom>
        </p:spPr>
        <p:txBody>
          <a:bodyP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Lighting</a:t>
            </a:r>
          </a:p>
        </p:txBody>
      </p:sp>
      <p:sp>
        <p:nvSpPr>
          <p:cNvPr id="44" name="Content Placeholder 3">
            <a:extLst>
              <a:ext uri="{FF2B5EF4-FFF2-40B4-BE49-F238E27FC236}">
                <a16:creationId xmlns:a16="http://schemas.microsoft.com/office/drawing/2014/main" id="{D263ECAC-A45C-4509-B882-2913A9437863}"/>
              </a:ext>
            </a:extLst>
          </p:cNvPr>
          <p:cNvSpPr txBox="1">
            <a:spLocks/>
          </p:cNvSpPr>
          <p:nvPr userDrawn="1"/>
        </p:nvSpPr>
        <p:spPr>
          <a:xfrm>
            <a:off x="838200" y="3526509"/>
            <a:ext cx="1611134"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Controls</a:t>
            </a:r>
          </a:p>
        </p:txBody>
      </p:sp>
      <p:sp>
        <p:nvSpPr>
          <p:cNvPr id="45" name="Content Placeholder 3">
            <a:extLst>
              <a:ext uri="{FF2B5EF4-FFF2-40B4-BE49-F238E27FC236}">
                <a16:creationId xmlns:a16="http://schemas.microsoft.com/office/drawing/2014/main" id="{D2B1EE4C-DA52-4B82-B9E9-4C2D30C8904B}"/>
              </a:ext>
            </a:extLst>
          </p:cNvPr>
          <p:cNvSpPr txBox="1">
            <a:spLocks/>
          </p:cNvSpPr>
          <p:nvPr userDrawn="1"/>
        </p:nvSpPr>
        <p:spPr>
          <a:xfrm>
            <a:off x="838200" y="4311961"/>
            <a:ext cx="2214364"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Components</a:t>
            </a:r>
            <a:endParaRPr kumimoji="0" lang="en-US" sz="1800" b="0" i="0" u="none" strike="noStrike" kern="1200" cap="none" spc="0" normalizeH="0" baseline="0" noProof="0" dirty="0">
              <a:ln>
                <a:noFill/>
              </a:ln>
              <a:solidFill>
                <a:srgbClr val="007239"/>
              </a:solidFill>
              <a:effectLst/>
              <a:uLnTx/>
              <a:uFillTx/>
              <a:latin typeface="Arial" panose="020B0604020202020204" pitchFamily="34" charset="0"/>
              <a:ea typeface="Roboto" panose="02000000000000000000" pitchFamily="2" charset="0"/>
              <a:cs typeface="Arial" panose="020B0604020202020204" pitchFamily="34" charset="0"/>
            </a:endParaRPr>
          </a:p>
        </p:txBody>
      </p:sp>
      <p:sp>
        <p:nvSpPr>
          <p:cNvPr id="46" name="Content Placeholder 3">
            <a:extLst>
              <a:ext uri="{FF2B5EF4-FFF2-40B4-BE49-F238E27FC236}">
                <a16:creationId xmlns:a16="http://schemas.microsoft.com/office/drawing/2014/main" id="{34C018BD-FB3B-4D4A-B365-AF099350BD6C}"/>
              </a:ext>
            </a:extLst>
          </p:cNvPr>
          <p:cNvSpPr txBox="1">
            <a:spLocks/>
          </p:cNvSpPr>
          <p:nvPr userDrawn="1"/>
        </p:nvSpPr>
        <p:spPr>
          <a:xfrm>
            <a:off x="838200" y="5072293"/>
            <a:ext cx="1961968" cy="341632"/>
          </a:xfrm>
          <a:prstGeom prst="rect">
            <a:avLst/>
          </a:prstGeom>
        </p:spPr>
        <p:txBody>
          <a:bodyPr vert="horz" lIns="91440" tIns="45720" rIns="91440" bIns="45720"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7239"/>
                </a:solidFill>
                <a:effectLst/>
                <a:uLnTx/>
                <a:uFillTx/>
                <a:latin typeface="Avenir Next LT Pro" panose="020B0504020202020204" pitchFamily="34" charset="77"/>
                <a:ea typeface="Roboto Thin" panose="02000000000000000000" pitchFamily="2" charset="0"/>
                <a:cs typeface="Arial" panose="020B0604020202020204" pitchFamily="34" charset="0"/>
              </a:rPr>
              <a:t>Daylighting</a:t>
            </a:r>
          </a:p>
        </p:txBody>
      </p:sp>
      <p:grpSp>
        <p:nvGrpSpPr>
          <p:cNvPr id="49" name="Group 48">
            <a:extLst>
              <a:ext uri="{FF2B5EF4-FFF2-40B4-BE49-F238E27FC236}">
                <a16:creationId xmlns:a16="http://schemas.microsoft.com/office/drawing/2014/main" id="{D6ED074A-232D-4544-AB8A-994464A47304}"/>
              </a:ext>
            </a:extLst>
          </p:cNvPr>
          <p:cNvGrpSpPr/>
          <p:nvPr userDrawn="1"/>
        </p:nvGrpSpPr>
        <p:grpSpPr>
          <a:xfrm>
            <a:off x="3339353" y="1690688"/>
            <a:ext cx="7746123" cy="218095"/>
            <a:chOff x="3339353" y="1729940"/>
            <a:chExt cx="7746123" cy="218095"/>
          </a:xfrm>
        </p:grpSpPr>
        <p:grpSp>
          <p:nvGrpSpPr>
            <p:cNvPr id="50" name="Group 49">
              <a:extLst>
                <a:ext uri="{FF2B5EF4-FFF2-40B4-BE49-F238E27FC236}">
                  <a16:creationId xmlns:a16="http://schemas.microsoft.com/office/drawing/2014/main" id="{82843310-2E24-425A-84F8-191759027E1A}"/>
                </a:ext>
              </a:extLst>
            </p:cNvPr>
            <p:cNvGrpSpPr/>
            <p:nvPr userDrawn="1"/>
          </p:nvGrpSpPr>
          <p:grpSpPr>
            <a:xfrm>
              <a:off x="4890533" y="1736670"/>
              <a:ext cx="793339" cy="204635"/>
              <a:chOff x="5381625" y="3243262"/>
              <a:chExt cx="1430178" cy="368902"/>
            </a:xfrm>
          </p:grpSpPr>
          <p:sp>
            <p:nvSpPr>
              <p:cNvPr id="150" name="Freeform: Shape 149">
                <a:extLst>
                  <a:ext uri="{FF2B5EF4-FFF2-40B4-BE49-F238E27FC236}">
                    <a16:creationId xmlns:a16="http://schemas.microsoft.com/office/drawing/2014/main" id="{B0E93A9E-EE40-409E-9E2F-18F6B0500FF4}"/>
                  </a:ext>
                </a:extLst>
              </p:cNvPr>
              <p:cNvSpPr/>
              <p:nvPr/>
            </p:nvSpPr>
            <p:spPr>
              <a:xfrm>
                <a:off x="5381625" y="3601878"/>
                <a:ext cx="1430178" cy="10286"/>
              </a:xfrm>
              <a:custGeom>
                <a:avLst/>
                <a:gdLst>
                  <a:gd name="connsiteX0" fmla="*/ 1430179 w 1430178"/>
                  <a:gd name="connsiteY0" fmla="*/ 10287 h 10286"/>
                  <a:gd name="connsiteX1" fmla="*/ 0 w 1430178"/>
                  <a:gd name="connsiteY1" fmla="*/ 10287 h 10286"/>
                  <a:gd name="connsiteX2" fmla="*/ 0 w 1430178"/>
                  <a:gd name="connsiteY2" fmla="*/ 0 h 10286"/>
                  <a:gd name="connsiteX3" fmla="*/ 1430179 w 1430178"/>
                  <a:gd name="connsiteY3" fmla="*/ 0 h 10286"/>
                  <a:gd name="connsiteX4" fmla="*/ 1430179 w 1430178"/>
                  <a:gd name="connsiteY4" fmla="*/ 10287 h 10286"/>
                  <a:gd name="connsiteX5" fmla="*/ 1430179 w 1430178"/>
                  <a:gd name="connsiteY5" fmla="*/ 10287 h 1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30178" h="10286">
                    <a:moveTo>
                      <a:pt x="1430179" y="10287"/>
                    </a:moveTo>
                    <a:lnTo>
                      <a:pt x="0" y="10287"/>
                    </a:lnTo>
                    <a:lnTo>
                      <a:pt x="0" y="0"/>
                    </a:lnTo>
                    <a:lnTo>
                      <a:pt x="1430179" y="0"/>
                    </a:lnTo>
                    <a:lnTo>
                      <a:pt x="1430179" y="10287"/>
                    </a:lnTo>
                    <a:lnTo>
                      <a:pt x="1430179" y="10287"/>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1" name="Freeform: Shape 150">
                <a:extLst>
                  <a:ext uri="{FF2B5EF4-FFF2-40B4-BE49-F238E27FC236}">
                    <a16:creationId xmlns:a16="http://schemas.microsoft.com/office/drawing/2014/main" id="{383FF476-A8ED-4B0F-ABE5-B587709C4AF9}"/>
                  </a:ext>
                </a:extLst>
              </p:cNvPr>
              <p:cNvSpPr/>
              <p:nvPr/>
            </p:nvSpPr>
            <p:spPr>
              <a:xfrm>
                <a:off x="5434679" y="3324510"/>
                <a:ext cx="151828" cy="176212"/>
              </a:xfrm>
              <a:custGeom>
                <a:avLst/>
                <a:gdLst>
                  <a:gd name="connsiteX0" fmla="*/ 93440 w 151828"/>
                  <a:gd name="connsiteY0" fmla="*/ 72104 h 176212"/>
                  <a:gd name="connsiteX1" fmla="*/ 58674 w 151828"/>
                  <a:gd name="connsiteY1" fmla="*/ 87439 h 176212"/>
                  <a:gd name="connsiteX2" fmla="*/ 32385 w 151828"/>
                  <a:gd name="connsiteY2" fmla="*/ 124397 h 176212"/>
                  <a:gd name="connsiteX3" fmla="*/ 43339 w 151828"/>
                  <a:gd name="connsiteY3" fmla="*/ 148876 h 176212"/>
                  <a:gd name="connsiteX4" fmla="*/ 59245 w 151828"/>
                  <a:gd name="connsiteY4" fmla="*/ 154019 h 176212"/>
                  <a:gd name="connsiteX5" fmla="*/ 82391 w 151828"/>
                  <a:gd name="connsiteY5" fmla="*/ 147257 h 176212"/>
                  <a:gd name="connsiteX6" fmla="*/ 93440 w 151828"/>
                  <a:gd name="connsiteY6" fmla="*/ 130112 h 176212"/>
                  <a:gd name="connsiteX7" fmla="*/ 93440 w 151828"/>
                  <a:gd name="connsiteY7" fmla="*/ 72104 h 176212"/>
                  <a:gd name="connsiteX8" fmla="*/ 93440 w 151828"/>
                  <a:gd name="connsiteY8" fmla="*/ 72104 h 176212"/>
                  <a:gd name="connsiteX9" fmla="*/ 26384 w 151828"/>
                  <a:gd name="connsiteY9" fmla="*/ 92774 h 176212"/>
                  <a:gd name="connsiteX10" fmla="*/ 93440 w 151828"/>
                  <a:gd name="connsiteY10" fmla="*/ 62960 h 176212"/>
                  <a:gd name="connsiteX11" fmla="*/ 93440 w 151828"/>
                  <a:gd name="connsiteY11" fmla="*/ 47435 h 176212"/>
                  <a:gd name="connsiteX12" fmla="*/ 89821 w 151828"/>
                  <a:gd name="connsiteY12" fmla="*/ 21431 h 176212"/>
                  <a:gd name="connsiteX13" fmla="*/ 64008 w 151828"/>
                  <a:gd name="connsiteY13" fmla="*/ 9144 h 176212"/>
                  <a:gd name="connsiteX14" fmla="*/ 46292 w 151828"/>
                  <a:gd name="connsiteY14" fmla="*/ 13907 h 176212"/>
                  <a:gd name="connsiteX15" fmla="*/ 37910 w 151828"/>
                  <a:gd name="connsiteY15" fmla="*/ 27432 h 176212"/>
                  <a:gd name="connsiteX16" fmla="*/ 38862 w 151828"/>
                  <a:gd name="connsiteY16" fmla="*/ 34862 h 176212"/>
                  <a:gd name="connsiteX17" fmla="*/ 39815 w 151828"/>
                  <a:gd name="connsiteY17" fmla="*/ 41529 h 176212"/>
                  <a:gd name="connsiteX18" fmla="*/ 33052 w 151828"/>
                  <a:gd name="connsiteY18" fmla="*/ 55817 h 176212"/>
                  <a:gd name="connsiteX19" fmla="*/ 23908 w 151828"/>
                  <a:gd name="connsiteY19" fmla="*/ 58198 h 176212"/>
                  <a:gd name="connsiteX20" fmla="*/ 11335 w 151828"/>
                  <a:gd name="connsiteY20" fmla="*/ 52769 h 176212"/>
                  <a:gd name="connsiteX21" fmla="*/ 6953 w 151828"/>
                  <a:gd name="connsiteY21" fmla="*/ 40767 h 176212"/>
                  <a:gd name="connsiteX22" fmla="*/ 22765 w 151828"/>
                  <a:gd name="connsiteY22" fmla="*/ 14002 h 176212"/>
                  <a:gd name="connsiteX23" fmla="*/ 69152 w 151828"/>
                  <a:gd name="connsiteY23" fmla="*/ 0 h 176212"/>
                  <a:gd name="connsiteX24" fmla="*/ 117253 w 151828"/>
                  <a:gd name="connsiteY24" fmla="*/ 23051 h 176212"/>
                  <a:gd name="connsiteX25" fmla="*/ 124016 w 151828"/>
                  <a:gd name="connsiteY25" fmla="*/ 59817 h 176212"/>
                  <a:gd name="connsiteX26" fmla="*/ 124016 w 151828"/>
                  <a:gd name="connsiteY26" fmla="*/ 133160 h 176212"/>
                  <a:gd name="connsiteX27" fmla="*/ 125444 w 151828"/>
                  <a:gd name="connsiteY27" fmla="*/ 147828 h 176212"/>
                  <a:gd name="connsiteX28" fmla="*/ 135350 w 151828"/>
                  <a:gd name="connsiteY28" fmla="*/ 154972 h 176212"/>
                  <a:gd name="connsiteX29" fmla="*/ 142304 w 151828"/>
                  <a:gd name="connsiteY29" fmla="*/ 153638 h 176212"/>
                  <a:gd name="connsiteX30" fmla="*/ 151829 w 151828"/>
                  <a:gd name="connsiteY30" fmla="*/ 147447 h 176212"/>
                  <a:gd name="connsiteX31" fmla="*/ 151829 w 151828"/>
                  <a:gd name="connsiteY31" fmla="*/ 156972 h 176212"/>
                  <a:gd name="connsiteX32" fmla="*/ 139160 w 151828"/>
                  <a:gd name="connsiteY32" fmla="*/ 168688 h 176212"/>
                  <a:gd name="connsiteX33" fmla="*/ 118301 w 151828"/>
                  <a:gd name="connsiteY33" fmla="*/ 175641 h 176212"/>
                  <a:gd name="connsiteX34" fmla="*/ 100298 w 151828"/>
                  <a:gd name="connsiteY34" fmla="*/ 167545 h 176212"/>
                  <a:gd name="connsiteX35" fmla="*/ 94202 w 151828"/>
                  <a:gd name="connsiteY35" fmla="*/ 148400 h 176212"/>
                  <a:gd name="connsiteX36" fmla="*/ 70390 w 151828"/>
                  <a:gd name="connsiteY36" fmla="*/ 166307 h 176212"/>
                  <a:gd name="connsiteX37" fmla="*/ 38767 w 151828"/>
                  <a:gd name="connsiteY37" fmla="*/ 176213 h 176212"/>
                  <a:gd name="connsiteX38" fmla="*/ 11525 w 151828"/>
                  <a:gd name="connsiteY38" fmla="*/ 165164 h 176212"/>
                  <a:gd name="connsiteX39" fmla="*/ 0 w 151828"/>
                  <a:gd name="connsiteY39" fmla="*/ 137065 h 176212"/>
                  <a:gd name="connsiteX40" fmla="*/ 26480 w 151828"/>
                  <a:gd name="connsiteY40" fmla="*/ 92869 h 176212"/>
                  <a:gd name="connsiteX41" fmla="*/ 26480 w 151828"/>
                  <a:gd name="connsiteY41" fmla="*/ 92869 h 17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1828" h="176212">
                    <a:moveTo>
                      <a:pt x="93440" y="72104"/>
                    </a:moveTo>
                    <a:cubicBezTo>
                      <a:pt x="79439" y="76772"/>
                      <a:pt x="67818" y="81820"/>
                      <a:pt x="58674" y="87439"/>
                    </a:cubicBezTo>
                    <a:cubicBezTo>
                      <a:pt x="41148" y="98298"/>
                      <a:pt x="32385" y="110585"/>
                      <a:pt x="32385" y="124397"/>
                    </a:cubicBezTo>
                    <a:cubicBezTo>
                      <a:pt x="32385" y="135446"/>
                      <a:pt x="36005" y="143637"/>
                      <a:pt x="43339" y="148876"/>
                    </a:cubicBezTo>
                    <a:cubicBezTo>
                      <a:pt x="48101" y="152305"/>
                      <a:pt x="53435" y="154019"/>
                      <a:pt x="59245" y="154019"/>
                    </a:cubicBezTo>
                    <a:cubicBezTo>
                      <a:pt x="67342" y="154019"/>
                      <a:pt x="74962" y="151733"/>
                      <a:pt x="82391" y="147257"/>
                    </a:cubicBezTo>
                    <a:cubicBezTo>
                      <a:pt x="89726" y="142780"/>
                      <a:pt x="93440" y="137065"/>
                      <a:pt x="93440" y="130112"/>
                    </a:cubicBezTo>
                    <a:lnTo>
                      <a:pt x="93440" y="72104"/>
                    </a:lnTo>
                    <a:lnTo>
                      <a:pt x="93440" y="72104"/>
                    </a:lnTo>
                    <a:close/>
                    <a:moveTo>
                      <a:pt x="26384" y="92774"/>
                    </a:moveTo>
                    <a:cubicBezTo>
                      <a:pt x="37624" y="85439"/>
                      <a:pt x="60007" y="75533"/>
                      <a:pt x="93440" y="62960"/>
                    </a:cubicBezTo>
                    <a:lnTo>
                      <a:pt x="93440" y="47435"/>
                    </a:lnTo>
                    <a:cubicBezTo>
                      <a:pt x="93440" y="34957"/>
                      <a:pt x="92202" y="26384"/>
                      <a:pt x="89821" y="21431"/>
                    </a:cubicBezTo>
                    <a:cubicBezTo>
                      <a:pt x="85725" y="13240"/>
                      <a:pt x="77057" y="9144"/>
                      <a:pt x="64008" y="9144"/>
                    </a:cubicBezTo>
                    <a:cubicBezTo>
                      <a:pt x="57817" y="9144"/>
                      <a:pt x="51816" y="10763"/>
                      <a:pt x="46292" y="13907"/>
                    </a:cubicBezTo>
                    <a:cubicBezTo>
                      <a:pt x="40672" y="17240"/>
                      <a:pt x="37910" y="21717"/>
                      <a:pt x="37910" y="27432"/>
                    </a:cubicBezTo>
                    <a:cubicBezTo>
                      <a:pt x="37910" y="28861"/>
                      <a:pt x="38195" y="31337"/>
                      <a:pt x="38862" y="34862"/>
                    </a:cubicBezTo>
                    <a:cubicBezTo>
                      <a:pt x="39529" y="38291"/>
                      <a:pt x="39815" y="40577"/>
                      <a:pt x="39815" y="41529"/>
                    </a:cubicBezTo>
                    <a:cubicBezTo>
                      <a:pt x="39815" y="48387"/>
                      <a:pt x="37529" y="53150"/>
                      <a:pt x="33052" y="55817"/>
                    </a:cubicBezTo>
                    <a:cubicBezTo>
                      <a:pt x="30480" y="57436"/>
                      <a:pt x="27432" y="58198"/>
                      <a:pt x="23908" y="58198"/>
                    </a:cubicBezTo>
                    <a:cubicBezTo>
                      <a:pt x="18479" y="58198"/>
                      <a:pt x="14192" y="56388"/>
                      <a:pt x="11335" y="52769"/>
                    </a:cubicBezTo>
                    <a:cubicBezTo>
                      <a:pt x="8382" y="49149"/>
                      <a:pt x="6953" y="45149"/>
                      <a:pt x="6953" y="40767"/>
                    </a:cubicBezTo>
                    <a:cubicBezTo>
                      <a:pt x="6953" y="32290"/>
                      <a:pt x="12192" y="23336"/>
                      <a:pt x="22765" y="14002"/>
                    </a:cubicBezTo>
                    <a:cubicBezTo>
                      <a:pt x="33337" y="4667"/>
                      <a:pt x="48768" y="0"/>
                      <a:pt x="69152" y="0"/>
                    </a:cubicBezTo>
                    <a:cubicBezTo>
                      <a:pt x="92774" y="0"/>
                      <a:pt x="108871" y="7715"/>
                      <a:pt x="117253" y="23051"/>
                    </a:cubicBezTo>
                    <a:cubicBezTo>
                      <a:pt x="121730" y="31433"/>
                      <a:pt x="124016" y="43720"/>
                      <a:pt x="124016" y="59817"/>
                    </a:cubicBezTo>
                    <a:lnTo>
                      <a:pt x="124016" y="133160"/>
                    </a:lnTo>
                    <a:cubicBezTo>
                      <a:pt x="124016" y="140208"/>
                      <a:pt x="124492" y="145066"/>
                      <a:pt x="125444" y="147828"/>
                    </a:cubicBezTo>
                    <a:cubicBezTo>
                      <a:pt x="126968" y="152591"/>
                      <a:pt x="130302" y="154972"/>
                      <a:pt x="135350" y="154972"/>
                    </a:cubicBezTo>
                    <a:cubicBezTo>
                      <a:pt x="138113" y="154972"/>
                      <a:pt x="140494" y="154496"/>
                      <a:pt x="142304" y="153638"/>
                    </a:cubicBezTo>
                    <a:cubicBezTo>
                      <a:pt x="144113" y="152781"/>
                      <a:pt x="147352" y="150686"/>
                      <a:pt x="151829" y="147447"/>
                    </a:cubicBezTo>
                    <a:lnTo>
                      <a:pt x="151829" y="156972"/>
                    </a:lnTo>
                    <a:cubicBezTo>
                      <a:pt x="147923" y="161735"/>
                      <a:pt x="143732" y="165640"/>
                      <a:pt x="139160" y="168688"/>
                    </a:cubicBezTo>
                    <a:cubicBezTo>
                      <a:pt x="132302" y="173355"/>
                      <a:pt x="125349" y="175641"/>
                      <a:pt x="118301" y="175641"/>
                    </a:cubicBezTo>
                    <a:cubicBezTo>
                      <a:pt x="110014" y="175641"/>
                      <a:pt x="104013" y="172974"/>
                      <a:pt x="100298" y="167545"/>
                    </a:cubicBezTo>
                    <a:cubicBezTo>
                      <a:pt x="96584" y="162211"/>
                      <a:pt x="94488" y="155829"/>
                      <a:pt x="94202" y="148400"/>
                    </a:cubicBezTo>
                    <a:cubicBezTo>
                      <a:pt x="84868" y="156401"/>
                      <a:pt x="76962" y="162401"/>
                      <a:pt x="70390" y="166307"/>
                    </a:cubicBezTo>
                    <a:cubicBezTo>
                      <a:pt x="59341" y="172879"/>
                      <a:pt x="48768" y="176213"/>
                      <a:pt x="38767" y="176213"/>
                    </a:cubicBezTo>
                    <a:cubicBezTo>
                      <a:pt x="28766" y="176213"/>
                      <a:pt x="19241" y="172498"/>
                      <a:pt x="11525" y="165164"/>
                    </a:cubicBezTo>
                    <a:cubicBezTo>
                      <a:pt x="3810" y="157829"/>
                      <a:pt x="0" y="148400"/>
                      <a:pt x="0" y="137065"/>
                    </a:cubicBezTo>
                    <a:cubicBezTo>
                      <a:pt x="0" y="119444"/>
                      <a:pt x="8858" y="104680"/>
                      <a:pt x="26480" y="92869"/>
                    </a:cubicBezTo>
                    <a:lnTo>
                      <a:pt x="26480" y="92869"/>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2" name="Freeform: Shape 151">
                <a:extLst>
                  <a:ext uri="{FF2B5EF4-FFF2-40B4-BE49-F238E27FC236}">
                    <a16:creationId xmlns:a16="http://schemas.microsoft.com/office/drawing/2014/main" id="{4121D3E7-0260-4102-8DFA-1925A342064B}"/>
                  </a:ext>
                </a:extLst>
              </p:cNvPr>
              <p:cNvSpPr/>
              <p:nvPr/>
            </p:nvSpPr>
            <p:spPr>
              <a:xfrm>
                <a:off x="5665184" y="3383851"/>
                <a:ext cx="31051" cy="31146"/>
              </a:xfrm>
              <a:custGeom>
                <a:avLst/>
                <a:gdLst>
                  <a:gd name="connsiteX0" fmla="*/ 4477 w 31051"/>
                  <a:gd name="connsiteY0" fmla="*/ 26575 h 31146"/>
                  <a:gd name="connsiteX1" fmla="*/ 0 w 31051"/>
                  <a:gd name="connsiteY1" fmla="*/ 15526 h 31146"/>
                  <a:gd name="connsiteX2" fmla="*/ 4572 w 31051"/>
                  <a:gd name="connsiteY2" fmla="*/ 4572 h 31146"/>
                  <a:gd name="connsiteX3" fmla="*/ 15621 w 31051"/>
                  <a:gd name="connsiteY3" fmla="*/ 0 h 31146"/>
                  <a:gd name="connsiteX4" fmla="*/ 26575 w 31051"/>
                  <a:gd name="connsiteY4" fmla="*/ 4572 h 31146"/>
                  <a:gd name="connsiteX5" fmla="*/ 31051 w 31051"/>
                  <a:gd name="connsiteY5" fmla="*/ 15526 h 31146"/>
                  <a:gd name="connsiteX6" fmla="*/ 26479 w 31051"/>
                  <a:gd name="connsiteY6" fmla="*/ 26575 h 31146"/>
                  <a:gd name="connsiteX7" fmla="*/ 15621 w 31051"/>
                  <a:gd name="connsiteY7" fmla="*/ 31147 h 31146"/>
                  <a:gd name="connsiteX8" fmla="*/ 4572 w 31051"/>
                  <a:gd name="connsiteY8" fmla="*/ 26575 h 31146"/>
                  <a:gd name="connsiteX9" fmla="*/ 4572 w 31051"/>
                  <a:gd name="connsiteY9" fmla="*/ 26575 h 3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51" h="31146">
                    <a:moveTo>
                      <a:pt x="4477" y="26575"/>
                    </a:moveTo>
                    <a:cubicBezTo>
                      <a:pt x="1429" y="23527"/>
                      <a:pt x="0" y="19812"/>
                      <a:pt x="0" y="15526"/>
                    </a:cubicBezTo>
                    <a:cubicBezTo>
                      <a:pt x="0" y="11239"/>
                      <a:pt x="1524" y="7525"/>
                      <a:pt x="4572" y="4572"/>
                    </a:cubicBezTo>
                    <a:cubicBezTo>
                      <a:pt x="7620" y="1524"/>
                      <a:pt x="11240" y="0"/>
                      <a:pt x="15621" y="0"/>
                    </a:cubicBezTo>
                    <a:cubicBezTo>
                      <a:pt x="20003" y="0"/>
                      <a:pt x="23527" y="1524"/>
                      <a:pt x="26575" y="4572"/>
                    </a:cubicBezTo>
                    <a:cubicBezTo>
                      <a:pt x="29527" y="7620"/>
                      <a:pt x="31051" y="11239"/>
                      <a:pt x="31051" y="15526"/>
                    </a:cubicBezTo>
                    <a:cubicBezTo>
                      <a:pt x="31051" y="19812"/>
                      <a:pt x="29527" y="23527"/>
                      <a:pt x="26479" y="26575"/>
                    </a:cubicBezTo>
                    <a:cubicBezTo>
                      <a:pt x="23431" y="29623"/>
                      <a:pt x="19812" y="31147"/>
                      <a:pt x="15621" y="31147"/>
                    </a:cubicBezTo>
                    <a:cubicBezTo>
                      <a:pt x="11430" y="31147"/>
                      <a:pt x="7620" y="29623"/>
                      <a:pt x="4572" y="26575"/>
                    </a:cubicBezTo>
                    <a:lnTo>
                      <a:pt x="4572" y="2657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3" name="Freeform: Shape 152">
                <a:extLst>
                  <a:ext uri="{FF2B5EF4-FFF2-40B4-BE49-F238E27FC236}">
                    <a16:creationId xmlns:a16="http://schemas.microsoft.com/office/drawing/2014/main" id="{6FA1EC3C-C107-47FC-954B-CADC354583AC}"/>
                  </a:ext>
                </a:extLst>
              </p:cNvPr>
              <p:cNvSpPr/>
              <p:nvPr/>
            </p:nvSpPr>
            <p:spPr>
              <a:xfrm>
                <a:off x="5788818" y="3243262"/>
                <a:ext cx="84296" cy="257460"/>
              </a:xfrm>
              <a:custGeom>
                <a:avLst/>
                <a:gdLst>
                  <a:gd name="connsiteX0" fmla="*/ 57531 w 84296"/>
                  <a:gd name="connsiteY0" fmla="*/ 0 h 257460"/>
                  <a:gd name="connsiteX1" fmla="*/ 57531 w 84296"/>
                  <a:gd name="connsiteY1" fmla="*/ 219932 h 257460"/>
                  <a:gd name="connsiteX2" fmla="*/ 59817 w 84296"/>
                  <a:gd name="connsiteY2" fmla="*/ 240602 h 257460"/>
                  <a:gd name="connsiteX3" fmla="*/ 66770 w 84296"/>
                  <a:gd name="connsiteY3" fmla="*/ 248317 h 257460"/>
                  <a:gd name="connsiteX4" fmla="*/ 84296 w 84296"/>
                  <a:gd name="connsiteY4" fmla="*/ 250984 h 257460"/>
                  <a:gd name="connsiteX5" fmla="*/ 84296 w 84296"/>
                  <a:gd name="connsiteY5" fmla="*/ 257461 h 257460"/>
                  <a:gd name="connsiteX6" fmla="*/ 3048 w 84296"/>
                  <a:gd name="connsiteY6" fmla="*/ 257461 h 257460"/>
                  <a:gd name="connsiteX7" fmla="*/ 3048 w 84296"/>
                  <a:gd name="connsiteY7" fmla="*/ 250984 h 257460"/>
                  <a:gd name="connsiteX8" fmla="*/ 18574 w 84296"/>
                  <a:gd name="connsiteY8" fmla="*/ 248603 h 257460"/>
                  <a:gd name="connsiteX9" fmla="*/ 25051 w 84296"/>
                  <a:gd name="connsiteY9" fmla="*/ 240792 h 257460"/>
                  <a:gd name="connsiteX10" fmla="*/ 27432 w 84296"/>
                  <a:gd name="connsiteY10" fmla="*/ 219932 h 257460"/>
                  <a:gd name="connsiteX11" fmla="*/ 27432 w 84296"/>
                  <a:gd name="connsiteY11" fmla="*/ 69342 h 257460"/>
                  <a:gd name="connsiteX12" fmla="*/ 26194 w 84296"/>
                  <a:gd name="connsiteY12" fmla="*/ 34862 h 257460"/>
                  <a:gd name="connsiteX13" fmla="*/ 22098 w 84296"/>
                  <a:gd name="connsiteY13" fmla="*/ 26099 h 257460"/>
                  <a:gd name="connsiteX14" fmla="*/ 14954 w 84296"/>
                  <a:gd name="connsiteY14" fmla="*/ 23717 h 257460"/>
                  <a:gd name="connsiteX15" fmla="*/ 3048 w 84296"/>
                  <a:gd name="connsiteY15" fmla="*/ 26575 h 257460"/>
                  <a:gd name="connsiteX16" fmla="*/ 0 w 84296"/>
                  <a:gd name="connsiteY16" fmla="*/ 20288 h 257460"/>
                  <a:gd name="connsiteX17" fmla="*/ 49435 w 84296"/>
                  <a:gd name="connsiteY17" fmla="*/ 0 h 257460"/>
                  <a:gd name="connsiteX18" fmla="*/ 57531 w 84296"/>
                  <a:gd name="connsiteY18" fmla="*/ 0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96" h="257460">
                    <a:moveTo>
                      <a:pt x="57531" y="0"/>
                    </a:moveTo>
                    <a:lnTo>
                      <a:pt x="57531" y="219932"/>
                    </a:lnTo>
                    <a:cubicBezTo>
                      <a:pt x="57531" y="230315"/>
                      <a:pt x="58293" y="237173"/>
                      <a:pt x="59817" y="240602"/>
                    </a:cubicBezTo>
                    <a:cubicBezTo>
                      <a:pt x="61341" y="243935"/>
                      <a:pt x="63627" y="246507"/>
                      <a:pt x="66770" y="248317"/>
                    </a:cubicBezTo>
                    <a:cubicBezTo>
                      <a:pt x="69914" y="250031"/>
                      <a:pt x="75724" y="250984"/>
                      <a:pt x="84296" y="250984"/>
                    </a:cubicBezTo>
                    <a:lnTo>
                      <a:pt x="84296" y="257461"/>
                    </a:lnTo>
                    <a:lnTo>
                      <a:pt x="3048" y="257461"/>
                    </a:lnTo>
                    <a:lnTo>
                      <a:pt x="3048" y="250984"/>
                    </a:lnTo>
                    <a:cubicBezTo>
                      <a:pt x="10668" y="250984"/>
                      <a:pt x="15811" y="250222"/>
                      <a:pt x="18574" y="248603"/>
                    </a:cubicBezTo>
                    <a:cubicBezTo>
                      <a:pt x="21336" y="247079"/>
                      <a:pt x="23527" y="244412"/>
                      <a:pt x="25051" y="240792"/>
                    </a:cubicBezTo>
                    <a:cubicBezTo>
                      <a:pt x="26575" y="237173"/>
                      <a:pt x="27432" y="230219"/>
                      <a:pt x="27432" y="219932"/>
                    </a:cubicBezTo>
                    <a:lnTo>
                      <a:pt x="27432" y="69342"/>
                    </a:lnTo>
                    <a:cubicBezTo>
                      <a:pt x="27432" y="50673"/>
                      <a:pt x="27051" y="39148"/>
                      <a:pt x="26194" y="34862"/>
                    </a:cubicBezTo>
                    <a:cubicBezTo>
                      <a:pt x="25336" y="30575"/>
                      <a:pt x="24003" y="27623"/>
                      <a:pt x="22098" y="26099"/>
                    </a:cubicBezTo>
                    <a:cubicBezTo>
                      <a:pt x="20193" y="24575"/>
                      <a:pt x="17812" y="23717"/>
                      <a:pt x="14954" y="23717"/>
                    </a:cubicBezTo>
                    <a:cubicBezTo>
                      <a:pt x="11811" y="23717"/>
                      <a:pt x="7810" y="24670"/>
                      <a:pt x="3048" y="26575"/>
                    </a:cubicBezTo>
                    <a:lnTo>
                      <a:pt x="0" y="20288"/>
                    </a:lnTo>
                    <a:lnTo>
                      <a:pt x="49435" y="0"/>
                    </a:lnTo>
                    <a:lnTo>
                      <a:pt x="57531"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4" name="Freeform: Shape 153">
                <a:extLst>
                  <a:ext uri="{FF2B5EF4-FFF2-40B4-BE49-F238E27FC236}">
                    <a16:creationId xmlns:a16="http://schemas.microsoft.com/office/drawing/2014/main" id="{125F3241-31B7-427F-90CA-6F79F3B39F64}"/>
                  </a:ext>
                </a:extLst>
              </p:cNvPr>
              <p:cNvSpPr/>
              <p:nvPr/>
            </p:nvSpPr>
            <p:spPr>
              <a:xfrm>
                <a:off x="5965793" y="3243262"/>
                <a:ext cx="83153" cy="257460"/>
              </a:xfrm>
              <a:custGeom>
                <a:avLst/>
                <a:gdLst>
                  <a:gd name="connsiteX0" fmla="*/ 42958 w 83153"/>
                  <a:gd name="connsiteY0" fmla="*/ 0 h 257460"/>
                  <a:gd name="connsiteX1" fmla="*/ 55912 w 83153"/>
                  <a:gd name="connsiteY1" fmla="*/ 5334 h 257460"/>
                  <a:gd name="connsiteX2" fmla="*/ 61246 w 83153"/>
                  <a:gd name="connsiteY2" fmla="*/ 18288 h 257460"/>
                  <a:gd name="connsiteX3" fmla="*/ 55912 w 83153"/>
                  <a:gd name="connsiteY3" fmla="*/ 31337 h 257460"/>
                  <a:gd name="connsiteX4" fmla="*/ 42958 w 83153"/>
                  <a:gd name="connsiteY4" fmla="*/ 36767 h 257460"/>
                  <a:gd name="connsiteX5" fmla="*/ 29908 w 83153"/>
                  <a:gd name="connsiteY5" fmla="*/ 31337 h 257460"/>
                  <a:gd name="connsiteX6" fmla="*/ 24479 w 83153"/>
                  <a:gd name="connsiteY6" fmla="*/ 18288 h 257460"/>
                  <a:gd name="connsiteX7" fmla="*/ 29813 w 83153"/>
                  <a:gd name="connsiteY7" fmla="*/ 5334 h 257460"/>
                  <a:gd name="connsiteX8" fmla="*/ 42958 w 83153"/>
                  <a:gd name="connsiteY8" fmla="*/ 0 h 257460"/>
                  <a:gd name="connsiteX9" fmla="*/ 42958 w 83153"/>
                  <a:gd name="connsiteY9" fmla="*/ 0 h 257460"/>
                  <a:gd name="connsiteX10" fmla="*/ 58007 w 83153"/>
                  <a:gd name="connsiteY10" fmla="*/ 86678 h 257460"/>
                  <a:gd name="connsiteX11" fmla="*/ 58007 w 83153"/>
                  <a:gd name="connsiteY11" fmla="*/ 219932 h 257460"/>
                  <a:gd name="connsiteX12" fmla="*/ 60293 w 83153"/>
                  <a:gd name="connsiteY12" fmla="*/ 240697 h 257460"/>
                  <a:gd name="connsiteX13" fmla="*/ 66961 w 83153"/>
                  <a:gd name="connsiteY13" fmla="*/ 248412 h 257460"/>
                  <a:gd name="connsiteX14" fmla="*/ 83153 w 83153"/>
                  <a:gd name="connsiteY14" fmla="*/ 250984 h 257460"/>
                  <a:gd name="connsiteX15" fmla="*/ 83153 w 83153"/>
                  <a:gd name="connsiteY15" fmla="*/ 257461 h 257460"/>
                  <a:gd name="connsiteX16" fmla="*/ 2572 w 83153"/>
                  <a:gd name="connsiteY16" fmla="*/ 257461 h 257460"/>
                  <a:gd name="connsiteX17" fmla="*/ 2572 w 83153"/>
                  <a:gd name="connsiteY17" fmla="*/ 250984 h 257460"/>
                  <a:gd name="connsiteX18" fmla="*/ 18859 w 83153"/>
                  <a:gd name="connsiteY18" fmla="*/ 248603 h 257460"/>
                  <a:gd name="connsiteX19" fmla="*/ 25432 w 83153"/>
                  <a:gd name="connsiteY19" fmla="*/ 240792 h 257460"/>
                  <a:gd name="connsiteX20" fmla="*/ 27908 w 83153"/>
                  <a:gd name="connsiteY20" fmla="*/ 219932 h 257460"/>
                  <a:gd name="connsiteX21" fmla="*/ 27908 w 83153"/>
                  <a:gd name="connsiteY21" fmla="*/ 156019 h 257460"/>
                  <a:gd name="connsiteX22" fmla="*/ 26289 w 83153"/>
                  <a:gd name="connsiteY22" fmla="*/ 121063 h 257460"/>
                  <a:gd name="connsiteX23" fmla="*/ 22288 w 83153"/>
                  <a:gd name="connsiteY23" fmla="*/ 112967 h 257460"/>
                  <a:gd name="connsiteX24" fmla="*/ 14859 w 83153"/>
                  <a:gd name="connsiteY24" fmla="*/ 110681 h 257460"/>
                  <a:gd name="connsiteX25" fmla="*/ 2572 w 83153"/>
                  <a:gd name="connsiteY25" fmla="*/ 113348 h 257460"/>
                  <a:gd name="connsiteX26" fmla="*/ 0 w 83153"/>
                  <a:gd name="connsiteY26" fmla="*/ 106871 h 257460"/>
                  <a:gd name="connsiteX27" fmla="*/ 50006 w 83153"/>
                  <a:gd name="connsiteY27" fmla="*/ 86582 h 257460"/>
                  <a:gd name="connsiteX28" fmla="*/ 58007 w 83153"/>
                  <a:gd name="connsiteY28" fmla="*/ 86582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153" h="257460">
                    <a:moveTo>
                      <a:pt x="42958" y="0"/>
                    </a:moveTo>
                    <a:cubicBezTo>
                      <a:pt x="48006" y="0"/>
                      <a:pt x="52292" y="1810"/>
                      <a:pt x="55912" y="5334"/>
                    </a:cubicBezTo>
                    <a:cubicBezTo>
                      <a:pt x="59436" y="8858"/>
                      <a:pt x="61246" y="13240"/>
                      <a:pt x="61246" y="18288"/>
                    </a:cubicBezTo>
                    <a:cubicBezTo>
                      <a:pt x="61246" y="23336"/>
                      <a:pt x="59436" y="27718"/>
                      <a:pt x="55912" y="31337"/>
                    </a:cubicBezTo>
                    <a:cubicBezTo>
                      <a:pt x="52388" y="34957"/>
                      <a:pt x="48101" y="36767"/>
                      <a:pt x="42958" y="36767"/>
                    </a:cubicBezTo>
                    <a:cubicBezTo>
                      <a:pt x="37814" y="36767"/>
                      <a:pt x="33528" y="34957"/>
                      <a:pt x="29908" y="31337"/>
                    </a:cubicBezTo>
                    <a:cubicBezTo>
                      <a:pt x="26289" y="27718"/>
                      <a:pt x="24479" y="23336"/>
                      <a:pt x="24479" y="18288"/>
                    </a:cubicBezTo>
                    <a:cubicBezTo>
                      <a:pt x="24479" y="13240"/>
                      <a:pt x="26194" y="8858"/>
                      <a:pt x="29813" y="5334"/>
                    </a:cubicBezTo>
                    <a:cubicBezTo>
                      <a:pt x="33338" y="1810"/>
                      <a:pt x="37719" y="0"/>
                      <a:pt x="42958" y="0"/>
                    </a:cubicBezTo>
                    <a:lnTo>
                      <a:pt x="42958" y="0"/>
                    </a:lnTo>
                    <a:close/>
                    <a:moveTo>
                      <a:pt x="58007" y="86678"/>
                    </a:moveTo>
                    <a:lnTo>
                      <a:pt x="58007" y="219932"/>
                    </a:lnTo>
                    <a:cubicBezTo>
                      <a:pt x="58007" y="230315"/>
                      <a:pt x="58769" y="237173"/>
                      <a:pt x="60293" y="240697"/>
                    </a:cubicBezTo>
                    <a:cubicBezTo>
                      <a:pt x="61817" y="244126"/>
                      <a:pt x="64008" y="246698"/>
                      <a:pt x="66961" y="248412"/>
                    </a:cubicBezTo>
                    <a:cubicBezTo>
                      <a:pt x="69913" y="250127"/>
                      <a:pt x="75343" y="250984"/>
                      <a:pt x="83153" y="250984"/>
                    </a:cubicBezTo>
                    <a:lnTo>
                      <a:pt x="83153" y="257461"/>
                    </a:lnTo>
                    <a:lnTo>
                      <a:pt x="2572" y="257461"/>
                    </a:lnTo>
                    <a:lnTo>
                      <a:pt x="2572" y="250984"/>
                    </a:lnTo>
                    <a:cubicBezTo>
                      <a:pt x="10668" y="250984"/>
                      <a:pt x="16097" y="250222"/>
                      <a:pt x="18859" y="248603"/>
                    </a:cubicBezTo>
                    <a:cubicBezTo>
                      <a:pt x="21622" y="247079"/>
                      <a:pt x="23813" y="244412"/>
                      <a:pt x="25432" y="240792"/>
                    </a:cubicBezTo>
                    <a:cubicBezTo>
                      <a:pt x="27051" y="237173"/>
                      <a:pt x="27908" y="230219"/>
                      <a:pt x="27908" y="219932"/>
                    </a:cubicBezTo>
                    <a:lnTo>
                      <a:pt x="27908" y="156019"/>
                    </a:lnTo>
                    <a:cubicBezTo>
                      <a:pt x="27908" y="138017"/>
                      <a:pt x="27337" y="126397"/>
                      <a:pt x="26289" y="121063"/>
                    </a:cubicBezTo>
                    <a:cubicBezTo>
                      <a:pt x="25432" y="117253"/>
                      <a:pt x="24098" y="114491"/>
                      <a:pt x="22288" y="112967"/>
                    </a:cubicBezTo>
                    <a:cubicBezTo>
                      <a:pt x="20479" y="111443"/>
                      <a:pt x="18002" y="110681"/>
                      <a:pt x="14859" y="110681"/>
                    </a:cubicBezTo>
                    <a:cubicBezTo>
                      <a:pt x="11430" y="110681"/>
                      <a:pt x="7334" y="111633"/>
                      <a:pt x="2572" y="113348"/>
                    </a:cubicBezTo>
                    <a:lnTo>
                      <a:pt x="0" y="106871"/>
                    </a:lnTo>
                    <a:lnTo>
                      <a:pt x="50006" y="86582"/>
                    </a:lnTo>
                    <a:lnTo>
                      <a:pt x="58007" y="86582"/>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5" name="Freeform: Shape 154">
                <a:extLst>
                  <a:ext uri="{FF2B5EF4-FFF2-40B4-BE49-F238E27FC236}">
                    <a16:creationId xmlns:a16="http://schemas.microsoft.com/office/drawing/2014/main" id="{0A4E550B-0070-4C42-8DB3-38A347627381}"/>
                  </a:ext>
                </a:extLst>
              </p:cNvPr>
              <p:cNvSpPr/>
              <p:nvPr/>
            </p:nvSpPr>
            <p:spPr>
              <a:xfrm>
                <a:off x="6143053" y="3329939"/>
                <a:ext cx="167735" cy="250697"/>
              </a:xfrm>
              <a:custGeom>
                <a:avLst/>
                <a:gdLst>
                  <a:gd name="connsiteX0" fmla="*/ 76486 w 167735"/>
                  <a:gd name="connsiteY0" fmla="*/ 8763 h 250697"/>
                  <a:gd name="connsiteX1" fmla="*/ 54007 w 167735"/>
                  <a:gd name="connsiteY1" fmla="*/ 19431 h 250697"/>
                  <a:gd name="connsiteX2" fmla="*/ 44958 w 167735"/>
                  <a:gd name="connsiteY2" fmla="*/ 52197 h 250697"/>
                  <a:gd name="connsiteX3" fmla="*/ 57245 w 167735"/>
                  <a:gd name="connsiteY3" fmla="*/ 96583 h 250697"/>
                  <a:gd name="connsiteX4" fmla="*/ 81153 w 167735"/>
                  <a:gd name="connsiteY4" fmla="*/ 108490 h 250697"/>
                  <a:gd name="connsiteX5" fmla="*/ 103822 w 167735"/>
                  <a:gd name="connsiteY5" fmla="*/ 98203 h 250697"/>
                  <a:gd name="connsiteX6" fmla="*/ 112681 w 167735"/>
                  <a:gd name="connsiteY6" fmla="*/ 65818 h 250697"/>
                  <a:gd name="connsiteX7" fmla="*/ 100203 w 167735"/>
                  <a:gd name="connsiteY7" fmla="*/ 20764 h 250697"/>
                  <a:gd name="connsiteX8" fmla="*/ 76486 w 167735"/>
                  <a:gd name="connsiteY8" fmla="*/ 8858 h 250697"/>
                  <a:gd name="connsiteX9" fmla="*/ 76486 w 167735"/>
                  <a:gd name="connsiteY9" fmla="*/ 8858 h 250697"/>
                  <a:gd name="connsiteX10" fmla="*/ 43148 w 167735"/>
                  <a:gd name="connsiteY10" fmla="*/ 170783 h 250697"/>
                  <a:gd name="connsiteX11" fmla="*/ 30290 w 167735"/>
                  <a:gd name="connsiteY11" fmla="*/ 188024 h 250697"/>
                  <a:gd name="connsiteX12" fmla="*/ 25908 w 167735"/>
                  <a:gd name="connsiteY12" fmla="*/ 202692 h 250697"/>
                  <a:gd name="connsiteX13" fmla="*/ 36385 w 167735"/>
                  <a:gd name="connsiteY13" fmla="*/ 217932 h 250697"/>
                  <a:gd name="connsiteX14" fmla="*/ 88678 w 167735"/>
                  <a:gd name="connsiteY14" fmla="*/ 229172 h 250697"/>
                  <a:gd name="connsiteX15" fmla="*/ 136779 w 167735"/>
                  <a:gd name="connsiteY15" fmla="*/ 217646 h 250697"/>
                  <a:gd name="connsiteX16" fmla="*/ 152209 w 167735"/>
                  <a:gd name="connsiteY16" fmla="*/ 193072 h 250697"/>
                  <a:gd name="connsiteX17" fmla="*/ 142970 w 167735"/>
                  <a:gd name="connsiteY17" fmla="*/ 179641 h 250697"/>
                  <a:gd name="connsiteX18" fmla="*/ 105727 w 167735"/>
                  <a:gd name="connsiteY18" fmla="*/ 174974 h 250697"/>
                  <a:gd name="connsiteX19" fmla="*/ 43053 w 167735"/>
                  <a:gd name="connsiteY19" fmla="*/ 170783 h 250697"/>
                  <a:gd name="connsiteX20" fmla="*/ 43053 w 167735"/>
                  <a:gd name="connsiteY20" fmla="*/ 170783 h 250697"/>
                  <a:gd name="connsiteX21" fmla="*/ 44958 w 167735"/>
                  <a:gd name="connsiteY21" fmla="*/ 110300 h 250697"/>
                  <a:gd name="connsiteX22" fmla="*/ 21622 w 167735"/>
                  <a:gd name="connsiteY22" fmla="*/ 89535 h 250697"/>
                  <a:gd name="connsiteX23" fmla="*/ 13525 w 167735"/>
                  <a:gd name="connsiteY23" fmla="*/ 60103 h 250697"/>
                  <a:gd name="connsiteX24" fmla="*/ 32099 w 167735"/>
                  <a:gd name="connsiteY24" fmla="*/ 17716 h 250697"/>
                  <a:gd name="connsiteX25" fmla="*/ 79629 w 167735"/>
                  <a:gd name="connsiteY25" fmla="*/ 0 h 250697"/>
                  <a:gd name="connsiteX26" fmla="*/ 120682 w 167735"/>
                  <a:gd name="connsiteY26" fmla="*/ 11620 h 250697"/>
                  <a:gd name="connsiteX27" fmla="*/ 155829 w 167735"/>
                  <a:gd name="connsiteY27" fmla="*/ 11620 h 250697"/>
                  <a:gd name="connsiteX28" fmla="*/ 164878 w 167735"/>
                  <a:gd name="connsiteY28" fmla="*/ 12097 h 250697"/>
                  <a:gd name="connsiteX29" fmla="*/ 166688 w 167735"/>
                  <a:gd name="connsiteY29" fmla="*/ 13621 h 250697"/>
                  <a:gd name="connsiteX30" fmla="*/ 167735 w 167735"/>
                  <a:gd name="connsiteY30" fmla="*/ 19431 h 250697"/>
                  <a:gd name="connsiteX31" fmla="*/ 166783 w 167735"/>
                  <a:gd name="connsiteY31" fmla="*/ 25908 h 250697"/>
                  <a:gd name="connsiteX32" fmla="*/ 164878 w 167735"/>
                  <a:gd name="connsiteY32" fmla="*/ 27337 h 250697"/>
                  <a:gd name="connsiteX33" fmla="*/ 155734 w 167735"/>
                  <a:gd name="connsiteY33" fmla="*/ 27908 h 250697"/>
                  <a:gd name="connsiteX34" fmla="*/ 134207 w 167735"/>
                  <a:gd name="connsiteY34" fmla="*/ 27908 h 250697"/>
                  <a:gd name="connsiteX35" fmla="*/ 144304 w 167735"/>
                  <a:gd name="connsiteY35" fmla="*/ 61246 h 250697"/>
                  <a:gd name="connsiteX36" fmla="*/ 126587 w 167735"/>
                  <a:gd name="connsiteY36" fmla="*/ 100870 h 250697"/>
                  <a:gd name="connsiteX37" fmla="*/ 78962 w 167735"/>
                  <a:gd name="connsiteY37" fmla="*/ 117348 h 250697"/>
                  <a:gd name="connsiteX38" fmla="*/ 53816 w 167735"/>
                  <a:gd name="connsiteY38" fmla="*/ 113729 h 250697"/>
                  <a:gd name="connsiteX39" fmla="*/ 43053 w 167735"/>
                  <a:gd name="connsiteY39" fmla="*/ 125730 h 250697"/>
                  <a:gd name="connsiteX40" fmla="*/ 40291 w 167735"/>
                  <a:gd name="connsiteY40" fmla="*/ 134493 h 250697"/>
                  <a:gd name="connsiteX41" fmla="*/ 43244 w 167735"/>
                  <a:gd name="connsiteY41" fmla="*/ 140494 h 250697"/>
                  <a:gd name="connsiteX42" fmla="*/ 54959 w 167735"/>
                  <a:gd name="connsiteY42" fmla="*/ 144685 h 250697"/>
                  <a:gd name="connsiteX43" fmla="*/ 80296 w 167735"/>
                  <a:gd name="connsiteY43" fmla="*/ 145923 h 250697"/>
                  <a:gd name="connsiteX44" fmla="*/ 128588 w 167735"/>
                  <a:gd name="connsiteY44" fmla="*/ 148495 h 250697"/>
                  <a:gd name="connsiteX45" fmla="*/ 155448 w 167735"/>
                  <a:gd name="connsiteY45" fmla="*/ 160973 h 250697"/>
                  <a:gd name="connsiteX46" fmla="*/ 165449 w 167735"/>
                  <a:gd name="connsiteY46" fmla="*/ 185928 h 250697"/>
                  <a:gd name="connsiteX47" fmla="*/ 146209 w 167735"/>
                  <a:gd name="connsiteY47" fmla="*/ 224314 h 250697"/>
                  <a:gd name="connsiteX48" fmla="*/ 72580 w 167735"/>
                  <a:gd name="connsiteY48" fmla="*/ 250698 h 250697"/>
                  <a:gd name="connsiteX49" fmla="*/ 13525 w 167735"/>
                  <a:gd name="connsiteY49" fmla="*/ 234982 h 250697"/>
                  <a:gd name="connsiteX50" fmla="*/ 0 w 167735"/>
                  <a:gd name="connsiteY50" fmla="*/ 216122 h 250697"/>
                  <a:gd name="connsiteX51" fmla="*/ 2000 w 167735"/>
                  <a:gd name="connsiteY51" fmla="*/ 207454 h 250697"/>
                  <a:gd name="connsiteX52" fmla="*/ 14669 w 167735"/>
                  <a:gd name="connsiteY52" fmla="*/ 188786 h 250697"/>
                  <a:gd name="connsiteX53" fmla="*/ 33147 w 167735"/>
                  <a:gd name="connsiteY53" fmla="*/ 169259 h 250697"/>
                  <a:gd name="connsiteX54" fmla="*/ 19812 w 167735"/>
                  <a:gd name="connsiteY54" fmla="*/ 159258 h 250697"/>
                  <a:gd name="connsiteX55" fmla="*/ 15907 w 167735"/>
                  <a:gd name="connsiteY55" fmla="*/ 149162 h 250697"/>
                  <a:gd name="connsiteX56" fmla="*/ 21050 w 167735"/>
                  <a:gd name="connsiteY56" fmla="*/ 134303 h 250697"/>
                  <a:gd name="connsiteX57" fmla="*/ 44863 w 167735"/>
                  <a:gd name="connsiteY57" fmla="*/ 110204 h 250697"/>
                  <a:gd name="connsiteX58" fmla="*/ 44863 w 167735"/>
                  <a:gd name="connsiteY58" fmla="*/ 110204 h 25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67735" h="250697">
                    <a:moveTo>
                      <a:pt x="76486" y="8763"/>
                    </a:moveTo>
                    <a:cubicBezTo>
                      <a:pt x="67532" y="8763"/>
                      <a:pt x="60103" y="12287"/>
                      <a:pt x="54007" y="19431"/>
                    </a:cubicBezTo>
                    <a:cubicBezTo>
                      <a:pt x="48006" y="26575"/>
                      <a:pt x="44958" y="37433"/>
                      <a:pt x="44958" y="52197"/>
                    </a:cubicBezTo>
                    <a:cubicBezTo>
                      <a:pt x="44958" y="71247"/>
                      <a:pt x="49054" y="86011"/>
                      <a:pt x="57245" y="96583"/>
                    </a:cubicBezTo>
                    <a:cubicBezTo>
                      <a:pt x="63532" y="104584"/>
                      <a:pt x="71438" y="108490"/>
                      <a:pt x="81153" y="108490"/>
                    </a:cubicBezTo>
                    <a:cubicBezTo>
                      <a:pt x="90869" y="108490"/>
                      <a:pt x="97822" y="105061"/>
                      <a:pt x="103822" y="98203"/>
                    </a:cubicBezTo>
                    <a:cubicBezTo>
                      <a:pt x="109728" y="91345"/>
                      <a:pt x="112681" y="80486"/>
                      <a:pt x="112681" y="65818"/>
                    </a:cubicBezTo>
                    <a:cubicBezTo>
                      <a:pt x="112681" y="46672"/>
                      <a:pt x="108490" y="31623"/>
                      <a:pt x="100203" y="20764"/>
                    </a:cubicBezTo>
                    <a:cubicBezTo>
                      <a:pt x="94012" y="12763"/>
                      <a:pt x="86106" y="8858"/>
                      <a:pt x="76486" y="8858"/>
                    </a:cubicBezTo>
                    <a:lnTo>
                      <a:pt x="76486" y="8858"/>
                    </a:lnTo>
                    <a:close/>
                    <a:moveTo>
                      <a:pt x="43148" y="170783"/>
                    </a:moveTo>
                    <a:cubicBezTo>
                      <a:pt x="37433" y="176975"/>
                      <a:pt x="33242" y="182690"/>
                      <a:pt x="30290" y="188024"/>
                    </a:cubicBezTo>
                    <a:cubicBezTo>
                      <a:pt x="27432" y="193358"/>
                      <a:pt x="25908" y="198215"/>
                      <a:pt x="25908" y="202692"/>
                    </a:cubicBezTo>
                    <a:cubicBezTo>
                      <a:pt x="25908" y="208502"/>
                      <a:pt x="29432" y="213551"/>
                      <a:pt x="36385" y="217932"/>
                    </a:cubicBezTo>
                    <a:cubicBezTo>
                      <a:pt x="48482" y="225457"/>
                      <a:pt x="65913" y="229172"/>
                      <a:pt x="88678" y="229172"/>
                    </a:cubicBezTo>
                    <a:cubicBezTo>
                      <a:pt x="111442" y="229172"/>
                      <a:pt x="126397" y="225361"/>
                      <a:pt x="136779" y="217646"/>
                    </a:cubicBezTo>
                    <a:cubicBezTo>
                      <a:pt x="147066" y="210026"/>
                      <a:pt x="152209" y="201835"/>
                      <a:pt x="152209" y="193072"/>
                    </a:cubicBezTo>
                    <a:cubicBezTo>
                      <a:pt x="152209" y="186785"/>
                      <a:pt x="149161" y="182309"/>
                      <a:pt x="142970" y="179641"/>
                    </a:cubicBezTo>
                    <a:cubicBezTo>
                      <a:pt x="136684" y="176975"/>
                      <a:pt x="124301" y="175451"/>
                      <a:pt x="105727" y="174974"/>
                    </a:cubicBezTo>
                    <a:cubicBezTo>
                      <a:pt x="78581" y="174212"/>
                      <a:pt x="57721" y="172879"/>
                      <a:pt x="43053" y="170783"/>
                    </a:cubicBezTo>
                    <a:lnTo>
                      <a:pt x="43053" y="170783"/>
                    </a:lnTo>
                    <a:close/>
                    <a:moveTo>
                      <a:pt x="44958" y="110300"/>
                    </a:moveTo>
                    <a:cubicBezTo>
                      <a:pt x="34861" y="105346"/>
                      <a:pt x="27051" y="98393"/>
                      <a:pt x="21622" y="89535"/>
                    </a:cubicBezTo>
                    <a:cubicBezTo>
                      <a:pt x="16192" y="80677"/>
                      <a:pt x="13525" y="70866"/>
                      <a:pt x="13525" y="60103"/>
                    </a:cubicBezTo>
                    <a:cubicBezTo>
                      <a:pt x="13525" y="43720"/>
                      <a:pt x="19717" y="29527"/>
                      <a:pt x="32099" y="17716"/>
                    </a:cubicBezTo>
                    <a:cubicBezTo>
                      <a:pt x="44482" y="5905"/>
                      <a:pt x="60293" y="0"/>
                      <a:pt x="79629" y="0"/>
                    </a:cubicBezTo>
                    <a:cubicBezTo>
                      <a:pt x="95440" y="0"/>
                      <a:pt x="109156" y="3905"/>
                      <a:pt x="120682" y="11620"/>
                    </a:cubicBezTo>
                    <a:lnTo>
                      <a:pt x="155829" y="11620"/>
                    </a:lnTo>
                    <a:cubicBezTo>
                      <a:pt x="160972" y="11620"/>
                      <a:pt x="164021" y="11811"/>
                      <a:pt x="164878" y="12097"/>
                    </a:cubicBezTo>
                    <a:cubicBezTo>
                      <a:pt x="165735" y="12382"/>
                      <a:pt x="166306" y="12954"/>
                      <a:pt x="166688" y="13621"/>
                    </a:cubicBezTo>
                    <a:cubicBezTo>
                      <a:pt x="167449" y="14669"/>
                      <a:pt x="167735" y="16669"/>
                      <a:pt x="167735" y="19431"/>
                    </a:cubicBezTo>
                    <a:cubicBezTo>
                      <a:pt x="167735" y="22574"/>
                      <a:pt x="167449" y="24765"/>
                      <a:pt x="166783" y="25908"/>
                    </a:cubicBezTo>
                    <a:cubicBezTo>
                      <a:pt x="166402" y="26479"/>
                      <a:pt x="165830" y="26956"/>
                      <a:pt x="164878" y="27337"/>
                    </a:cubicBezTo>
                    <a:cubicBezTo>
                      <a:pt x="164021" y="27718"/>
                      <a:pt x="160877" y="27908"/>
                      <a:pt x="155734" y="27908"/>
                    </a:cubicBezTo>
                    <a:lnTo>
                      <a:pt x="134207" y="27908"/>
                    </a:lnTo>
                    <a:cubicBezTo>
                      <a:pt x="140970" y="36576"/>
                      <a:pt x="144304" y="47720"/>
                      <a:pt x="144304" y="61246"/>
                    </a:cubicBezTo>
                    <a:cubicBezTo>
                      <a:pt x="144304" y="76676"/>
                      <a:pt x="138398" y="89916"/>
                      <a:pt x="126587" y="100870"/>
                    </a:cubicBezTo>
                    <a:cubicBezTo>
                      <a:pt x="114776" y="111824"/>
                      <a:pt x="98869" y="117348"/>
                      <a:pt x="78962" y="117348"/>
                    </a:cubicBezTo>
                    <a:cubicBezTo>
                      <a:pt x="70771" y="117348"/>
                      <a:pt x="62389" y="116110"/>
                      <a:pt x="53816" y="113729"/>
                    </a:cubicBezTo>
                    <a:cubicBezTo>
                      <a:pt x="48482" y="118301"/>
                      <a:pt x="44958" y="122301"/>
                      <a:pt x="43053" y="125730"/>
                    </a:cubicBezTo>
                    <a:cubicBezTo>
                      <a:pt x="41148" y="129159"/>
                      <a:pt x="40291" y="132112"/>
                      <a:pt x="40291" y="134493"/>
                    </a:cubicBezTo>
                    <a:cubicBezTo>
                      <a:pt x="40291" y="136589"/>
                      <a:pt x="41243" y="138493"/>
                      <a:pt x="43244" y="140494"/>
                    </a:cubicBezTo>
                    <a:cubicBezTo>
                      <a:pt x="45244" y="142399"/>
                      <a:pt x="49149" y="143828"/>
                      <a:pt x="54959" y="144685"/>
                    </a:cubicBezTo>
                    <a:cubicBezTo>
                      <a:pt x="58293" y="145161"/>
                      <a:pt x="66770" y="145637"/>
                      <a:pt x="80296" y="145923"/>
                    </a:cubicBezTo>
                    <a:cubicBezTo>
                      <a:pt x="105156" y="146494"/>
                      <a:pt x="121253" y="147352"/>
                      <a:pt x="128588" y="148495"/>
                    </a:cubicBezTo>
                    <a:cubicBezTo>
                      <a:pt x="139827" y="150019"/>
                      <a:pt x="148780" y="154210"/>
                      <a:pt x="155448" y="160973"/>
                    </a:cubicBezTo>
                    <a:cubicBezTo>
                      <a:pt x="162115" y="167735"/>
                      <a:pt x="165449" y="176022"/>
                      <a:pt x="165449" y="185928"/>
                    </a:cubicBezTo>
                    <a:cubicBezTo>
                      <a:pt x="165449" y="199549"/>
                      <a:pt x="159067" y="212312"/>
                      <a:pt x="146209" y="224314"/>
                    </a:cubicBezTo>
                    <a:cubicBezTo>
                      <a:pt x="127349" y="241935"/>
                      <a:pt x="102870" y="250698"/>
                      <a:pt x="72580" y="250698"/>
                    </a:cubicBezTo>
                    <a:cubicBezTo>
                      <a:pt x="49244" y="250698"/>
                      <a:pt x="29623" y="245459"/>
                      <a:pt x="13525" y="234982"/>
                    </a:cubicBezTo>
                    <a:cubicBezTo>
                      <a:pt x="4477" y="228981"/>
                      <a:pt x="0" y="222694"/>
                      <a:pt x="0" y="216122"/>
                    </a:cubicBezTo>
                    <a:cubicBezTo>
                      <a:pt x="0" y="213265"/>
                      <a:pt x="667" y="210312"/>
                      <a:pt x="2000" y="207454"/>
                    </a:cubicBezTo>
                    <a:cubicBezTo>
                      <a:pt x="4096" y="202978"/>
                      <a:pt x="8287" y="196787"/>
                      <a:pt x="14669" y="188786"/>
                    </a:cubicBezTo>
                    <a:cubicBezTo>
                      <a:pt x="15526" y="187738"/>
                      <a:pt x="21622" y="181166"/>
                      <a:pt x="33147" y="169259"/>
                    </a:cubicBezTo>
                    <a:cubicBezTo>
                      <a:pt x="26860" y="165544"/>
                      <a:pt x="22384" y="162211"/>
                      <a:pt x="19812" y="159258"/>
                    </a:cubicBezTo>
                    <a:cubicBezTo>
                      <a:pt x="17240" y="156305"/>
                      <a:pt x="15907" y="152972"/>
                      <a:pt x="15907" y="149162"/>
                    </a:cubicBezTo>
                    <a:cubicBezTo>
                      <a:pt x="15907" y="144971"/>
                      <a:pt x="17621" y="140017"/>
                      <a:pt x="21050" y="134303"/>
                    </a:cubicBezTo>
                    <a:cubicBezTo>
                      <a:pt x="24479" y="128588"/>
                      <a:pt x="32385" y="120587"/>
                      <a:pt x="44863" y="110204"/>
                    </a:cubicBezTo>
                    <a:lnTo>
                      <a:pt x="44863" y="11020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6" name="Freeform: Shape 155">
                <a:extLst>
                  <a:ext uri="{FF2B5EF4-FFF2-40B4-BE49-F238E27FC236}">
                    <a16:creationId xmlns:a16="http://schemas.microsoft.com/office/drawing/2014/main" id="{257E0B7C-E1BB-42F5-B71C-5E43F759A0F4}"/>
                  </a:ext>
                </a:extLst>
              </p:cNvPr>
              <p:cNvSpPr/>
              <p:nvPr/>
            </p:nvSpPr>
            <p:spPr>
              <a:xfrm>
                <a:off x="6394132" y="3243262"/>
                <a:ext cx="180593" cy="257460"/>
              </a:xfrm>
              <a:custGeom>
                <a:avLst/>
                <a:gdLst>
                  <a:gd name="connsiteX0" fmla="*/ 57721 w 180593"/>
                  <a:gd name="connsiteY0" fmla="*/ 0 h 257460"/>
                  <a:gd name="connsiteX1" fmla="*/ 57721 w 180593"/>
                  <a:gd name="connsiteY1" fmla="*/ 121253 h 257460"/>
                  <a:gd name="connsiteX2" fmla="*/ 89630 w 180593"/>
                  <a:gd name="connsiteY2" fmla="*/ 92964 h 257460"/>
                  <a:gd name="connsiteX3" fmla="*/ 113157 w 180593"/>
                  <a:gd name="connsiteY3" fmla="*/ 86678 h 257460"/>
                  <a:gd name="connsiteX4" fmla="*/ 137446 w 180593"/>
                  <a:gd name="connsiteY4" fmla="*/ 94488 h 257460"/>
                  <a:gd name="connsiteX5" fmla="*/ 152495 w 180593"/>
                  <a:gd name="connsiteY5" fmla="*/ 118967 h 257460"/>
                  <a:gd name="connsiteX6" fmla="*/ 155924 w 180593"/>
                  <a:gd name="connsiteY6" fmla="*/ 161354 h 257460"/>
                  <a:gd name="connsiteX7" fmla="*/ 155924 w 180593"/>
                  <a:gd name="connsiteY7" fmla="*/ 220028 h 257460"/>
                  <a:gd name="connsiteX8" fmla="*/ 158496 w 180593"/>
                  <a:gd name="connsiteY8" fmla="*/ 241554 h 257460"/>
                  <a:gd name="connsiteX9" fmla="*/ 164687 w 180593"/>
                  <a:gd name="connsiteY9" fmla="*/ 248412 h 257460"/>
                  <a:gd name="connsiteX10" fmla="*/ 180594 w 180593"/>
                  <a:gd name="connsiteY10" fmla="*/ 250984 h 257460"/>
                  <a:gd name="connsiteX11" fmla="*/ 180594 w 180593"/>
                  <a:gd name="connsiteY11" fmla="*/ 257461 h 257460"/>
                  <a:gd name="connsiteX12" fmla="*/ 99155 w 180593"/>
                  <a:gd name="connsiteY12" fmla="*/ 257461 h 257460"/>
                  <a:gd name="connsiteX13" fmla="*/ 99155 w 180593"/>
                  <a:gd name="connsiteY13" fmla="*/ 250984 h 257460"/>
                  <a:gd name="connsiteX14" fmla="*/ 102965 w 180593"/>
                  <a:gd name="connsiteY14" fmla="*/ 250984 h 257460"/>
                  <a:gd name="connsiteX15" fmla="*/ 119063 w 180593"/>
                  <a:gd name="connsiteY15" fmla="*/ 247460 h 257460"/>
                  <a:gd name="connsiteX16" fmla="*/ 125444 w 180593"/>
                  <a:gd name="connsiteY16" fmla="*/ 237077 h 257460"/>
                  <a:gd name="connsiteX17" fmla="*/ 126016 w 180593"/>
                  <a:gd name="connsiteY17" fmla="*/ 220028 h 257460"/>
                  <a:gd name="connsiteX18" fmla="*/ 126016 w 180593"/>
                  <a:gd name="connsiteY18" fmla="*/ 161354 h 257460"/>
                  <a:gd name="connsiteX19" fmla="*/ 123158 w 180593"/>
                  <a:gd name="connsiteY19" fmla="*/ 125730 h 257460"/>
                  <a:gd name="connsiteX20" fmla="*/ 114205 w 180593"/>
                  <a:gd name="connsiteY20" fmla="*/ 112967 h 257460"/>
                  <a:gd name="connsiteX21" fmla="*/ 99346 w 180593"/>
                  <a:gd name="connsiteY21" fmla="*/ 108680 h 257460"/>
                  <a:gd name="connsiteX22" fmla="*/ 80867 w 180593"/>
                  <a:gd name="connsiteY22" fmla="*/ 113348 h 257460"/>
                  <a:gd name="connsiteX23" fmla="*/ 57912 w 180593"/>
                  <a:gd name="connsiteY23" fmla="*/ 132398 h 257460"/>
                  <a:gd name="connsiteX24" fmla="*/ 57912 w 180593"/>
                  <a:gd name="connsiteY24" fmla="*/ 220028 h 257460"/>
                  <a:gd name="connsiteX25" fmla="*/ 59817 w 180593"/>
                  <a:gd name="connsiteY25" fmla="*/ 241173 h 257460"/>
                  <a:gd name="connsiteX26" fmla="*/ 66865 w 180593"/>
                  <a:gd name="connsiteY26" fmla="*/ 248126 h 257460"/>
                  <a:gd name="connsiteX27" fmla="*/ 84677 w 180593"/>
                  <a:gd name="connsiteY27" fmla="*/ 250889 h 257460"/>
                  <a:gd name="connsiteX28" fmla="*/ 84677 w 180593"/>
                  <a:gd name="connsiteY28" fmla="*/ 257366 h 257460"/>
                  <a:gd name="connsiteX29" fmla="*/ 2476 w 180593"/>
                  <a:gd name="connsiteY29" fmla="*/ 257366 h 257460"/>
                  <a:gd name="connsiteX30" fmla="*/ 2476 w 180593"/>
                  <a:gd name="connsiteY30" fmla="*/ 250889 h 257460"/>
                  <a:gd name="connsiteX31" fmla="*/ 19907 w 180593"/>
                  <a:gd name="connsiteY31" fmla="*/ 247460 h 257460"/>
                  <a:gd name="connsiteX32" fmla="*/ 25717 w 180593"/>
                  <a:gd name="connsiteY32" fmla="*/ 240602 h 257460"/>
                  <a:gd name="connsiteX33" fmla="*/ 27908 w 180593"/>
                  <a:gd name="connsiteY33" fmla="*/ 219932 h 257460"/>
                  <a:gd name="connsiteX34" fmla="*/ 27908 w 180593"/>
                  <a:gd name="connsiteY34" fmla="*/ 69914 h 257460"/>
                  <a:gd name="connsiteX35" fmla="*/ 26575 w 180593"/>
                  <a:gd name="connsiteY35" fmla="*/ 34957 h 257460"/>
                  <a:gd name="connsiteX36" fmla="*/ 22384 w 180593"/>
                  <a:gd name="connsiteY36" fmla="*/ 26099 h 257460"/>
                  <a:gd name="connsiteX37" fmla="*/ 14859 w 180593"/>
                  <a:gd name="connsiteY37" fmla="*/ 23717 h 257460"/>
                  <a:gd name="connsiteX38" fmla="*/ 2572 w 180593"/>
                  <a:gd name="connsiteY38" fmla="*/ 26575 h 257460"/>
                  <a:gd name="connsiteX39" fmla="*/ 0 w 180593"/>
                  <a:gd name="connsiteY39" fmla="*/ 20288 h 257460"/>
                  <a:gd name="connsiteX40" fmla="*/ 49435 w 180593"/>
                  <a:gd name="connsiteY40" fmla="*/ 0 h 257460"/>
                  <a:gd name="connsiteX41" fmla="*/ 57721 w 180593"/>
                  <a:gd name="connsiteY41" fmla="*/ 0 h 25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0593" h="257460">
                    <a:moveTo>
                      <a:pt x="57721" y="0"/>
                    </a:moveTo>
                    <a:lnTo>
                      <a:pt x="57721" y="121253"/>
                    </a:lnTo>
                    <a:cubicBezTo>
                      <a:pt x="71152" y="106490"/>
                      <a:pt x="81724" y="97060"/>
                      <a:pt x="89630" y="92964"/>
                    </a:cubicBezTo>
                    <a:cubicBezTo>
                      <a:pt x="97441" y="88773"/>
                      <a:pt x="105346" y="86678"/>
                      <a:pt x="113157" y="86678"/>
                    </a:cubicBezTo>
                    <a:cubicBezTo>
                      <a:pt x="122587" y="86678"/>
                      <a:pt x="130683" y="89249"/>
                      <a:pt x="137446" y="94488"/>
                    </a:cubicBezTo>
                    <a:cubicBezTo>
                      <a:pt x="144209" y="99632"/>
                      <a:pt x="149257" y="107823"/>
                      <a:pt x="152495" y="118967"/>
                    </a:cubicBezTo>
                    <a:cubicBezTo>
                      <a:pt x="154781" y="126683"/>
                      <a:pt x="155924" y="140780"/>
                      <a:pt x="155924" y="161354"/>
                    </a:cubicBezTo>
                    <a:lnTo>
                      <a:pt x="155924" y="220028"/>
                    </a:lnTo>
                    <a:cubicBezTo>
                      <a:pt x="155924" y="230505"/>
                      <a:pt x="156781" y="237744"/>
                      <a:pt x="158496" y="241554"/>
                    </a:cubicBezTo>
                    <a:cubicBezTo>
                      <a:pt x="159734" y="244412"/>
                      <a:pt x="161734" y="246698"/>
                      <a:pt x="164687" y="248412"/>
                    </a:cubicBezTo>
                    <a:cubicBezTo>
                      <a:pt x="167545" y="250127"/>
                      <a:pt x="172879" y="250984"/>
                      <a:pt x="180594" y="250984"/>
                    </a:cubicBezTo>
                    <a:lnTo>
                      <a:pt x="180594" y="257461"/>
                    </a:lnTo>
                    <a:lnTo>
                      <a:pt x="99155" y="257461"/>
                    </a:lnTo>
                    <a:lnTo>
                      <a:pt x="99155" y="250984"/>
                    </a:lnTo>
                    <a:lnTo>
                      <a:pt x="102965" y="250984"/>
                    </a:lnTo>
                    <a:cubicBezTo>
                      <a:pt x="110680" y="250984"/>
                      <a:pt x="116015" y="249841"/>
                      <a:pt x="119063" y="247460"/>
                    </a:cubicBezTo>
                    <a:cubicBezTo>
                      <a:pt x="122111" y="245078"/>
                      <a:pt x="124206" y="241649"/>
                      <a:pt x="125444" y="237077"/>
                    </a:cubicBezTo>
                    <a:cubicBezTo>
                      <a:pt x="125825" y="235172"/>
                      <a:pt x="126016" y="229457"/>
                      <a:pt x="126016" y="220028"/>
                    </a:cubicBezTo>
                    <a:lnTo>
                      <a:pt x="126016" y="161354"/>
                    </a:lnTo>
                    <a:cubicBezTo>
                      <a:pt x="126016" y="143256"/>
                      <a:pt x="125063" y="131350"/>
                      <a:pt x="123158" y="125730"/>
                    </a:cubicBezTo>
                    <a:cubicBezTo>
                      <a:pt x="121253" y="120015"/>
                      <a:pt x="118300" y="115824"/>
                      <a:pt x="114205" y="112967"/>
                    </a:cubicBezTo>
                    <a:cubicBezTo>
                      <a:pt x="110109" y="110109"/>
                      <a:pt x="105156" y="108680"/>
                      <a:pt x="99346" y="108680"/>
                    </a:cubicBezTo>
                    <a:cubicBezTo>
                      <a:pt x="93536" y="108680"/>
                      <a:pt x="87249" y="110204"/>
                      <a:pt x="80867" y="113348"/>
                    </a:cubicBezTo>
                    <a:cubicBezTo>
                      <a:pt x="74486" y="116491"/>
                      <a:pt x="66770" y="122873"/>
                      <a:pt x="57912" y="132398"/>
                    </a:cubicBezTo>
                    <a:lnTo>
                      <a:pt x="57912" y="220028"/>
                    </a:lnTo>
                    <a:cubicBezTo>
                      <a:pt x="57912" y="231362"/>
                      <a:pt x="58579" y="238411"/>
                      <a:pt x="59817" y="241173"/>
                    </a:cubicBezTo>
                    <a:cubicBezTo>
                      <a:pt x="61055" y="243935"/>
                      <a:pt x="63436" y="246317"/>
                      <a:pt x="66865" y="248126"/>
                    </a:cubicBezTo>
                    <a:cubicBezTo>
                      <a:pt x="70294" y="250031"/>
                      <a:pt x="76200" y="250889"/>
                      <a:pt x="84677" y="250889"/>
                    </a:cubicBezTo>
                    <a:lnTo>
                      <a:pt x="84677" y="257366"/>
                    </a:lnTo>
                    <a:lnTo>
                      <a:pt x="2476" y="257366"/>
                    </a:lnTo>
                    <a:lnTo>
                      <a:pt x="2476" y="250889"/>
                    </a:lnTo>
                    <a:cubicBezTo>
                      <a:pt x="9811" y="250889"/>
                      <a:pt x="15621" y="249746"/>
                      <a:pt x="19907" y="247460"/>
                    </a:cubicBezTo>
                    <a:cubicBezTo>
                      <a:pt x="22288" y="246221"/>
                      <a:pt x="24193" y="243935"/>
                      <a:pt x="25717" y="240602"/>
                    </a:cubicBezTo>
                    <a:cubicBezTo>
                      <a:pt x="27146" y="237268"/>
                      <a:pt x="27908" y="230315"/>
                      <a:pt x="27908" y="219932"/>
                    </a:cubicBezTo>
                    <a:lnTo>
                      <a:pt x="27908" y="69914"/>
                    </a:lnTo>
                    <a:cubicBezTo>
                      <a:pt x="27908" y="50959"/>
                      <a:pt x="27432" y="39338"/>
                      <a:pt x="26575" y="34957"/>
                    </a:cubicBezTo>
                    <a:cubicBezTo>
                      <a:pt x="25622" y="30575"/>
                      <a:pt x="24289" y="27623"/>
                      <a:pt x="22384" y="26099"/>
                    </a:cubicBezTo>
                    <a:cubicBezTo>
                      <a:pt x="20479" y="24575"/>
                      <a:pt x="18002" y="23717"/>
                      <a:pt x="14859" y="23717"/>
                    </a:cubicBezTo>
                    <a:cubicBezTo>
                      <a:pt x="12287" y="23717"/>
                      <a:pt x="8192" y="24670"/>
                      <a:pt x="2572" y="26575"/>
                    </a:cubicBezTo>
                    <a:lnTo>
                      <a:pt x="0" y="20288"/>
                    </a:lnTo>
                    <a:lnTo>
                      <a:pt x="49435" y="0"/>
                    </a:lnTo>
                    <a:lnTo>
                      <a:pt x="57721"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57" name="Freeform: Shape 156">
                <a:extLst>
                  <a:ext uri="{FF2B5EF4-FFF2-40B4-BE49-F238E27FC236}">
                    <a16:creationId xmlns:a16="http://schemas.microsoft.com/office/drawing/2014/main" id="{FCFC1DE3-DC6D-4502-9D79-DBB23970A714}"/>
                  </a:ext>
                </a:extLst>
              </p:cNvPr>
              <p:cNvSpPr/>
              <p:nvPr/>
            </p:nvSpPr>
            <p:spPr>
              <a:xfrm>
                <a:off x="6654736" y="3280314"/>
                <a:ext cx="99917" cy="223075"/>
              </a:xfrm>
              <a:custGeom>
                <a:avLst/>
                <a:gdLst>
                  <a:gd name="connsiteX0" fmla="*/ 56102 w 99917"/>
                  <a:gd name="connsiteY0" fmla="*/ 95 h 223075"/>
                  <a:gd name="connsiteX1" fmla="*/ 56102 w 99917"/>
                  <a:gd name="connsiteY1" fmla="*/ 54578 h 223075"/>
                  <a:gd name="connsiteX2" fmla="*/ 94869 w 99917"/>
                  <a:gd name="connsiteY2" fmla="*/ 54578 h 223075"/>
                  <a:gd name="connsiteX3" fmla="*/ 94869 w 99917"/>
                  <a:gd name="connsiteY3" fmla="*/ 67247 h 223075"/>
                  <a:gd name="connsiteX4" fmla="*/ 56102 w 99917"/>
                  <a:gd name="connsiteY4" fmla="*/ 67247 h 223075"/>
                  <a:gd name="connsiteX5" fmla="*/ 56102 w 99917"/>
                  <a:gd name="connsiteY5" fmla="*/ 174784 h 223075"/>
                  <a:gd name="connsiteX6" fmla="*/ 60674 w 99917"/>
                  <a:gd name="connsiteY6" fmla="*/ 196501 h 223075"/>
                  <a:gd name="connsiteX7" fmla="*/ 72580 w 99917"/>
                  <a:gd name="connsiteY7" fmla="*/ 202121 h 223075"/>
                  <a:gd name="connsiteX8" fmla="*/ 84201 w 99917"/>
                  <a:gd name="connsiteY8" fmla="*/ 198406 h 223075"/>
                  <a:gd name="connsiteX9" fmla="*/ 92869 w 99917"/>
                  <a:gd name="connsiteY9" fmla="*/ 187452 h 223075"/>
                  <a:gd name="connsiteX10" fmla="*/ 99917 w 99917"/>
                  <a:gd name="connsiteY10" fmla="*/ 187452 h 223075"/>
                  <a:gd name="connsiteX11" fmla="*/ 82010 w 99917"/>
                  <a:gd name="connsiteY11" fmla="*/ 214122 h 223075"/>
                  <a:gd name="connsiteX12" fmla="*/ 58102 w 99917"/>
                  <a:gd name="connsiteY12" fmla="*/ 223076 h 223075"/>
                  <a:gd name="connsiteX13" fmla="*/ 41815 w 99917"/>
                  <a:gd name="connsiteY13" fmla="*/ 218504 h 223075"/>
                  <a:gd name="connsiteX14" fmla="*/ 30099 w 99917"/>
                  <a:gd name="connsiteY14" fmla="*/ 205264 h 223075"/>
                  <a:gd name="connsiteX15" fmla="*/ 26289 w 99917"/>
                  <a:gd name="connsiteY15" fmla="*/ 178784 h 223075"/>
                  <a:gd name="connsiteX16" fmla="*/ 26289 w 99917"/>
                  <a:gd name="connsiteY16" fmla="*/ 67247 h 223075"/>
                  <a:gd name="connsiteX17" fmla="*/ 0 w 99917"/>
                  <a:gd name="connsiteY17" fmla="*/ 67247 h 223075"/>
                  <a:gd name="connsiteX18" fmla="*/ 0 w 99917"/>
                  <a:gd name="connsiteY18" fmla="*/ 61246 h 223075"/>
                  <a:gd name="connsiteX19" fmla="*/ 20383 w 99917"/>
                  <a:gd name="connsiteY19" fmla="*/ 47720 h 223075"/>
                  <a:gd name="connsiteX20" fmla="*/ 38957 w 99917"/>
                  <a:gd name="connsiteY20" fmla="*/ 25146 h 223075"/>
                  <a:gd name="connsiteX21" fmla="*/ 50578 w 99917"/>
                  <a:gd name="connsiteY21" fmla="*/ 0 h 223075"/>
                  <a:gd name="connsiteX22" fmla="*/ 56197 w 99917"/>
                  <a:gd name="connsiteY22" fmla="*/ 0 h 223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917" h="223075">
                    <a:moveTo>
                      <a:pt x="56102" y="95"/>
                    </a:moveTo>
                    <a:lnTo>
                      <a:pt x="56102" y="54578"/>
                    </a:lnTo>
                    <a:lnTo>
                      <a:pt x="94869" y="54578"/>
                    </a:lnTo>
                    <a:lnTo>
                      <a:pt x="94869" y="67247"/>
                    </a:lnTo>
                    <a:lnTo>
                      <a:pt x="56102" y="67247"/>
                    </a:lnTo>
                    <a:lnTo>
                      <a:pt x="56102" y="174784"/>
                    </a:lnTo>
                    <a:cubicBezTo>
                      <a:pt x="56102" y="185547"/>
                      <a:pt x="57626" y="192786"/>
                      <a:pt x="60674" y="196501"/>
                    </a:cubicBezTo>
                    <a:cubicBezTo>
                      <a:pt x="63722" y="200216"/>
                      <a:pt x="67723" y="202121"/>
                      <a:pt x="72580" y="202121"/>
                    </a:cubicBezTo>
                    <a:cubicBezTo>
                      <a:pt x="76581" y="202121"/>
                      <a:pt x="80391" y="200882"/>
                      <a:pt x="84201" y="198406"/>
                    </a:cubicBezTo>
                    <a:cubicBezTo>
                      <a:pt x="87916" y="195929"/>
                      <a:pt x="90868" y="192310"/>
                      <a:pt x="92869" y="187452"/>
                    </a:cubicBezTo>
                    <a:lnTo>
                      <a:pt x="99917" y="187452"/>
                    </a:lnTo>
                    <a:cubicBezTo>
                      <a:pt x="95726" y="199263"/>
                      <a:pt x="89725" y="208217"/>
                      <a:pt x="82010" y="214122"/>
                    </a:cubicBezTo>
                    <a:cubicBezTo>
                      <a:pt x="74295" y="220123"/>
                      <a:pt x="66294" y="223076"/>
                      <a:pt x="58102" y="223076"/>
                    </a:cubicBezTo>
                    <a:cubicBezTo>
                      <a:pt x="52578" y="223076"/>
                      <a:pt x="47149" y="221552"/>
                      <a:pt x="41815" y="218504"/>
                    </a:cubicBezTo>
                    <a:cubicBezTo>
                      <a:pt x="36481" y="215456"/>
                      <a:pt x="32575" y="210979"/>
                      <a:pt x="30099" y="205264"/>
                    </a:cubicBezTo>
                    <a:cubicBezTo>
                      <a:pt x="27527" y="199549"/>
                      <a:pt x="26289" y="190691"/>
                      <a:pt x="26289" y="178784"/>
                    </a:cubicBezTo>
                    <a:lnTo>
                      <a:pt x="26289" y="67247"/>
                    </a:lnTo>
                    <a:lnTo>
                      <a:pt x="0" y="67247"/>
                    </a:lnTo>
                    <a:lnTo>
                      <a:pt x="0" y="61246"/>
                    </a:lnTo>
                    <a:cubicBezTo>
                      <a:pt x="6667" y="58579"/>
                      <a:pt x="13430" y="54102"/>
                      <a:pt x="20383" y="47720"/>
                    </a:cubicBezTo>
                    <a:cubicBezTo>
                      <a:pt x="27337" y="41434"/>
                      <a:pt x="33528" y="33909"/>
                      <a:pt x="38957" y="25146"/>
                    </a:cubicBezTo>
                    <a:cubicBezTo>
                      <a:pt x="41719" y="20574"/>
                      <a:pt x="45625" y="12192"/>
                      <a:pt x="50578" y="0"/>
                    </a:cubicBezTo>
                    <a:lnTo>
                      <a:pt x="56197"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1" name="Group 50">
              <a:extLst>
                <a:ext uri="{FF2B5EF4-FFF2-40B4-BE49-F238E27FC236}">
                  <a16:creationId xmlns:a16="http://schemas.microsoft.com/office/drawing/2014/main" id="{E2014DC1-C5A5-47C7-B310-2619724F997B}"/>
                </a:ext>
              </a:extLst>
            </p:cNvPr>
            <p:cNvGrpSpPr/>
            <p:nvPr userDrawn="1"/>
          </p:nvGrpSpPr>
          <p:grpSpPr>
            <a:xfrm>
              <a:off x="3339353" y="1738529"/>
              <a:ext cx="1266584" cy="200917"/>
              <a:chOff x="5763984" y="3934024"/>
              <a:chExt cx="2131027" cy="338042"/>
            </a:xfrm>
          </p:grpSpPr>
          <p:sp>
            <p:nvSpPr>
              <p:cNvPr id="147" name="Freeform: Shape 146">
                <a:extLst>
                  <a:ext uri="{FF2B5EF4-FFF2-40B4-BE49-F238E27FC236}">
                    <a16:creationId xmlns:a16="http://schemas.microsoft.com/office/drawing/2014/main" id="{43D723C0-5ABC-47DA-8838-DA45AE90DCF4}"/>
                  </a:ext>
                </a:extLst>
              </p:cNvPr>
              <p:cNvSpPr/>
              <p:nvPr/>
            </p:nvSpPr>
            <p:spPr>
              <a:xfrm>
                <a:off x="5845327" y="4117094"/>
                <a:ext cx="133921" cy="149828"/>
              </a:xfrm>
              <a:custGeom>
                <a:avLst/>
                <a:gdLst>
                  <a:gd name="connsiteX0" fmla="*/ 67151 w 133921"/>
                  <a:gd name="connsiteY0" fmla="*/ 0 h 149828"/>
                  <a:gd name="connsiteX1" fmla="*/ 0 w 133921"/>
                  <a:gd name="connsiteY1" fmla="*/ 149828 h 149828"/>
                  <a:gd name="connsiteX2" fmla="*/ 133922 w 133921"/>
                  <a:gd name="connsiteY2" fmla="*/ 149828 h 149828"/>
                  <a:gd name="connsiteX3" fmla="*/ 67151 w 133921"/>
                  <a:gd name="connsiteY3" fmla="*/ 0 h 149828"/>
                </a:gdLst>
                <a:ahLst/>
                <a:cxnLst>
                  <a:cxn ang="0">
                    <a:pos x="connsiteX0" y="connsiteY0"/>
                  </a:cxn>
                  <a:cxn ang="0">
                    <a:pos x="connsiteX1" y="connsiteY1"/>
                  </a:cxn>
                  <a:cxn ang="0">
                    <a:pos x="connsiteX2" y="connsiteY2"/>
                  </a:cxn>
                  <a:cxn ang="0">
                    <a:pos x="connsiteX3" y="connsiteY3"/>
                  </a:cxn>
                </a:cxnLst>
                <a:rect l="l" t="t" r="r" b="b"/>
                <a:pathLst>
                  <a:path w="133921" h="149828">
                    <a:moveTo>
                      <a:pt x="67151" y="0"/>
                    </a:moveTo>
                    <a:lnTo>
                      <a:pt x="0" y="149828"/>
                    </a:lnTo>
                    <a:lnTo>
                      <a:pt x="133922" y="149828"/>
                    </a:lnTo>
                    <a:lnTo>
                      <a:pt x="67151"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8" name="Freeform: Shape 147">
                <a:extLst>
                  <a:ext uri="{FF2B5EF4-FFF2-40B4-BE49-F238E27FC236}">
                    <a16:creationId xmlns:a16="http://schemas.microsoft.com/office/drawing/2014/main" id="{FCD6E7DB-33ED-46C8-822B-3E70BD0A2E9F}"/>
                  </a:ext>
                </a:extLst>
              </p:cNvPr>
              <p:cNvSpPr/>
              <p:nvPr/>
            </p:nvSpPr>
            <p:spPr>
              <a:xfrm>
                <a:off x="5763984" y="3934024"/>
                <a:ext cx="2057400" cy="338042"/>
              </a:xfrm>
              <a:custGeom>
                <a:avLst/>
                <a:gdLst>
                  <a:gd name="connsiteX0" fmla="*/ 535305 w 2057400"/>
                  <a:gd name="connsiteY0" fmla="*/ 337947 h 338042"/>
                  <a:gd name="connsiteX1" fmla="*/ 476536 w 2057400"/>
                  <a:gd name="connsiteY1" fmla="*/ 326231 h 338042"/>
                  <a:gd name="connsiteX2" fmla="*/ 429959 w 2057400"/>
                  <a:gd name="connsiteY2" fmla="*/ 294132 h 338042"/>
                  <a:gd name="connsiteX3" fmla="*/ 399098 w 2057400"/>
                  <a:gd name="connsiteY3" fmla="*/ 246031 h 338042"/>
                  <a:gd name="connsiteX4" fmla="*/ 387953 w 2057400"/>
                  <a:gd name="connsiteY4" fmla="*/ 186881 h 338042"/>
                  <a:gd name="connsiteX5" fmla="*/ 387953 w 2057400"/>
                  <a:gd name="connsiteY5" fmla="*/ 186023 h 338042"/>
                  <a:gd name="connsiteX6" fmla="*/ 399098 w 2057400"/>
                  <a:gd name="connsiteY6" fmla="*/ 127254 h 338042"/>
                  <a:gd name="connsiteX7" fmla="*/ 429959 w 2057400"/>
                  <a:gd name="connsiteY7" fmla="*/ 78772 h 338042"/>
                  <a:gd name="connsiteX8" fmla="*/ 477012 w 2057400"/>
                  <a:gd name="connsiteY8" fmla="*/ 46006 h 338042"/>
                  <a:gd name="connsiteX9" fmla="*/ 536639 w 2057400"/>
                  <a:gd name="connsiteY9" fmla="*/ 34004 h 338042"/>
                  <a:gd name="connsiteX10" fmla="*/ 572929 w 2057400"/>
                  <a:gd name="connsiteY10" fmla="*/ 37338 h 338042"/>
                  <a:gd name="connsiteX11" fmla="*/ 602933 w 2057400"/>
                  <a:gd name="connsiteY11" fmla="*/ 46768 h 338042"/>
                  <a:gd name="connsiteX12" fmla="*/ 628555 w 2057400"/>
                  <a:gd name="connsiteY12" fmla="*/ 61436 h 338042"/>
                  <a:gd name="connsiteX13" fmla="*/ 651224 w 2057400"/>
                  <a:gd name="connsiteY13" fmla="*/ 80582 h 338042"/>
                  <a:gd name="connsiteX14" fmla="*/ 628555 w 2057400"/>
                  <a:gd name="connsiteY14" fmla="*/ 104966 h 338042"/>
                  <a:gd name="connsiteX15" fmla="*/ 588074 w 2057400"/>
                  <a:gd name="connsiteY15" fmla="*/ 76010 h 338042"/>
                  <a:gd name="connsiteX16" fmla="*/ 536258 w 2057400"/>
                  <a:gd name="connsiteY16" fmla="*/ 64675 h 338042"/>
                  <a:gd name="connsiteX17" fmla="*/ 491109 w 2057400"/>
                  <a:gd name="connsiteY17" fmla="*/ 73914 h 338042"/>
                  <a:gd name="connsiteX18" fmla="*/ 455009 w 2057400"/>
                  <a:gd name="connsiteY18" fmla="*/ 99536 h 338042"/>
                  <a:gd name="connsiteX19" fmla="*/ 431101 w 2057400"/>
                  <a:gd name="connsiteY19" fmla="*/ 137922 h 338042"/>
                  <a:gd name="connsiteX20" fmla="*/ 422529 w 2057400"/>
                  <a:gd name="connsiteY20" fmla="*/ 185166 h 338042"/>
                  <a:gd name="connsiteX21" fmla="*/ 422529 w 2057400"/>
                  <a:gd name="connsiteY21" fmla="*/ 186023 h 338042"/>
                  <a:gd name="connsiteX22" fmla="*/ 431101 w 2057400"/>
                  <a:gd name="connsiteY22" fmla="*/ 233648 h 338042"/>
                  <a:gd name="connsiteX23" fmla="*/ 455009 w 2057400"/>
                  <a:gd name="connsiteY23" fmla="*/ 272034 h 338042"/>
                  <a:gd name="connsiteX24" fmla="*/ 491109 w 2057400"/>
                  <a:gd name="connsiteY24" fmla="*/ 297847 h 338042"/>
                  <a:gd name="connsiteX25" fmla="*/ 536258 w 2057400"/>
                  <a:gd name="connsiteY25" fmla="*/ 307276 h 338042"/>
                  <a:gd name="connsiteX26" fmla="*/ 588264 w 2057400"/>
                  <a:gd name="connsiteY26" fmla="*/ 296132 h 338042"/>
                  <a:gd name="connsiteX27" fmla="*/ 631127 w 2057400"/>
                  <a:gd name="connsiteY27" fmla="*/ 264890 h 338042"/>
                  <a:gd name="connsiteX28" fmla="*/ 652939 w 2057400"/>
                  <a:gd name="connsiteY28" fmla="*/ 286322 h 338042"/>
                  <a:gd name="connsiteX29" fmla="*/ 629222 w 2057400"/>
                  <a:gd name="connsiteY29" fmla="*/ 307562 h 338042"/>
                  <a:gd name="connsiteX30" fmla="*/ 602742 w 2057400"/>
                  <a:gd name="connsiteY30" fmla="*/ 323755 h 338042"/>
                  <a:gd name="connsiteX31" fmla="*/ 572072 w 2057400"/>
                  <a:gd name="connsiteY31" fmla="*/ 334232 h 338042"/>
                  <a:gd name="connsiteX32" fmla="*/ 535305 w 2057400"/>
                  <a:gd name="connsiteY32" fmla="*/ 338042 h 338042"/>
                  <a:gd name="connsiteX33" fmla="*/ 887635 w 2057400"/>
                  <a:gd name="connsiteY33" fmla="*/ 337566 h 338042"/>
                  <a:gd name="connsiteX34" fmla="*/ 837914 w 2057400"/>
                  <a:gd name="connsiteY34" fmla="*/ 329375 h 338042"/>
                  <a:gd name="connsiteX35" fmla="*/ 799338 w 2057400"/>
                  <a:gd name="connsiteY35" fmla="*/ 304991 h 338042"/>
                  <a:gd name="connsiteX36" fmla="*/ 774383 w 2057400"/>
                  <a:gd name="connsiteY36" fmla="*/ 264890 h 338042"/>
                  <a:gd name="connsiteX37" fmla="*/ 765524 w 2057400"/>
                  <a:gd name="connsiteY37" fmla="*/ 209931 h 338042"/>
                  <a:gd name="connsiteX38" fmla="*/ 765524 w 2057400"/>
                  <a:gd name="connsiteY38" fmla="*/ 39053 h 338042"/>
                  <a:gd name="connsiteX39" fmla="*/ 798671 w 2057400"/>
                  <a:gd name="connsiteY39" fmla="*/ 39053 h 338042"/>
                  <a:gd name="connsiteX40" fmla="*/ 798671 w 2057400"/>
                  <a:gd name="connsiteY40" fmla="*/ 207836 h 338042"/>
                  <a:gd name="connsiteX41" fmla="*/ 822388 w 2057400"/>
                  <a:gd name="connsiteY41" fmla="*/ 281273 h 338042"/>
                  <a:gd name="connsiteX42" fmla="*/ 888492 w 2057400"/>
                  <a:gd name="connsiteY42" fmla="*/ 306896 h 338042"/>
                  <a:gd name="connsiteX43" fmla="*/ 953167 w 2057400"/>
                  <a:gd name="connsiteY43" fmla="*/ 282512 h 338042"/>
                  <a:gd name="connsiteX44" fmla="*/ 977075 w 2057400"/>
                  <a:gd name="connsiteY44" fmla="*/ 209931 h 338042"/>
                  <a:gd name="connsiteX45" fmla="*/ 977075 w 2057400"/>
                  <a:gd name="connsiteY45" fmla="*/ 39053 h 338042"/>
                  <a:gd name="connsiteX46" fmla="*/ 1010222 w 2057400"/>
                  <a:gd name="connsiteY46" fmla="*/ 39053 h 338042"/>
                  <a:gd name="connsiteX47" fmla="*/ 1010222 w 2057400"/>
                  <a:gd name="connsiteY47" fmla="*/ 207359 h 338042"/>
                  <a:gd name="connsiteX48" fmla="*/ 1001363 w 2057400"/>
                  <a:gd name="connsiteY48" fmla="*/ 263652 h 338042"/>
                  <a:gd name="connsiteX49" fmla="*/ 976408 w 2057400"/>
                  <a:gd name="connsiteY49" fmla="*/ 304324 h 338042"/>
                  <a:gd name="connsiteX50" fmla="*/ 937832 w 2057400"/>
                  <a:gd name="connsiteY50" fmla="*/ 329089 h 338042"/>
                  <a:gd name="connsiteX51" fmla="*/ 887635 w 2057400"/>
                  <a:gd name="connsiteY51" fmla="*/ 337471 h 338042"/>
                  <a:gd name="connsiteX52" fmla="*/ 1122902 w 2057400"/>
                  <a:gd name="connsiteY52" fmla="*/ 39053 h 338042"/>
                  <a:gd name="connsiteX53" fmla="*/ 1156049 w 2057400"/>
                  <a:gd name="connsiteY53" fmla="*/ 39053 h 338042"/>
                  <a:gd name="connsiteX54" fmla="*/ 1156049 w 2057400"/>
                  <a:gd name="connsiteY54" fmla="*/ 302228 h 338042"/>
                  <a:gd name="connsiteX55" fmla="*/ 1321403 w 2057400"/>
                  <a:gd name="connsiteY55" fmla="*/ 302228 h 338042"/>
                  <a:gd name="connsiteX56" fmla="*/ 1321403 w 2057400"/>
                  <a:gd name="connsiteY56" fmla="*/ 332899 h 338042"/>
                  <a:gd name="connsiteX57" fmla="*/ 1122807 w 2057400"/>
                  <a:gd name="connsiteY57" fmla="*/ 332899 h 338042"/>
                  <a:gd name="connsiteX58" fmla="*/ 1122807 w 2057400"/>
                  <a:gd name="connsiteY58" fmla="*/ 39053 h 338042"/>
                  <a:gd name="connsiteX59" fmla="*/ 1556290 w 2057400"/>
                  <a:gd name="connsiteY59" fmla="*/ 337566 h 338042"/>
                  <a:gd name="connsiteX60" fmla="*/ 1506569 w 2057400"/>
                  <a:gd name="connsiteY60" fmla="*/ 329375 h 338042"/>
                  <a:gd name="connsiteX61" fmla="*/ 1467993 w 2057400"/>
                  <a:gd name="connsiteY61" fmla="*/ 304991 h 338042"/>
                  <a:gd name="connsiteX62" fmla="*/ 1443038 w 2057400"/>
                  <a:gd name="connsiteY62" fmla="*/ 264890 h 338042"/>
                  <a:gd name="connsiteX63" fmla="*/ 1434179 w 2057400"/>
                  <a:gd name="connsiteY63" fmla="*/ 209931 h 338042"/>
                  <a:gd name="connsiteX64" fmla="*/ 1434179 w 2057400"/>
                  <a:gd name="connsiteY64" fmla="*/ 39053 h 338042"/>
                  <a:gd name="connsiteX65" fmla="*/ 1467326 w 2057400"/>
                  <a:gd name="connsiteY65" fmla="*/ 39053 h 338042"/>
                  <a:gd name="connsiteX66" fmla="*/ 1467326 w 2057400"/>
                  <a:gd name="connsiteY66" fmla="*/ 207836 h 338042"/>
                  <a:gd name="connsiteX67" fmla="*/ 1491043 w 2057400"/>
                  <a:gd name="connsiteY67" fmla="*/ 281273 h 338042"/>
                  <a:gd name="connsiteX68" fmla="*/ 1557147 w 2057400"/>
                  <a:gd name="connsiteY68" fmla="*/ 306896 h 338042"/>
                  <a:gd name="connsiteX69" fmla="*/ 1621822 w 2057400"/>
                  <a:gd name="connsiteY69" fmla="*/ 282512 h 338042"/>
                  <a:gd name="connsiteX70" fmla="*/ 1645730 w 2057400"/>
                  <a:gd name="connsiteY70" fmla="*/ 209931 h 338042"/>
                  <a:gd name="connsiteX71" fmla="*/ 1645730 w 2057400"/>
                  <a:gd name="connsiteY71" fmla="*/ 39053 h 338042"/>
                  <a:gd name="connsiteX72" fmla="*/ 1678877 w 2057400"/>
                  <a:gd name="connsiteY72" fmla="*/ 39053 h 338042"/>
                  <a:gd name="connsiteX73" fmla="*/ 1678877 w 2057400"/>
                  <a:gd name="connsiteY73" fmla="*/ 207359 h 338042"/>
                  <a:gd name="connsiteX74" fmla="*/ 1670018 w 2057400"/>
                  <a:gd name="connsiteY74" fmla="*/ 263652 h 338042"/>
                  <a:gd name="connsiteX75" fmla="*/ 1645063 w 2057400"/>
                  <a:gd name="connsiteY75" fmla="*/ 304324 h 338042"/>
                  <a:gd name="connsiteX76" fmla="*/ 1606487 w 2057400"/>
                  <a:gd name="connsiteY76" fmla="*/ 329089 h 338042"/>
                  <a:gd name="connsiteX77" fmla="*/ 1556290 w 2057400"/>
                  <a:gd name="connsiteY77" fmla="*/ 337471 h 338042"/>
                  <a:gd name="connsiteX78" fmla="*/ 1904429 w 2057400"/>
                  <a:gd name="connsiteY78" fmla="*/ 183071 h 338042"/>
                  <a:gd name="connsiteX79" fmla="*/ 1795748 w 2057400"/>
                  <a:gd name="connsiteY79" fmla="*/ 39053 h 338042"/>
                  <a:gd name="connsiteX80" fmla="*/ 1834801 w 2057400"/>
                  <a:gd name="connsiteY80" fmla="*/ 39053 h 338042"/>
                  <a:gd name="connsiteX81" fmla="*/ 1925098 w 2057400"/>
                  <a:gd name="connsiteY81" fmla="*/ 159068 h 338042"/>
                  <a:gd name="connsiteX82" fmla="*/ 2014538 w 2057400"/>
                  <a:gd name="connsiteY82" fmla="*/ 39053 h 338042"/>
                  <a:gd name="connsiteX83" fmla="*/ 2053209 w 2057400"/>
                  <a:gd name="connsiteY83" fmla="*/ 39053 h 338042"/>
                  <a:gd name="connsiteX84" fmla="*/ 1944434 w 2057400"/>
                  <a:gd name="connsiteY84" fmla="*/ 182594 h 338042"/>
                  <a:gd name="connsiteX85" fmla="*/ 2057400 w 2057400"/>
                  <a:gd name="connsiteY85" fmla="*/ 332899 h 338042"/>
                  <a:gd name="connsiteX86" fmla="*/ 2017967 w 2057400"/>
                  <a:gd name="connsiteY86" fmla="*/ 332899 h 338042"/>
                  <a:gd name="connsiteX87" fmla="*/ 1923955 w 2057400"/>
                  <a:gd name="connsiteY87" fmla="*/ 206502 h 338042"/>
                  <a:gd name="connsiteX88" fmla="*/ 1829943 w 2057400"/>
                  <a:gd name="connsiteY88" fmla="*/ 332899 h 338042"/>
                  <a:gd name="connsiteX89" fmla="*/ 1791748 w 2057400"/>
                  <a:gd name="connsiteY89" fmla="*/ 332899 h 338042"/>
                  <a:gd name="connsiteX90" fmla="*/ 1904714 w 2057400"/>
                  <a:gd name="connsiteY90" fmla="*/ 183071 h 338042"/>
                  <a:gd name="connsiteX91" fmla="*/ 34004 w 2057400"/>
                  <a:gd name="connsiteY91" fmla="*/ 332899 h 338042"/>
                  <a:gd name="connsiteX92" fmla="*/ 149066 w 2057400"/>
                  <a:gd name="connsiteY92" fmla="*/ 75533 h 338042"/>
                  <a:gd name="connsiteX93" fmla="*/ 263271 w 2057400"/>
                  <a:gd name="connsiteY93" fmla="*/ 332899 h 338042"/>
                  <a:gd name="connsiteX94" fmla="*/ 298990 w 2057400"/>
                  <a:gd name="connsiteY94" fmla="*/ 332899 h 338042"/>
                  <a:gd name="connsiteX95" fmla="*/ 149447 w 2057400"/>
                  <a:gd name="connsiteY95" fmla="*/ 0 h 338042"/>
                  <a:gd name="connsiteX96" fmla="*/ 0 w 2057400"/>
                  <a:gd name="connsiteY96" fmla="*/ 332899 h 338042"/>
                  <a:gd name="connsiteX97" fmla="*/ 34004 w 2057400"/>
                  <a:gd name="connsiteY97" fmla="*/ 332899 h 33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2057400" h="338042">
                    <a:moveTo>
                      <a:pt x="535305" y="337947"/>
                    </a:moveTo>
                    <a:cubicBezTo>
                      <a:pt x="514064" y="337947"/>
                      <a:pt x="494443" y="334042"/>
                      <a:pt x="476536" y="326231"/>
                    </a:cubicBezTo>
                    <a:cubicBezTo>
                      <a:pt x="458629" y="318421"/>
                      <a:pt x="443103" y="307658"/>
                      <a:pt x="429959" y="294132"/>
                    </a:cubicBezTo>
                    <a:cubicBezTo>
                      <a:pt x="416814" y="280607"/>
                      <a:pt x="406527" y="264509"/>
                      <a:pt x="399098" y="246031"/>
                    </a:cubicBezTo>
                    <a:cubicBezTo>
                      <a:pt x="391668" y="227552"/>
                      <a:pt x="387953" y="207836"/>
                      <a:pt x="387953" y="186881"/>
                    </a:cubicBezTo>
                    <a:lnTo>
                      <a:pt x="387953" y="186023"/>
                    </a:lnTo>
                    <a:cubicBezTo>
                      <a:pt x="387953" y="165354"/>
                      <a:pt x="391668" y="145733"/>
                      <a:pt x="399098" y="127254"/>
                    </a:cubicBezTo>
                    <a:cubicBezTo>
                      <a:pt x="406527" y="108776"/>
                      <a:pt x="416814" y="92583"/>
                      <a:pt x="429959" y="78772"/>
                    </a:cubicBezTo>
                    <a:cubicBezTo>
                      <a:pt x="443103" y="64961"/>
                      <a:pt x="458819" y="54007"/>
                      <a:pt x="477012" y="46006"/>
                    </a:cubicBezTo>
                    <a:cubicBezTo>
                      <a:pt x="495205" y="38005"/>
                      <a:pt x="515112" y="34004"/>
                      <a:pt x="536639" y="34004"/>
                    </a:cubicBezTo>
                    <a:cubicBezTo>
                      <a:pt x="550069" y="34004"/>
                      <a:pt x="562166" y="35147"/>
                      <a:pt x="572929" y="37338"/>
                    </a:cubicBezTo>
                    <a:cubicBezTo>
                      <a:pt x="583692" y="39624"/>
                      <a:pt x="593693" y="42767"/>
                      <a:pt x="602933" y="46768"/>
                    </a:cubicBezTo>
                    <a:cubicBezTo>
                      <a:pt x="612172" y="50864"/>
                      <a:pt x="620744" y="55721"/>
                      <a:pt x="628555" y="61436"/>
                    </a:cubicBezTo>
                    <a:cubicBezTo>
                      <a:pt x="636365" y="67151"/>
                      <a:pt x="643985" y="73533"/>
                      <a:pt x="651224" y="80582"/>
                    </a:cubicBezTo>
                    <a:lnTo>
                      <a:pt x="628555" y="104966"/>
                    </a:lnTo>
                    <a:cubicBezTo>
                      <a:pt x="615982" y="93250"/>
                      <a:pt x="602456" y="83534"/>
                      <a:pt x="588074" y="76010"/>
                    </a:cubicBezTo>
                    <a:cubicBezTo>
                      <a:pt x="573691" y="68485"/>
                      <a:pt x="556355" y="64675"/>
                      <a:pt x="536258" y="64675"/>
                    </a:cubicBezTo>
                    <a:cubicBezTo>
                      <a:pt x="520065" y="64675"/>
                      <a:pt x="505016" y="67723"/>
                      <a:pt x="491109" y="73914"/>
                    </a:cubicBezTo>
                    <a:cubicBezTo>
                      <a:pt x="477298" y="80105"/>
                      <a:pt x="465201" y="88583"/>
                      <a:pt x="455009" y="99536"/>
                    </a:cubicBezTo>
                    <a:cubicBezTo>
                      <a:pt x="444818" y="110490"/>
                      <a:pt x="436817" y="123253"/>
                      <a:pt x="431101" y="137922"/>
                    </a:cubicBezTo>
                    <a:cubicBezTo>
                      <a:pt x="425387" y="152591"/>
                      <a:pt x="422529" y="168402"/>
                      <a:pt x="422529" y="185166"/>
                    </a:cubicBezTo>
                    <a:lnTo>
                      <a:pt x="422529" y="186023"/>
                    </a:lnTo>
                    <a:cubicBezTo>
                      <a:pt x="422529" y="203073"/>
                      <a:pt x="425387" y="218980"/>
                      <a:pt x="431101" y="233648"/>
                    </a:cubicBezTo>
                    <a:cubicBezTo>
                      <a:pt x="436817" y="248317"/>
                      <a:pt x="444818" y="261176"/>
                      <a:pt x="455009" y="272034"/>
                    </a:cubicBezTo>
                    <a:cubicBezTo>
                      <a:pt x="465201" y="282988"/>
                      <a:pt x="477298" y="291560"/>
                      <a:pt x="491109" y="297847"/>
                    </a:cubicBezTo>
                    <a:cubicBezTo>
                      <a:pt x="504920" y="304133"/>
                      <a:pt x="519970" y="307276"/>
                      <a:pt x="536258" y="307276"/>
                    </a:cubicBezTo>
                    <a:cubicBezTo>
                      <a:pt x="556451" y="307276"/>
                      <a:pt x="573786" y="303562"/>
                      <a:pt x="588264" y="296132"/>
                    </a:cubicBezTo>
                    <a:cubicBezTo>
                      <a:pt x="602837" y="288703"/>
                      <a:pt x="617125" y="278321"/>
                      <a:pt x="631127" y="264890"/>
                    </a:cubicBezTo>
                    <a:lnTo>
                      <a:pt x="652939" y="286322"/>
                    </a:lnTo>
                    <a:cubicBezTo>
                      <a:pt x="645414" y="294132"/>
                      <a:pt x="637508" y="301181"/>
                      <a:pt x="629222" y="307562"/>
                    </a:cubicBezTo>
                    <a:cubicBezTo>
                      <a:pt x="620935" y="313849"/>
                      <a:pt x="612172" y="319278"/>
                      <a:pt x="602742" y="323755"/>
                    </a:cubicBezTo>
                    <a:cubicBezTo>
                      <a:pt x="593408" y="328232"/>
                      <a:pt x="583121" y="331756"/>
                      <a:pt x="572072" y="334232"/>
                    </a:cubicBezTo>
                    <a:cubicBezTo>
                      <a:pt x="561023" y="336709"/>
                      <a:pt x="548735" y="338042"/>
                      <a:pt x="535305" y="338042"/>
                    </a:cubicBezTo>
                    <a:close/>
                    <a:moveTo>
                      <a:pt x="887635" y="337566"/>
                    </a:moveTo>
                    <a:cubicBezTo>
                      <a:pt x="869442" y="337566"/>
                      <a:pt x="852869" y="334804"/>
                      <a:pt x="837914" y="329375"/>
                    </a:cubicBezTo>
                    <a:cubicBezTo>
                      <a:pt x="822960" y="323945"/>
                      <a:pt x="810101" y="315849"/>
                      <a:pt x="799338" y="304991"/>
                    </a:cubicBezTo>
                    <a:cubicBezTo>
                      <a:pt x="788575" y="294227"/>
                      <a:pt x="780193" y="280892"/>
                      <a:pt x="774383" y="264890"/>
                    </a:cubicBezTo>
                    <a:cubicBezTo>
                      <a:pt x="768477" y="248984"/>
                      <a:pt x="765524" y="230600"/>
                      <a:pt x="765524" y="209931"/>
                    </a:cubicBezTo>
                    <a:lnTo>
                      <a:pt x="765524" y="39053"/>
                    </a:lnTo>
                    <a:lnTo>
                      <a:pt x="798671" y="39053"/>
                    </a:lnTo>
                    <a:lnTo>
                      <a:pt x="798671" y="207836"/>
                    </a:lnTo>
                    <a:cubicBezTo>
                      <a:pt x="798671" y="239744"/>
                      <a:pt x="806577" y="264224"/>
                      <a:pt x="822388" y="281273"/>
                    </a:cubicBezTo>
                    <a:cubicBezTo>
                      <a:pt x="838200" y="298323"/>
                      <a:pt x="860203" y="306896"/>
                      <a:pt x="888492" y="306896"/>
                    </a:cubicBezTo>
                    <a:cubicBezTo>
                      <a:pt x="916781" y="306896"/>
                      <a:pt x="937165" y="298799"/>
                      <a:pt x="953167" y="282512"/>
                    </a:cubicBezTo>
                    <a:cubicBezTo>
                      <a:pt x="969074" y="266319"/>
                      <a:pt x="977075" y="242030"/>
                      <a:pt x="977075" y="209931"/>
                    </a:cubicBezTo>
                    <a:lnTo>
                      <a:pt x="977075" y="39053"/>
                    </a:lnTo>
                    <a:lnTo>
                      <a:pt x="1010222" y="39053"/>
                    </a:lnTo>
                    <a:lnTo>
                      <a:pt x="1010222" y="207359"/>
                    </a:lnTo>
                    <a:cubicBezTo>
                      <a:pt x="1010222" y="228600"/>
                      <a:pt x="1007269" y="247364"/>
                      <a:pt x="1001363" y="263652"/>
                    </a:cubicBezTo>
                    <a:cubicBezTo>
                      <a:pt x="995458" y="279845"/>
                      <a:pt x="987171" y="293465"/>
                      <a:pt x="976408" y="304324"/>
                    </a:cubicBezTo>
                    <a:cubicBezTo>
                      <a:pt x="965645" y="315278"/>
                      <a:pt x="952786" y="323469"/>
                      <a:pt x="937832" y="329089"/>
                    </a:cubicBezTo>
                    <a:cubicBezTo>
                      <a:pt x="922877" y="334709"/>
                      <a:pt x="906113" y="337471"/>
                      <a:pt x="887635" y="337471"/>
                    </a:cubicBezTo>
                    <a:close/>
                    <a:moveTo>
                      <a:pt x="1122902" y="39053"/>
                    </a:moveTo>
                    <a:lnTo>
                      <a:pt x="1156049" y="39053"/>
                    </a:lnTo>
                    <a:lnTo>
                      <a:pt x="1156049" y="302228"/>
                    </a:lnTo>
                    <a:lnTo>
                      <a:pt x="1321403" y="302228"/>
                    </a:lnTo>
                    <a:lnTo>
                      <a:pt x="1321403" y="332899"/>
                    </a:lnTo>
                    <a:lnTo>
                      <a:pt x="1122807" y="332899"/>
                    </a:lnTo>
                    <a:lnTo>
                      <a:pt x="1122807" y="39053"/>
                    </a:lnTo>
                    <a:close/>
                    <a:moveTo>
                      <a:pt x="1556290" y="337566"/>
                    </a:moveTo>
                    <a:cubicBezTo>
                      <a:pt x="1538097" y="337566"/>
                      <a:pt x="1521524" y="334804"/>
                      <a:pt x="1506569" y="329375"/>
                    </a:cubicBezTo>
                    <a:cubicBezTo>
                      <a:pt x="1491615" y="323945"/>
                      <a:pt x="1478756" y="315849"/>
                      <a:pt x="1467993" y="304991"/>
                    </a:cubicBezTo>
                    <a:cubicBezTo>
                      <a:pt x="1457230" y="294227"/>
                      <a:pt x="1448848" y="280892"/>
                      <a:pt x="1443038" y="264890"/>
                    </a:cubicBezTo>
                    <a:cubicBezTo>
                      <a:pt x="1437132" y="248984"/>
                      <a:pt x="1434179" y="230600"/>
                      <a:pt x="1434179" y="209931"/>
                    </a:cubicBezTo>
                    <a:lnTo>
                      <a:pt x="1434179" y="39053"/>
                    </a:lnTo>
                    <a:lnTo>
                      <a:pt x="1467326" y="39053"/>
                    </a:lnTo>
                    <a:lnTo>
                      <a:pt x="1467326" y="207836"/>
                    </a:lnTo>
                    <a:cubicBezTo>
                      <a:pt x="1467326" y="239744"/>
                      <a:pt x="1475232" y="264224"/>
                      <a:pt x="1491043" y="281273"/>
                    </a:cubicBezTo>
                    <a:cubicBezTo>
                      <a:pt x="1506855" y="298323"/>
                      <a:pt x="1528858" y="306896"/>
                      <a:pt x="1557147" y="306896"/>
                    </a:cubicBezTo>
                    <a:cubicBezTo>
                      <a:pt x="1585436" y="306896"/>
                      <a:pt x="1605820" y="298799"/>
                      <a:pt x="1621822" y="282512"/>
                    </a:cubicBezTo>
                    <a:cubicBezTo>
                      <a:pt x="1637729" y="266319"/>
                      <a:pt x="1645730" y="242030"/>
                      <a:pt x="1645730" y="209931"/>
                    </a:cubicBezTo>
                    <a:lnTo>
                      <a:pt x="1645730" y="39053"/>
                    </a:lnTo>
                    <a:lnTo>
                      <a:pt x="1678877" y="39053"/>
                    </a:lnTo>
                    <a:lnTo>
                      <a:pt x="1678877" y="207359"/>
                    </a:lnTo>
                    <a:cubicBezTo>
                      <a:pt x="1678877" y="228600"/>
                      <a:pt x="1675924" y="247364"/>
                      <a:pt x="1670018" y="263652"/>
                    </a:cubicBezTo>
                    <a:cubicBezTo>
                      <a:pt x="1664113" y="279845"/>
                      <a:pt x="1655826" y="293465"/>
                      <a:pt x="1645063" y="304324"/>
                    </a:cubicBezTo>
                    <a:cubicBezTo>
                      <a:pt x="1634300" y="315278"/>
                      <a:pt x="1621441" y="323469"/>
                      <a:pt x="1606487" y="329089"/>
                    </a:cubicBezTo>
                    <a:cubicBezTo>
                      <a:pt x="1591532" y="334709"/>
                      <a:pt x="1574768" y="337471"/>
                      <a:pt x="1556290" y="337471"/>
                    </a:cubicBezTo>
                    <a:close/>
                    <a:moveTo>
                      <a:pt x="1904429" y="183071"/>
                    </a:moveTo>
                    <a:lnTo>
                      <a:pt x="1795748" y="39053"/>
                    </a:lnTo>
                    <a:lnTo>
                      <a:pt x="1834801" y="39053"/>
                    </a:lnTo>
                    <a:lnTo>
                      <a:pt x="1925098" y="159068"/>
                    </a:lnTo>
                    <a:lnTo>
                      <a:pt x="2014538" y="39053"/>
                    </a:lnTo>
                    <a:lnTo>
                      <a:pt x="2053209" y="39053"/>
                    </a:lnTo>
                    <a:lnTo>
                      <a:pt x="1944434" y="182594"/>
                    </a:lnTo>
                    <a:lnTo>
                      <a:pt x="2057400" y="332899"/>
                    </a:lnTo>
                    <a:lnTo>
                      <a:pt x="2017967" y="332899"/>
                    </a:lnTo>
                    <a:lnTo>
                      <a:pt x="1923955" y="206502"/>
                    </a:lnTo>
                    <a:lnTo>
                      <a:pt x="1829943" y="332899"/>
                    </a:lnTo>
                    <a:lnTo>
                      <a:pt x="1791748" y="332899"/>
                    </a:lnTo>
                    <a:lnTo>
                      <a:pt x="1904714" y="183071"/>
                    </a:lnTo>
                    <a:close/>
                    <a:moveTo>
                      <a:pt x="34004" y="332899"/>
                    </a:moveTo>
                    <a:lnTo>
                      <a:pt x="149066" y="75533"/>
                    </a:lnTo>
                    <a:lnTo>
                      <a:pt x="263271" y="332899"/>
                    </a:lnTo>
                    <a:lnTo>
                      <a:pt x="298990" y="332899"/>
                    </a:lnTo>
                    <a:lnTo>
                      <a:pt x="149447" y="0"/>
                    </a:lnTo>
                    <a:lnTo>
                      <a:pt x="0" y="332899"/>
                    </a:lnTo>
                    <a:lnTo>
                      <a:pt x="34004" y="33289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9" name="Freeform: Shape 148">
                <a:extLst>
                  <a:ext uri="{FF2B5EF4-FFF2-40B4-BE49-F238E27FC236}">
                    <a16:creationId xmlns:a16="http://schemas.microsoft.com/office/drawing/2014/main" id="{713274F4-AA4C-4883-98F1-F67A0EFB3C62}"/>
                  </a:ext>
                </a:extLst>
              </p:cNvPr>
              <p:cNvSpPr/>
              <p:nvPr/>
            </p:nvSpPr>
            <p:spPr>
              <a:xfrm>
                <a:off x="7834623" y="3963170"/>
                <a:ext cx="60388" cy="60388"/>
              </a:xfrm>
              <a:custGeom>
                <a:avLst/>
                <a:gdLst>
                  <a:gd name="connsiteX0" fmla="*/ 30194 w 60388"/>
                  <a:gd name="connsiteY0" fmla="*/ 0 h 60388"/>
                  <a:gd name="connsiteX1" fmla="*/ 60388 w 60388"/>
                  <a:gd name="connsiteY1" fmla="*/ 30194 h 60388"/>
                  <a:gd name="connsiteX2" fmla="*/ 30194 w 60388"/>
                  <a:gd name="connsiteY2" fmla="*/ 60388 h 60388"/>
                  <a:gd name="connsiteX3" fmla="*/ 0 w 60388"/>
                  <a:gd name="connsiteY3" fmla="*/ 30194 h 60388"/>
                  <a:gd name="connsiteX4" fmla="*/ 30194 w 60388"/>
                  <a:gd name="connsiteY4" fmla="*/ 0 h 60388"/>
                  <a:gd name="connsiteX5" fmla="*/ 30194 w 60388"/>
                  <a:gd name="connsiteY5" fmla="*/ 56102 h 60388"/>
                  <a:gd name="connsiteX6" fmla="*/ 55054 w 60388"/>
                  <a:gd name="connsiteY6" fmla="*/ 30289 h 60388"/>
                  <a:gd name="connsiteX7" fmla="*/ 30194 w 60388"/>
                  <a:gd name="connsiteY7" fmla="*/ 4477 h 60388"/>
                  <a:gd name="connsiteX8" fmla="*/ 5334 w 60388"/>
                  <a:gd name="connsiteY8" fmla="*/ 30289 h 60388"/>
                  <a:gd name="connsiteX9" fmla="*/ 30194 w 60388"/>
                  <a:gd name="connsiteY9" fmla="*/ 56102 h 60388"/>
                  <a:gd name="connsiteX10" fmla="*/ 18669 w 60388"/>
                  <a:gd name="connsiteY10" fmla="*/ 12573 h 60388"/>
                  <a:gd name="connsiteX11" fmla="*/ 32004 w 60388"/>
                  <a:gd name="connsiteY11" fmla="*/ 12573 h 60388"/>
                  <a:gd name="connsiteX12" fmla="*/ 44387 w 60388"/>
                  <a:gd name="connsiteY12" fmla="*/ 22670 h 60388"/>
                  <a:gd name="connsiteX13" fmla="*/ 35052 w 60388"/>
                  <a:gd name="connsiteY13" fmla="*/ 32385 h 60388"/>
                  <a:gd name="connsiteX14" fmla="*/ 45244 w 60388"/>
                  <a:gd name="connsiteY14" fmla="*/ 48006 h 60388"/>
                  <a:gd name="connsiteX15" fmla="*/ 39433 w 60388"/>
                  <a:gd name="connsiteY15" fmla="*/ 48006 h 60388"/>
                  <a:gd name="connsiteX16" fmla="*/ 29813 w 60388"/>
                  <a:gd name="connsiteY16" fmla="*/ 32766 h 60388"/>
                  <a:gd name="connsiteX17" fmla="*/ 24003 w 60388"/>
                  <a:gd name="connsiteY17" fmla="*/ 32766 h 60388"/>
                  <a:gd name="connsiteX18" fmla="*/ 24003 w 60388"/>
                  <a:gd name="connsiteY18" fmla="*/ 48006 h 60388"/>
                  <a:gd name="connsiteX19" fmla="*/ 18669 w 60388"/>
                  <a:gd name="connsiteY19" fmla="*/ 48006 h 60388"/>
                  <a:gd name="connsiteX20" fmla="*/ 18669 w 60388"/>
                  <a:gd name="connsiteY20" fmla="*/ 12668 h 60388"/>
                  <a:gd name="connsiteX21" fmla="*/ 24003 w 60388"/>
                  <a:gd name="connsiteY21" fmla="*/ 28289 h 60388"/>
                  <a:gd name="connsiteX22" fmla="*/ 29528 w 60388"/>
                  <a:gd name="connsiteY22" fmla="*/ 28289 h 60388"/>
                  <a:gd name="connsiteX23" fmla="*/ 38957 w 60388"/>
                  <a:gd name="connsiteY23" fmla="*/ 22384 h 60388"/>
                  <a:gd name="connsiteX24" fmla="*/ 31051 w 60388"/>
                  <a:gd name="connsiteY24" fmla="*/ 16955 h 60388"/>
                  <a:gd name="connsiteX25" fmla="*/ 24003 w 60388"/>
                  <a:gd name="connsiteY25" fmla="*/ 16955 h 60388"/>
                  <a:gd name="connsiteX26" fmla="*/ 24003 w 60388"/>
                  <a:gd name="connsiteY26" fmla="*/ 28289 h 6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388" h="60388">
                    <a:moveTo>
                      <a:pt x="30194" y="0"/>
                    </a:moveTo>
                    <a:cubicBezTo>
                      <a:pt x="46577" y="0"/>
                      <a:pt x="60388" y="12954"/>
                      <a:pt x="60388" y="30194"/>
                    </a:cubicBezTo>
                    <a:cubicBezTo>
                      <a:pt x="60388" y="47435"/>
                      <a:pt x="46577" y="60388"/>
                      <a:pt x="30194" y="60388"/>
                    </a:cubicBezTo>
                    <a:cubicBezTo>
                      <a:pt x="13811" y="60388"/>
                      <a:pt x="0" y="47435"/>
                      <a:pt x="0" y="30194"/>
                    </a:cubicBezTo>
                    <a:cubicBezTo>
                      <a:pt x="0" y="12954"/>
                      <a:pt x="13716" y="0"/>
                      <a:pt x="30194" y="0"/>
                    </a:cubicBezTo>
                    <a:close/>
                    <a:moveTo>
                      <a:pt x="30194" y="56102"/>
                    </a:moveTo>
                    <a:cubicBezTo>
                      <a:pt x="44005" y="56102"/>
                      <a:pt x="55054" y="44863"/>
                      <a:pt x="55054" y="30289"/>
                    </a:cubicBezTo>
                    <a:cubicBezTo>
                      <a:pt x="55054" y="15716"/>
                      <a:pt x="44005" y="4477"/>
                      <a:pt x="30194" y="4477"/>
                    </a:cubicBezTo>
                    <a:cubicBezTo>
                      <a:pt x="16383" y="4477"/>
                      <a:pt x="5334" y="15716"/>
                      <a:pt x="5334" y="30289"/>
                    </a:cubicBezTo>
                    <a:cubicBezTo>
                      <a:pt x="5334" y="44863"/>
                      <a:pt x="16288" y="56102"/>
                      <a:pt x="30194" y="56102"/>
                    </a:cubicBezTo>
                    <a:close/>
                    <a:moveTo>
                      <a:pt x="18669" y="12573"/>
                    </a:moveTo>
                    <a:lnTo>
                      <a:pt x="32004" y="12573"/>
                    </a:lnTo>
                    <a:cubicBezTo>
                      <a:pt x="40386" y="12573"/>
                      <a:pt x="44387" y="15907"/>
                      <a:pt x="44387" y="22670"/>
                    </a:cubicBezTo>
                    <a:cubicBezTo>
                      <a:pt x="44387" y="29432"/>
                      <a:pt x="40291" y="31814"/>
                      <a:pt x="35052" y="32385"/>
                    </a:cubicBezTo>
                    <a:lnTo>
                      <a:pt x="45244" y="48006"/>
                    </a:lnTo>
                    <a:lnTo>
                      <a:pt x="39433" y="48006"/>
                    </a:lnTo>
                    <a:lnTo>
                      <a:pt x="29813" y="32766"/>
                    </a:lnTo>
                    <a:lnTo>
                      <a:pt x="24003" y="32766"/>
                    </a:lnTo>
                    <a:lnTo>
                      <a:pt x="24003" y="48006"/>
                    </a:lnTo>
                    <a:lnTo>
                      <a:pt x="18669" y="48006"/>
                    </a:lnTo>
                    <a:lnTo>
                      <a:pt x="18669" y="12668"/>
                    </a:lnTo>
                    <a:close/>
                    <a:moveTo>
                      <a:pt x="24003" y="28289"/>
                    </a:moveTo>
                    <a:lnTo>
                      <a:pt x="29528" y="28289"/>
                    </a:lnTo>
                    <a:cubicBezTo>
                      <a:pt x="34290" y="28289"/>
                      <a:pt x="38957" y="28004"/>
                      <a:pt x="38957" y="22384"/>
                    </a:cubicBezTo>
                    <a:cubicBezTo>
                      <a:pt x="38957" y="17526"/>
                      <a:pt x="34766" y="16955"/>
                      <a:pt x="31051" y="16955"/>
                    </a:cubicBezTo>
                    <a:lnTo>
                      <a:pt x="24003" y="16955"/>
                    </a:lnTo>
                    <a:lnTo>
                      <a:pt x="24003" y="282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2" name="Group 51">
              <a:extLst>
                <a:ext uri="{FF2B5EF4-FFF2-40B4-BE49-F238E27FC236}">
                  <a16:creationId xmlns:a16="http://schemas.microsoft.com/office/drawing/2014/main" id="{0C2FA529-48DC-4A65-9004-0AE6D60FCB32}"/>
                </a:ext>
              </a:extLst>
            </p:cNvPr>
            <p:cNvGrpSpPr/>
            <p:nvPr userDrawn="1"/>
          </p:nvGrpSpPr>
          <p:grpSpPr>
            <a:xfrm>
              <a:off x="5968468" y="1735381"/>
              <a:ext cx="919759" cy="207212"/>
              <a:chOff x="6429597" y="4091122"/>
              <a:chExt cx="531018" cy="119633"/>
            </a:xfrm>
          </p:grpSpPr>
          <p:sp>
            <p:nvSpPr>
              <p:cNvPr id="114" name="Freeform: Shape 113">
                <a:extLst>
                  <a:ext uri="{FF2B5EF4-FFF2-40B4-BE49-F238E27FC236}">
                    <a16:creationId xmlns:a16="http://schemas.microsoft.com/office/drawing/2014/main" id="{61649D78-D72F-49FA-90CD-738032633141}"/>
                  </a:ext>
                </a:extLst>
              </p:cNvPr>
              <p:cNvSpPr/>
              <p:nvPr/>
            </p:nvSpPr>
            <p:spPr>
              <a:xfrm>
                <a:off x="6429597" y="4093884"/>
                <a:ext cx="114395" cy="109061"/>
              </a:xfrm>
              <a:custGeom>
                <a:avLst/>
                <a:gdLst>
                  <a:gd name="connsiteX0" fmla="*/ 39053 w 114395"/>
                  <a:gd name="connsiteY0" fmla="*/ 0 h 109061"/>
                  <a:gd name="connsiteX1" fmla="*/ 0 w 114395"/>
                  <a:gd name="connsiteY1" fmla="*/ 109061 h 109061"/>
                  <a:gd name="connsiteX2" fmla="*/ 34957 w 114395"/>
                  <a:gd name="connsiteY2" fmla="*/ 109061 h 109061"/>
                  <a:gd name="connsiteX3" fmla="*/ 39053 w 114395"/>
                  <a:gd name="connsiteY3" fmla="*/ 94678 h 109061"/>
                  <a:gd name="connsiteX4" fmla="*/ 57055 w 114395"/>
                  <a:gd name="connsiteY4" fmla="*/ 32766 h 109061"/>
                  <a:gd name="connsiteX5" fmla="*/ 74676 w 114395"/>
                  <a:gd name="connsiteY5" fmla="*/ 94678 h 109061"/>
                  <a:gd name="connsiteX6" fmla="*/ 78867 w 114395"/>
                  <a:gd name="connsiteY6" fmla="*/ 109061 h 109061"/>
                  <a:gd name="connsiteX7" fmla="*/ 114395 w 114395"/>
                  <a:gd name="connsiteY7" fmla="*/ 109061 h 109061"/>
                  <a:gd name="connsiteX8" fmla="*/ 75343 w 114395"/>
                  <a:gd name="connsiteY8" fmla="*/ 0 h 109061"/>
                  <a:gd name="connsiteX9" fmla="*/ 39053 w 114395"/>
                  <a:gd name="connsiteY9" fmla="*/ 0 h 109061"/>
                  <a:gd name="connsiteX10" fmla="*/ 39053 w 114395"/>
                  <a:gd name="connsiteY10" fmla="*/ 0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395" h="109061">
                    <a:moveTo>
                      <a:pt x="39053" y="0"/>
                    </a:moveTo>
                    <a:lnTo>
                      <a:pt x="0" y="109061"/>
                    </a:lnTo>
                    <a:lnTo>
                      <a:pt x="34957" y="109061"/>
                    </a:lnTo>
                    <a:lnTo>
                      <a:pt x="39053" y="94678"/>
                    </a:lnTo>
                    <a:lnTo>
                      <a:pt x="57055" y="32766"/>
                    </a:lnTo>
                    <a:lnTo>
                      <a:pt x="74676" y="94678"/>
                    </a:lnTo>
                    <a:lnTo>
                      <a:pt x="78867" y="109061"/>
                    </a:lnTo>
                    <a:lnTo>
                      <a:pt x="114395" y="109061"/>
                    </a:lnTo>
                    <a:lnTo>
                      <a:pt x="75343" y="0"/>
                    </a:lnTo>
                    <a:lnTo>
                      <a:pt x="39053" y="0"/>
                    </a:lnTo>
                    <a:lnTo>
                      <a:pt x="39053"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5" name="Freeform: Shape 114">
                <a:extLst>
                  <a:ext uri="{FF2B5EF4-FFF2-40B4-BE49-F238E27FC236}">
                    <a16:creationId xmlns:a16="http://schemas.microsoft.com/office/drawing/2014/main" id="{ED5E9316-8C26-49D0-BF18-767B09F1FF6C}"/>
                  </a:ext>
                </a:extLst>
              </p:cNvPr>
              <p:cNvSpPr/>
              <p:nvPr/>
            </p:nvSpPr>
            <p:spPr>
              <a:xfrm>
                <a:off x="6557041" y="4093884"/>
                <a:ext cx="90963" cy="109061"/>
              </a:xfrm>
              <a:custGeom>
                <a:avLst/>
                <a:gdLst>
                  <a:gd name="connsiteX0" fmla="*/ 0 w 90963"/>
                  <a:gd name="connsiteY0" fmla="*/ 109061 h 109061"/>
                  <a:gd name="connsiteX1" fmla="*/ 0 w 90963"/>
                  <a:gd name="connsiteY1" fmla="*/ 0 h 109061"/>
                  <a:gd name="connsiteX2" fmla="*/ 88868 w 90963"/>
                  <a:gd name="connsiteY2" fmla="*/ 0 h 109061"/>
                  <a:gd name="connsiteX3" fmla="*/ 88868 w 90963"/>
                  <a:gd name="connsiteY3" fmla="*/ 25432 h 109061"/>
                  <a:gd name="connsiteX4" fmla="*/ 35719 w 90963"/>
                  <a:gd name="connsiteY4" fmla="*/ 25432 h 109061"/>
                  <a:gd name="connsiteX5" fmla="*/ 35719 w 90963"/>
                  <a:gd name="connsiteY5" fmla="*/ 41053 h 109061"/>
                  <a:gd name="connsiteX6" fmla="*/ 35719 w 90963"/>
                  <a:gd name="connsiteY6" fmla="*/ 66485 h 109061"/>
                  <a:gd name="connsiteX7" fmla="*/ 35719 w 90963"/>
                  <a:gd name="connsiteY7" fmla="*/ 83630 h 109061"/>
                  <a:gd name="connsiteX8" fmla="*/ 90964 w 90963"/>
                  <a:gd name="connsiteY8" fmla="*/ 83630 h 109061"/>
                  <a:gd name="connsiteX9" fmla="*/ 90964 w 90963"/>
                  <a:gd name="connsiteY9" fmla="*/ 109061 h 109061"/>
                  <a:gd name="connsiteX10" fmla="*/ 0 w 90963"/>
                  <a:gd name="connsiteY10" fmla="*/ 109061 h 109061"/>
                  <a:gd name="connsiteX11" fmla="*/ 0 w 90963"/>
                  <a:gd name="connsiteY11" fmla="*/ 109061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963" h="109061">
                    <a:moveTo>
                      <a:pt x="0" y="109061"/>
                    </a:moveTo>
                    <a:lnTo>
                      <a:pt x="0" y="0"/>
                    </a:lnTo>
                    <a:lnTo>
                      <a:pt x="88868" y="0"/>
                    </a:lnTo>
                    <a:lnTo>
                      <a:pt x="88868" y="25432"/>
                    </a:lnTo>
                    <a:lnTo>
                      <a:pt x="35719" y="25432"/>
                    </a:lnTo>
                    <a:lnTo>
                      <a:pt x="35719" y="41053"/>
                    </a:lnTo>
                    <a:lnTo>
                      <a:pt x="35719" y="66485"/>
                    </a:lnTo>
                    <a:lnTo>
                      <a:pt x="35719" y="83630"/>
                    </a:lnTo>
                    <a:lnTo>
                      <a:pt x="90964" y="83630"/>
                    </a:lnTo>
                    <a:lnTo>
                      <a:pt x="90964" y="109061"/>
                    </a:lnTo>
                    <a:lnTo>
                      <a:pt x="0" y="109061"/>
                    </a:lnTo>
                    <a:lnTo>
                      <a:pt x="0" y="10906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6" name="Freeform: Shape 115">
                <a:extLst>
                  <a:ext uri="{FF2B5EF4-FFF2-40B4-BE49-F238E27FC236}">
                    <a16:creationId xmlns:a16="http://schemas.microsoft.com/office/drawing/2014/main" id="{E1DC7F61-D1CC-4547-8AFC-8EF56379E02F}"/>
                  </a:ext>
                </a:extLst>
              </p:cNvPr>
              <p:cNvSpPr/>
              <p:nvPr/>
            </p:nvSpPr>
            <p:spPr>
              <a:xfrm>
                <a:off x="6661911" y="4093884"/>
                <a:ext cx="84772" cy="109061"/>
              </a:xfrm>
              <a:custGeom>
                <a:avLst/>
                <a:gdLst>
                  <a:gd name="connsiteX0" fmla="*/ 0 w 84772"/>
                  <a:gd name="connsiteY0" fmla="*/ 109061 h 109061"/>
                  <a:gd name="connsiteX1" fmla="*/ 0 w 84772"/>
                  <a:gd name="connsiteY1" fmla="*/ 0 h 109061"/>
                  <a:gd name="connsiteX2" fmla="*/ 35719 w 84772"/>
                  <a:gd name="connsiteY2" fmla="*/ 0 h 109061"/>
                  <a:gd name="connsiteX3" fmla="*/ 35719 w 84772"/>
                  <a:gd name="connsiteY3" fmla="*/ 83630 h 109061"/>
                  <a:gd name="connsiteX4" fmla="*/ 84773 w 84772"/>
                  <a:gd name="connsiteY4" fmla="*/ 83630 h 109061"/>
                  <a:gd name="connsiteX5" fmla="*/ 84773 w 84772"/>
                  <a:gd name="connsiteY5" fmla="*/ 109061 h 109061"/>
                  <a:gd name="connsiteX6" fmla="*/ 0 w 84772"/>
                  <a:gd name="connsiteY6" fmla="*/ 109061 h 109061"/>
                  <a:gd name="connsiteX7" fmla="*/ 0 w 84772"/>
                  <a:gd name="connsiteY7" fmla="*/ 109061 h 10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72" h="109061">
                    <a:moveTo>
                      <a:pt x="0" y="109061"/>
                    </a:moveTo>
                    <a:lnTo>
                      <a:pt x="0" y="0"/>
                    </a:lnTo>
                    <a:lnTo>
                      <a:pt x="35719" y="0"/>
                    </a:lnTo>
                    <a:lnTo>
                      <a:pt x="35719" y="83630"/>
                    </a:lnTo>
                    <a:lnTo>
                      <a:pt x="84773" y="83630"/>
                    </a:lnTo>
                    <a:lnTo>
                      <a:pt x="84773" y="109061"/>
                    </a:lnTo>
                    <a:lnTo>
                      <a:pt x="0" y="109061"/>
                    </a:lnTo>
                    <a:lnTo>
                      <a:pt x="0" y="10906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7" name="Freeform: Shape 116">
                <a:extLst>
                  <a:ext uri="{FF2B5EF4-FFF2-40B4-BE49-F238E27FC236}">
                    <a16:creationId xmlns:a16="http://schemas.microsoft.com/office/drawing/2014/main" id="{1ED82184-4AB3-44B7-848D-1150CFF62358}"/>
                  </a:ext>
                </a:extLst>
              </p:cNvPr>
              <p:cNvSpPr/>
              <p:nvPr/>
            </p:nvSpPr>
            <p:spPr>
              <a:xfrm>
                <a:off x="6486937" y="4132079"/>
                <a:ext cx="141827" cy="52482"/>
              </a:xfrm>
              <a:custGeom>
                <a:avLst/>
                <a:gdLst>
                  <a:gd name="connsiteX0" fmla="*/ 141827 w 141827"/>
                  <a:gd name="connsiteY0" fmla="*/ 18288 h 52482"/>
                  <a:gd name="connsiteX1" fmla="*/ 83344 w 141827"/>
                  <a:gd name="connsiteY1" fmla="*/ 0 h 52482"/>
                  <a:gd name="connsiteX2" fmla="*/ 0 w 141827"/>
                  <a:gd name="connsiteY2" fmla="*/ 52483 h 52482"/>
                  <a:gd name="connsiteX3" fmla="*/ 9620 w 141827"/>
                  <a:gd name="connsiteY3" fmla="*/ 52102 h 52482"/>
                  <a:gd name="connsiteX4" fmla="*/ 83725 w 141827"/>
                  <a:gd name="connsiteY4" fmla="*/ 14002 h 52482"/>
                  <a:gd name="connsiteX5" fmla="*/ 123063 w 141827"/>
                  <a:gd name="connsiteY5" fmla="*/ 25241 h 52482"/>
                  <a:gd name="connsiteX6" fmla="*/ 141827 w 141827"/>
                  <a:gd name="connsiteY6" fmla="*/ 18288 h 52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27" h="52482">
                    <a:moveTo>
                      <a:pt x="141827" y="18288"/>
                    </a:moveTo>
                    <a:cubicBezTo>
                      <a:pt x="126016" y="6953"/>
                      <a:pt x="104299" y="0"/>
                      <a:pt x="83344" y="0"/>
                    </a:cubicBezTo>
                    <a:cubicBezTo>
                      <a:pt x="45530" y="0"/>
                      <a:pt x="15907" y="20764"/>
                      <a:pt x="0" y="52483"/>
                    </a:cubicBezTo>
                    <a:lnTo>
                      <a:pt x="9620" y="52102"/>
                    </a:lnTo>
                    <a:cubicBezTo>
                      <a:pt x="30575" y="22193"/>
                      <a:pt x="53435" y="14002"/>
                      <a:pt x="83725" y="14002"/>
                    </a:cubicBezTo>
                    <a:cubicBezTo>
                      <a:pt x="98965" y="14002"/>
                      <a:pt x="110680" y="18288"/>
                      <a:pt x="123063" y="25241"/>
                    </a:cubicBezTo>
                    <a:lnTo>
                      <a:pt x="141827" y="18288"/>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8" name="Freeform: Shape 117">
                <a:extLst>
                  <a:ext uri="{FF2B5EF4-FFF2-40B4-BE49-F238E27FC236}">
                    <a16:creationId xmlns:a16="http://schemas.microsoft.com/office/drawing/2014/main" id="{E98401C7-9F2D-4D98-9F3A-C9D1CA945D69}"/>
                  </a:ext>
                </a:extLst>
              </p:cNvPr>
              <p:cNvSpPr/>
              <p:nvPr/>
            </p:nvSpPr>
            <p:spPr>
              <a:xfrm>
                <a:off x="6760971" y="4093789"/>
                <a:ext cx="29051" cy="27908"/>
              </a:xfrm>
              <a:custGeom>
                <a:avLst/>
                <a:gdLst>
                  <a:gd name="connsiteX0" fmla="*/ 29051 w 29051"/>
                  <a:gd name="connsiteY0" fmla="*/ 27908 h 27908"/>
                  <a:gd name="connsiteX1" fmla="*/ 21526 w 29051"/>
                  <a:gd name="connsiteY1" fmla="*/ 27908 h 27908"/>
                  <a:gd name="connsiteX2" fmla="*/ 19526 w 29051"/>
                  <a:gd name="connsiteY2" fmla="*/ 22193 h 27908"/>
                  <a:gd name="connsiteX3" fmla="*/ 9334 w 29051"/>
                  <a:gd name="connsiteY3" fmla="*/ 22193 h 27908"/>
                  <a:gd name="connsiteX4" fmla="*/ 7334 w 29051"/>
                  <a:gd name="connsiteY4" fmla="*/ 27908 h 27908"/>
                  <a:gd name="connsiteX5" fmla="*/ 0 w 29051"/>
                  <a:gd name="connsiteY5" fmla="*/ 27908 h 27908"/>
                  <a:gd name="connsiteX6" fmla="*/ 10287 w 29051"/>
                  <a:gd name="connsiteY6" fmla="*/ 0 h 27908"/>
                  <a:gd name="connsiteX7" fmla="*/ 18574 w 29051"/>
                  <a:gd name="connsiteY7" fmla="*/ 0 h 27908"/>
                  <a:gd name="connsiteX8" fmla="*/ 28861 w 29051"/>
                  <a:gd name="connsiteY8" fmla="*/ 27908 h 27908"/>
                  <a:gd name="connsiteX9" fmla="*/ 28861 w 29051"/>
                  <a:gd name="connsiteY9" fmla="*/ 27908 h 27908"/>
                  <a:gd name="connsiteX10" fmla="*/ 17907 w 29051"/>
                  <a:gd name="connsiteY10" fmla="*/ 17145 h 27908"/>
                  <a:gd name="connsiteX11" fmla="*/ 14573 w 29051"/>
                  <a:gd name="connsiteY11" fmla="*/ 7334 h 27908"/>
                  <a:gd name="connsiteX12" fmla="*/ 11240 w 29051"/>
                  <a:gd name="connsiteY12" fmla="*/ 17145 h 27908"/>
                  <a:gd name="connsiteX13" fmla="*/ 18002 w 29051"/>
                  <a:gd name="connsiteY13" fmla="*/ 17145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51" h="27908">
                    <a:moveTo>
                      <a:pt x="29051" y="27908"/>
                    </a:moveTo>
                    <a:lnTo>
                      <a:pt x="21526" y="27908"/>
                    </a:lnTo>
                    <a:lnTo>
                      <a:pt x="19526" y="22193"/>
                    </a:lnTo>
                    <a:lnTo>
                      <a:pt x="9334" y="22193"/>
                    </a:lnTo>
                    <a:lnTo>
                      <a:pt x="7334" y="27908"/>
                    </a:lnTo>
                    <a:lnTo>
                      <a:pt x="0" y="27908"/>
                    </a:lnTo>
                    <a:lnTo>
                      <a:pt x="10287" y="0"/>
                    </a:lnTo>
                    <a:lnTo>
                      <a:pt x="18574" y="0"/>
                    </a:lnTo>
                    <a:lnTo>
                      <a:pt x="28861" y="27908"/>
                    </a:lnTo>
                    <a:lnTo>
                      <a:pt x="28861" y="27908"/>
                    </a:lnTo>
                    <a:close/>
                    <a:moveTo>
                      <a:pt x="17907" y="17145"/>
                    </a:moveTo>
                    <a:lnTo>
                      <a:pt x="14573" y="7334"/>
                    </a:lnTo>
                    <a:lnTo>
                      <a:pt x="11240" y="17145"/>
                    </a:lnTo>
                    <a:lnTo>
                      <a:pt x="18002" y="1714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9" name="Freeform: Shape 118">
                <a:extLst>
                  <a:ext uri="{FF2B5EF4-FFF2-40B4-BE49-F238E27FC236}">
                    <a16:creationId xmlns:a16="http://schemas.microsoft.com/office/drawing/2014/main" id="{1A26F516-9850-4A60-9F56-9175885FBE94}"/>
                  </a:ext>
                </a:extLst>
              </p:cNvPr>
              <p:cNvSpPr/>
              <p:nvPr/>
            </p:nvSpPr>
            <p:spPr>
              <a:xfrm>
                <a:off x="6794023" y="4100075"/>
                <a:ext cx="34194" cy="21717"/>
              </a:xfrm>
              <a:custGeom>
                <a:avLst/>
                <a:gdLst>
                  <a:gd name="connsiteX0" fmla="*/ 20479 w 34194"/>
                  <a:gd name="connsiteY0" fmla="*/ 6763 h 21717"/>
                  <a:gd name="connsiteX1" fmla="*/ 20479 w 34194"/>
                  <a:gd name="connsiteY1" fmla="*/ 21622 h 21717"/>
                  <a:gd name="connsiteX2" fmla="*/ 13716 w 34194"/>
                  <a:gd name="connsiteY2" fmla="*/ 21622 h 21717"/>
                  <a:gd name="connsiteX3" fmla="*/ 13716 w 34194"/>
                  <a:gd name="connsiteY3" fmla="*/ 11144 h 21717"/>
                  <a:gd name="connsiteX4" fmla="*/ 13716 w 34194"/>
                  <a:gd name="connsiteY4" fmla="*/ 8573 h 21717"/>
                  <a:gd name="connsiteX5" fmla="*/ 13335 w 34194"/>
                  <a:gd name="connsiteY5" fmla="*/ 6858 h 21717"/>
                  <a:gd name="connsiteX6" fmla="*/ 12287 w 34194"/>
                  <a:gd name="connsiteY6" fmla="*/ 5905 h 21717"/>
                  <a:gd name="connsiteX7" fmla="*/ 10382 w 34194"/>
                  <a:gd name="connsiteY7" fmla="*/ 5620 h 21717"/>
                  <a:gd name="connsiteX8" fmla="*/ 8477 w 34194"/>
                  <a:gd name="connsiteY8" fmla="*/ 6001 h 21717"/>
                  <a:gd name="connsiteX9" fmla="*/ 6763 w 34194"/>
                  <a:gd name="connsiteY9" fmla="*/ 6858 h 21717"/>
                  <a:gd name="connsiteX10" fmla="*/ 6763 w 34194"/>
                  <a:gd name="connsiteY10" fmla="*/ 21717 h 21717"/>
                  <a:gd name="connsiteX11" fmla="*/ 0 w 34194"/>
                  <a:gd name="connsiteY11" fmla="*/ 21717 h 21717"/>
                  <a:gd name="connsiteX12" fmla="*/ 0 w 34194"/>
                  <a:gd name="connsiteY12" fmla="*/ 572 h 21717"/>
                  <a:gd name="connsiteX13" fmla="*/ 6763 w 34194"/>
                  <a:gd name="connsiteY13" fmla="*/ 572 h 21717"/>
                  <a:gd name="connsiteX14" fmla="*/ 6763 w 34194"/>
                  <a:gd name="connsiteY14" fmla="*/ 2858 h 21717"/>
                  <a:gd name="connsiteX15" fmla="*/ 10097 w 34194"/>
                  <a:gd name="connsiteY15" fmla="*/ 762 h 21717"/>
                  <a:gd name="connsiteX16" fmla="*/ 13621 w 34194"/>
                  <a:gd name="connsiteY16" fmla="*/ 0 h 21717"/>
                  <a:gd name="connsiteX17" fmla="*/ 17240 w 34194"/>
                  <a:gd name="connsiteY17" fmla="*/ 952 h 21717"/>
                  <a:gd name="connsiteX18" fmla="*/ 19717 w 34194"/>
                  <a:gd name="connsiteY18" fmla="*/ 3715 h 21717"/>
                  <a:gd name="connsiteX19" fmla="*/ 23622 w 34194"/>
                  <a:gd name="connsiteY19" fmla="*/ 1048 h 21717"/>
                  <a:gd name="connsiteX20" fmla="*/ 27337 w 34194"/>
                  <a:gd name="connsiteY20" fmla="*/ 95 h 21717"/>
                  <a:gd name="connsiteX21" fmla="*/ 32480 w 34194"/>
                  <a:gd name="connsiteY21" fmla="*/ 2095 h 21717"/>
                  <a:gd name="connsiteX22" fmla="*/ 34195 w 34194"/>
                  <a:gd name="connsiteY22" fmla="*/ 8001 h 21717"/>
                  <a:gd name="connsiteX23" fmla="*/ 34195 w 34194"/>
                  <a:gd name="connsiteY23" fmla="*/ 21717 h 21717"/>
                  <a:gd name="connsiteX24" fmla="*/ 27432 w 34194"/>
                  <a:gd name="connsiteY24" fmla="*/ 21717 h 21717"/>
                  <a:gd name="connsiteX25" fmla="*/ 27432 w 34194"/>
                  <a:gd name="connsiteY25" fmla="*/ 11239 h 21717"/>
                  <a:gd name="connsiteX26" fmla="*/ 27432 w 34194"/>
                  <a:gd name="connsiteY26" fmla="*/ 8668 h 21717"/>
                  <a:gd name="connsiteX27" fmla="*/ 27051 w 34194"/>
                  <a:gd name="connsiteY27" fmla="*/ 6953 h 21717"/>
                  <a:gd name="connsiteX28" fmla="*/ 26003 w 34194"/>
                  <a:gd name="connsiteY28" fmla="*/ 6001 h 21717"/>
                  <a:gd name="connsiteX29" fmla="*/ 24098 w 34194"/>
                  <a:gd name="connsiteY29" fmla="*/ 5715 h 21717"/>
                  <a:gd name="connsiteX30" fmla="*/ 22479 w 34194"/>
                  <a:gd name="connsiteY30" fmla="*/ 6001 h 21717"/>
                  <a:gd name="connsiteX31" fmla="*/ 20479 w 34194"/>
                  <a:gd name="connsiteY31" fmla="*/ 6953 h 2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4194" h="21717">
                    <a:moveTo>
                      <a:pt x="20479" y="6763"/>
                    </a:moveTo>
                    <a:lnTo>
                      <a:pt x="20479" y="21622"/>
                    </a:lnTo>
                    <a:lnTo>
                      <a:pt x="13716" y="21622"/>
                    </a:lnTo>
                    <a:lnTo>
                      <a:pt x="13716" y="11144"/>
                    </a:lnTo>
                    <a:cubicBezTo>
                      <a:pt x="13716" y="10097"/>
                      <a:pt x="13716" y="9239"/>
                      <a:pt x="13716" y="8573"/>
                    </a:cubicBezTo>
                    <a:cubicBezTo>
                      <a:pt x="13716" y="7811"/>
                      <a:pt x="13526" y="7239"/>
                      <a:pt x="13335" y="6858"/>
                    </a:cubicBezTo>
                    <a:cubicBezTo>
                      <a:pt x="13145" y="6382"/>
                      <a:pt x="12764" y="6096"/>
                      <a:pt x="12287" y="5905"/>
                    </a:cubicBezTo>
                    <a:cubicBezTo>
                      <a:pt x="11811" y="5715"/>
                      <a:pt x="11144" y="5620"/>
                      <a:pt x="10382" y="5620"/>
                    </a:cubicBezTo>
                    <a:cubicBezTo>
                      <a:pt x="9716" y="5620"/>
                      <a:pt x="9049" y="5715"/>
                      <a:pt x="8477" y="6001"/>
                    </a:cubicBezTo>
                    <a:cubicBezTo>
                      <a:pt x="7811" y="6287"/>
                      <a:pt x="7334" y="6572"/>
                      <a:pt x="6763" y="6858"/>
                    </a:cubicBezTo>
                    <a:lnTo>
                      <a:pt x="6763" y="21717"/>
                    </a:lnTo>
                    <a:lnTo>
                      <a:pt x="0" y="21717"/>
                    </a:lnTo>
                    <a:lnTo>
                      <a:pt x="0" y="572"/>
                    </a:lnTo>
                    <a:lnTo>
                      <a:pt x="6763" y="572"/>
                    </a:lnTo>
                    <a:lnTo>
                      <a:pt x="6763" y="2858"/>
                    </a:lnTo>
                    <a:cubicBezTo>
                      <a:pt x="7906" y="1905"/>
                      <a:pt x="9049" y="1238"/>
                      <a:pt x="10097" y="762"/>
                    </a:cubicBezTo>
                    <a:cubicBezTo>
                      <a:pt x="11144" y="286"/>
                      <a:pt x="12287" y="0"/>
                      <a:pt x="13621" y="0"/>
                    </a:cubicBezTo>
                    <a:cubicBezTo>
                      <a:pt x="14954" y="0"/>
                      <a:pt x="16193" y="286"/>
                      <a:pt x="17240" y="952"/>
                    </a:cubicBezTo>
                    <a:cubicBezTo>
                      <a:pt x="18288" y="1524"/>
                      <a:pt x="19145" y="2477"/>
                      <a:pt x="19717" y="3715"/>
                    </a:cubicBezTo>
                    <a:cubicBezTo>
                      <a:pt x="21050" y="2572"/>
                      <a:pt x="22384" y="1715"/>
                      <a:pt x="23622" y="1048"/>
                    </a:cubicBezTo>
                    <a:cubicBezTo>
                      <a:pt x="24860" y="381"/>
                      <a:pt x="26099" y="95"/>
                      <a:pt x="27337" y="95"/>
                    </a:cubicBezTo>
                    <a:cubicBezTo>
                      <a:pt x="29623" y="95"/>
                      <a:pt x="31337" y="762"/>
                      <a:pt x="32480" y="2095"/>
                    </a:cubicBezTo>
                    <a:cubicBezTo>
                      <a:pt x="33623" y="3429"/>
                      <a:pt x="34195" y="5429"/>
                      <a:pt x="34195" y="8001"/>
                    </a:cubicBezTo>
                    <a:lnTo>
                      <a:pt x="34195" y="21717"/>
                    </a:lnTo>
                    <a:lnTo>
                      <a:pt x="27432" y="21717"/>
                    </a:lnTo>
                    <a:lnTo>
                      <a:pt x="27432" y="11239"/>
                    </a:lnTo>
                    <a:cubicBezTo>
                      <a:pt x="27432" y="10192"/>
                      <a:pt x="27432" y="9335"/>
                      <a:pt x="27432" y="8668"/>
                    </a:cubicBezTo>
                    <a:cubicBezTo>
                      <a:pt x="27432" y="8001"/>
                      <a:pt x="27242" y="7334"/>
                      <a:pt x="27051" y="6953"/>
                    </a:cubicBezTo>
                    <a:cubicBezTo>
                      <a:pt x="26861" y="6477"/>
                      <a:pt x="26480" y="6191"/>
                      <a:pt x="26003" y="6001"/>
                    </a:cubicBezTo>
                    <a:cubicBezTo>
                      <a:pt x="25527" y="5810"/>
                      <a:pt x="24860" y="5715"/>
                      <a:pt x="24098" y="5715"/>
                    </a:cubicBezTo>
                    <a:cubicBezTo>
                      <a:pt x="23527" y="5715"/>
                      <a:pt x="22955" y="5715"/>
                      <a:pt x="22479" y="6001"/>
                    </a:cubicBezTo>
                    <a:cubicBezTo>
                      <a:pt x="21908" y="6191"/>
                      <a:pt x="21336" y="6477"/>
                      <a:pt x="20479" y="6953"/>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0" name="Freeform: Shape 119">
                <a:extLst>
                  <a:ext uri="{FF2B5EF4-FFF2-40B4-BE49-F238E27FC236}">
                    <a16:creationId xmlns:a16="http://schemas.microsoft.com/office/drawing/2014/main" id="{47A8C4F8-CF1C-463A-9069-53806C52D51B}"/>
                  </a:ext>
                </a:extLst>
              </p:cNvPr>
              <p:cNvSpPr/>
              <p:nvPr/>
            </p:nvSpPr>
            <p:spPr>
              <a:xfrm>
                <a:off x="6832694" y="4099980"/>
                <a:ext cx="22193" cy="22288"/>
              </a:xfrm>
              <a:custGeom>
                <a:avLst/>
                <a:gdLst>
                  <a:gd name="connsiteX0" fmla="*/ 22098 w 22193"/>
                  <a:gd name="connsiteY0" fmla="*/ 12383 h 22288"/>
                  <a:gd name="connsiteX1" fmla="*/ 6668 w 22193"/>
                  <a:gd name="connsiteY1" fmla="*/ 12383 h 22288"/>
                  <a:gd name="connsiteX2" fmla="*/ 8573 w 22193"/>
                  <a:gd name="connsiteY2" fmla="*/ 16193 h 22288"/>
                  <a:gd name="connsiteX3" fmla="*/ 13716 w 22193"/>
                  <a:gd name="connsiteY3" fmla="*/ 17526 h 22288"/>
                  <a:gd name="connsiteX4" fmla="*/ 17907 w 22193"/>
                  <a:gd name="connsiteY4" fmla="*/ 16764 h 22288"/>
                  <a:gd name="connsiteX5" fmla="*/ 21050 w 22193"/>
                  <a:gd name="connsiteY5" fmla="*/ 15145 h 22288"/>
                  <a:gd name="connsiteX6" fmla="*/ 21812 w 22193"/>
                  <a:gd name="connsiteY6" fmla="*/ 15145 h 22288"/>
                  <a:gd name="connsiteX7" fmla="*/ 21812 w 22193"/>
                  <a:gd name="connsiteY7" fmla="*/ 20574 h 22288"/>
                  <a:gd name="connsiteX8" fmla="*/ 17526 w 22193"/>
                  <a:gd name="connsiteY8" fmla="*/ 21908 h 22288"/>
                  <a:gd name="connsiteX9" fmla="*/ 13049 w 22193"/>
                  <a:gd name="connsiteY9" fmla="*/ 22289 h 22288"/>
                  <a:gd name="connsiteX10" fmla="*/ 3334 w 22193"/>
                  <a:gd name="connsiteY10" fmla="*/ 19431 h 22288"/>
                  <a:gd name="connsiteX11" fmla="*/ 0 w 22193"/>
                  <a:gd name="connsiteY11" fmla="*/ 11335 h 22288"/>
                  <a:gd name="connsiteX12" fmla="*/ 3143 w 22193"/>
                  <a:gd name="connsiteY12" fmla="*/ 3048 h 22288"/>
                  <a:gd name="connsiteX13" fmla="*/ 11906 w 22193"/>
                  <a:gd name="connsiteY13" fmla="*/ 0 h 22288"/>
                  <a:gd name="connsiteX14" fmla="*/ 19622 w 22193"/>
                  <a:gd name="connsiteY14" fmla="*/ 2572 h 22288"/>
                  <a:gd name="connsiteX15" fmla="*/ 22193 w 22193"/>
                  <a:gd name="connsiteY15" fmla="*/ 10001 h 22288"/>
                  <a:gd name="connsiteX16" fmla="*/ 22193 w 22193"/>
                  <a:gd name="connsiteY16" fmla="*/ 12383 h 22288"/>
                  <a:gd name="connsiteX17" fmla="*/ 22193 w 22193"/>
                  <a:gd name="connsiteY17" fmla="*/ 12383 h 22288"/>
                  <a:gd name="connsiteX18" fmla="*/ 15335 w 22193"/>
                  <a:gd name="connsiteY18" fmla="*/ 8382 h 22288"/>
                  <a:gd name="connsiteX19" fmla="*/ 14288 w 22193"/>
                  <a:gd name="connsiteY19" fmla="*/ 5239 h 22288"/>
                  <a:gd name="connsiteX20" fmla="*/ 11240 w 22193"/>
                  <a:gd name="connsiteY20" fmla="*/ 4191 h 22288"/>
                  <a:gd name="connsiteX21" fmla="*/ 8096 w 22193"/>
                  <a:gd name="connsiteY21" fmla="*/ 5239 h 22288"/>
                  <a:gd name="connsiteX22" fmla="*/ 6668 w 22193"/>
                  <a:gd name="connsiteY22" fmla="*/ 8477 h 22288"/>
                  <a:gd name="connsiteX23" fmla="*/ 15335 w 22193"/>
                  <a:gd name="connsiteY23" fmla="*/ 8477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93" h="22288">
                    <a:moveTo>
                      <a:pt x="22098" y="12383"/>
                    </a:moveTo>
                    <a:lnTo>
                      <a:pt x="6668" y="12383"/>
                    </a:lnTo>
                    <a:cubicBezTo>
                      <a:pt x="6763" y="14002"/>
                      <a:pt x="7429" y="15335"/>
                      <a:pt x="8573" y="16193"/>
                    </a:cubicBezTo>
                    <a:cubicBezTo>
                      <a:pt x="9716" y="17050"/>
                      <a:pt x="11430" y="17526"/>
                      <a:pt x="13716" y="17526"/>
                    </a:cubicBezTo>
                    <a:cubicBezTo>
                      <a:pt x="15145" y="17526"/>
                      <a:pt x="16478" y="17240"/>
                      <a:pt x="17907" y="16764"/>
                    </a:cubicBezTo>
                    <a:cubicBezTo>
                      <a:pt x="19241" y="16288"/>
                      <a:pt x="20288" y="15716"/>
                      <a:pt x="21050" y="15145"/>
                    </a:cubicBezTo>
                    <a:lnTo>
                      <a:pt x="21812" y="15145"/>
                    </a:lnTo>
                    <a:lnTo>
                      <a:pt x="21812" y="20574"/>
                    </a:lnTo>
                    <a:cubicBezTo>
                      <a:pt x="20288" y="21146"/>
                      <a:pt x="18859" y="21622"/>
                      <a:pt x="17526" y="21908"/>
                    </a:cubicBezTo>
                    <a:cubicBezTo>
                      <a:pt x="16193" y="22193"/>
                      <a:pt x="14669" y="22289"/>
                      <a:pt x="13049" y="22289"/>
                    </a:cubicBezTo>
                    <a:cubicBezTo>
                      <a:pt x="8858" y="22289"/>
                      <a:pt x="5620" y="21336"/>
                      <a:pt x="3334" y="19431"/>
                    </a:cubicBezTo>
                    <a:cubicBezTo>
                      <a:pt x="1048" y="17526"/>
                      <a:pt x="0" y="14859"/>
                      <a:pt x="0" y="11335"/>
                    </a:cubicBezTo>
                    <a:cubicBezTo>
                      <a:pt x="0" y="7811"/>
                      <a:pt x="1048" y="5144"/>
                      <a:pt x="3143" y="3048"/>
                    </a:cubicBezTo>
                    <a:cubicBezTo>
                      <a:pt x="5239" y="1048"/>
                      <a:pt x="8192" y="0"/>
                      <a:pt x="11906" y="0"/>
                    </a:cubicBezTo>
                    <a:cubicBezTo>
                      <a:pt x="15335" y="0"/>
                      <a:pt x="17907" y="857"/>
                      <a:pt x="19622" y="2572"/>
                    </a:cubicBezTo>
                    <a:cubicBezTo>
                      <a:pt x="21336" y="4286"/>
                      <a:pt x="22193" y="6763"/>
                      <a:pt x="22193" y="10001"/>
                    </a:cubicBezTo>
                    <a:lnTo>
                      <a:pt x="22193" y="12383"/>
                    </a:lnTo>
                    <a:lnTo>
                      <a:pt x="22193" y="12383"/>
                    </a:lnTo>
                    <a:close/>
                    <a:moveTo>
                      <a:pt x="15335" y="8382"/>
                    </a:moveTo>
                    <a:cubicBezTo>
                      <a:pt x="15335" y="6953"/>
                      <a:pt x="14954" y="5905"/>
                      <a:pt x="14288" y="5239"/>
                    </a:cubicBezTo>
                    <a:cubicBezTo>
                      <a:pt x="13621" y="4477"/>
                      <a:pt x="12573" y="4191"/>
                      <a:pt x="11240" y="4191"/>
                    </a:cubicBezTo>
                    <a:cubicBezTo>
                      <a:pt x="9906" y="4191"/>
                      <a:pt x="8858" y="4477"/>
                      <a:pt x="8096" y="5239"/>
                    </a:cubicBezTo>
                    <a:cubicBezTo>
                      <a:pt x="7239" y="5905"/>
                      <a:pt x="6763" y="6953"/>
                      <a:pt x="6668" y="8477"/>
                    </a:cubicBezTo>
                    <a:lnTo>
                      <a:pt x="15335" y="8477"/>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1" name="Freeform: Shape 120">
                <a:extLst>
                  <a:ext uri="{FF2B5EF4-FFF2-40B4-BE49-F238E27FC236}">
                    <a16:creationId xmlns:a16="http://schemas.microsoft.com/office/drawing/2014/main" id="{724E4561-DD6E-4DCA-AAEB-72CAA33A0A37}"/>
                  </a:ext>
                </a:extLst>
              </p:cNvPr>
              <p:cNvSpPr/>
              <p:nvPr/>
            </p:nvSpPr>
            <p:spPr>
              <a:xfrm>
                <a:off x="6859460" y="4100456"/>
                <a:ext cx="15335" cy="21336"/>
              </a:xfrm>
              <a:custGeom>
                <a:avLst/>
                <a:gdLst>
                  <a:gd name="connsiteX0" fmla="*/ 15335 w 15335"/>
                  <a:gd name="connsiteY0" fmla="*/ 6572 h 21336"/>
                  <a:gd name="connsiteX1" fmla="*/ 14764 w 15335"/>
                  <a:gd name="connsiteY1" fmla="*/ 6572 h 21336"/>
                  <a:gd name="connsiteX2" fmla="*/ 13335 w 15335"/>
                  <a:gd name="connsiteY2" fmla="*/ 6382 h 21336"/>
                  <a:gd name="connsiteX3" fmla="*/ 11716 w 15335"/>
                  <a:gd name="connsiteY3" fmla="*/ 6382 h 21336"/>
                  <a:gd name="connsiteX4" fmla="*/ 9144 w 15335"/>
                  <a:gd name="connsiteY4" fmla="*/ 6572 h 21336"/>
                  <a:gd name="connsiteX5" fmla="*/ 6763 w 15335"/>
                  <a:gd name="connsiteY5" fmla="*/ 7239 h 21336"/>
                  <a:gd name="connsiteX6" fmla="*/ 6763 w 15335"/>
                  <a:gd name="connsiteY6" fmla="*/ 21336 h 21336"/>
                  <a:gd name="connsiteX7" fmla="*/ 0 w 15335"/>
                  <a:gd name="connsiteY7" fmla="*/ 21336 h 21336"/>
                  <a:gd name="connsiteX8" fmla="*/ 0 w 15335"/>
                  <a:gd name="connsiteY8" fmla="*/ 190 h 21336"/>
                  <a:gd name="connsiteX9" fmla="*/ 6763 w 15335"/>
                  <a:gd name="connsiteY9" fmla="*/ 190 h 21336"/>
                  <a:gd name="connsiteX10" fmla="*/ 6763 w 15335"/>
                  <a:gd name="connsiteY10" fmla="*/ 3239 h 21336"/>
                  <a:gd name="connsiteX11" fmla="*/ 10668 w 15335"/>
                  <a:gd name="connsiteY11" fmla="*/ 667 h 21336"/>
                  <a:gd name="connsiteX12" fmla="*/ 13716 w 15335"/>
                  <a:gd name="connsiteY12" fmla="*/ 0 h 21336"/>
                  <a:gd name="connsiteX13" fmla="*/ 14478 w 15335"/>
                  <a:gd name="connsiteY13" fmla="*/ 0 h 21336"/>
                  <a:gd name="connsiteX14" fmla="*/ 15240 w 15335"/>
                  <a:gd name="connsiteY14" fmla="*/ 0 h 21336"/>
                  <a:gd name="connsiteX15" fmla="*/ 15240 w 15335"/>
                  <a:gd name="connsiteY15" fmla="*/ 6382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35" h="21336">
                    <a:moveTo>
                      <a:pt x="15335" y="6572"/>
                    </a:moveTo>
                    <a:lnTo>
                      <a:pt x="14764" y="6572"/>
                    </a:lnTo>
                    <a:cubicBezTo>
                      <a:pt x="14764" y="6572"/>
                      <a:pt x="14002" y="6382"/>
                      <a:pt x="13335" y="6382"/>
                    </a:cubicBezTo>
                    <a:cubicBezTo>
                      <a:pt x="12668" y="6382"/>
                      <a:pt x="12192" y="6382"/>
                      <a:pt x="11716" y="6382"/>
                    </a:cubicBezTo>
                    <a:cubicBezTo>
                      <a:pt x="10763" y="6382"/>
                      <a:pt x="9906" y="6382"/>
                      <a:pt x="9144" y="6572"/>
                    </a:cubicBezTo>
                    <a:cubicBezTo>
                      <a:pt x="8382" y="6667"/>
                      <a:pt x="7620" y="6953"/>
                      <a:pt x="6763" y="7239"/>
                    </a:cubicBezTo>
                    <a:lnTo>
                      <a:pt x="6763" y="21336"/>
                    </a:lnTo>
                    <a:lnTo>
                      <a:pt x="0" y="21336"/>
                    </a:lnTo>
                    <a:lnTo>
                      <a:pt x="0" y="190"/>
                    </a:lnTo>
                    <a:lnTo>
                      <a:pt x="6763" y="190"/>
                    </a:lnTo>
                    <a:lnTo>
                      <a:pt x="6763" y="3239"/>
                    </a:lnTo>
                    <a:cubicBezTo>
                      <a:pt x="8287" y="2000"/>
                      <a:pt x="9525" y="1143"/>
                      <a:pt x="10668" y="667"/>
                    </a:cubicBezTo>
                    <a:cubicBezTo>
                      <a:pt x="11811" y="190"/>
                      <a:pt x="12764" y="0"/>
                      <a:pt x="13716" y="0"/>
                    </a:cubicBezTo>
                    <a:cubicBezTo>
                      <a:pt x="14002" y="0"/>
                      <a:pt x="14192" y="0"/>
                      <a:pt x="14478" y="0"/>
                    </a:cubicBezTo>
                    <a:cubicBezTo>
                      <a:pt x="14764" y="0"/>
                      <a:pt x="15049" y="0"/>
                      <a:pt x="15240" y="0"/>
                    </a:cubicBezTo>
                    <a:lnTo>
                      <a:pt x="15240" y="638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2" name="Freeform: Shape 121">
                <a:extLst>
                  <a:ext uri="{FF2B5EF4-FFF2-40B4-BE49-F238E27FC236}">
                    <a16:creationId xmlns:a16="http://schemas.microsoft.com/office/drawing/2014/main" id="{82865CCC-0C10-4282-9968-38A763F4C03D}"/>
                  </a:ext>
                </a:extLst>
              </p:cNvPr>
              <p:cNvSpPr/>
              <p:nvPr/>
            </p:nvSpPr>
            <p:spPr>
              <a:xfrm>
                <a:off x="6890130" y="4100170"/>
                <a:ext cx="19526" cy="22383"/>
              </a:xfrm>
              <a:custGeom>
                <a:avLst/>
                <a:gdLst>
                  <a:gd name="connsiteX0" fmla="*/ 12478 w 19526"/>
                  <a:gd name="connsiteY0" fmla="*/ 22098 h 22383"/>
                  <a:gd name="connsiteX1" fmla="*/ 7525 w 19526"/>
                  <a:gd name="connsiteY1" fmla="*/ 21431 h 22383"/>
                  <a:gd name="connsiteX2" fmla="*/ 3524 w 19526"/>
                  <a:gd name="connsiteY2" fmla="*/ 19431 h 22383"/>
                  <a:gd name="connsiteX3" fmla="*/ 953 w 19526"/>
                  <a:gd name="connsiteY3" fmla="*/ 16002 h 22383"/>
                  <a:gd name="connsiteX4" fmla="*/ 0 w 19526"/>
                  <a:gd name="connsiteY4" fmla="*/ 11144 h 22383"/>
                  <a:gd name="connsiteX5" fmla="*/ 953 w 19526"/>
                  <a:gd name="connsiteY5" fmla="*/ 6096 h 22383"/>
                  <a:gd name="connsiteX6" fmla="*/ 3715 w 19526"/>
                  <a:gd name="connsiteY6" fmla="*/ 2572 h 22383"/>
                  <a:gd name="connsiteX7" fmla="*/ 7620 w 19526"/>
                  <a:gd name="connsiteY7" fmla="*/ 572 h 22383"/>
                  <a:gd name="connsiteX8" fmla="*/ 12192 w 19526"/>
                  <a:gd name="connsiteY8" fmla="*/ 0 h 22383"/>
                  <a:gd name="connsiteX9" fmla="*/ 16097 w 19526"/>
                  <a:gd name="connsiteY9" fmla="*/ 476 h 22383"/>
                  <a:gd name="connsiteX10" fmla="*/ 19526 w 19526"/>
                  <a:gd name="connsiteY10" fmla="*/ 1715 h 22383"/>
                  <a:gd name="connsiteX11" fmla="*/ 19526 w 19526"/>
                  <a:gd name="connsiteY11" fmla="*/ 7430 h 22383"/>
                  <a:gd name="connsiteX12" fmla="*/ 18574 w 19526"/>
                  <a:gd name="connsiteY12" fmla="*/ 7430 h 22383"/>
                  <a:gd name="connsiteX13" fmla="*/ 17621 w 19526"/>
                  <a:gd name="connsiteY13" fmla="*/ 6668 h 22383"/>
                  <a:gd name="connsiteX14" fmla="*/ 16288 w 19526"/>
                  <a:gd name="connsiteY14" fmla="*/ 5810 h 22383"/>
                  <a:gd name="connsiteX15" fmla="*/ 14573 w 19526"/>
                  <a:gd name="connsiteY15" fmla="*/ 5144 h 22383"/>
                  <a:gd name="connsiteX16" fmla="*/ 12478 w 19526"/>
                  <a:gd name="connsiteY16" fmla="*/ 4858 h 22383"/>
                  <a:gd name="connsiteX17" fmla="*/ 8382 w 19526"/>
                  <a:gd name="connsiteY17" fmla="*/ 6572 h 22383"/>
                  <a:gd name="connsiteX18" fmla="*/ 6953 w 19526"/>
                  <a:gd name="connsiteY18" fmla="*/ 11240 h 22383"/>
                  <a:gd name="connsiteX19" fmla="*/ 8382 w 19526"/>
                  <a:gd name="connsiteY19" fmla="*/ 15811 h 22383"/>
                  <a:gd name="connsiteX20" fmla="*/ 12573 w 19526"/>
                  <a:gd name="connsiteY20" fmla="*/ 17431 h 22383"/>
                  <a:gd name="connsiteX21" fmla="*/ 14859 w 19526"/>
                  <a:gd name="connsiteY21" fmla="*/ 17145 h 22383"/>
                  <a:gd name="connsiteX22" fmla="*/ 16574 w 19526"/>
                  <a:gd name="connsiteY22" fmla="*/ 16478 h 22383"/>
                  <a:gd name="connsiteX23" fmla="*/ 17717 w 19526"/>
                  <a:gd name="connsiteY23" fmla="*/ 15716 h 22383"/>
                  <a:gd name="connsiteX24" fmla="*/ 18574 w 19526"/>
                  <a:gd name="connsiteY24" fmla="*/ 14954 h 22383"/>
                  <a:gd name="connsiteX25" fmla="*/ 19526 w 19526"/>
                  <a:gd name="connsiteY25" fmla="*/ 14954 h 22383"/>
                  <a:gd name="connsiteX26" fmla="*/ 19526 w 19526"/>
                  <a:gd name="connsiteY26" fmla="*/ 20669 h 22383"/>
                  <a:gd name="connsiteX27" fmla="*/ 16193 w 19526"/>
                  <a:gd name="connsiteY27" fmla="*/ 21908 h 22383"/>
                  <a:gd name="connsiteX28" fmla="*/ 12383 w 19526"/>
                  <a:gd name="connsiteY28" fmla="*/ 22384 h 22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526" h="22383">
                    <a:moveTo>
                      <a:pt x="12478" y="22098"/>
                    </a:moveTo>
                    <a:cubicBezTo>
                      <a:pt x="10668" y="22098"/>
                      <a:pt x="8954" y="21908"/>
                      <a:pt x="7525" y="21431"/>
                    </a:cubicBezTo>
                    <a:cubicBezTo>
                      <a:pt x="6001" y="20955"/>
                      <a:pt x="4667" y="20288"/>
                      <a:pt x="3524" y="19431"/>
                    </a:cubicBezTo>
                    <a:cubicBezTo>
                      <a:pt x="2381" y="18479"/>
                      <a:pt x="1524" y="17336"/>
                      <a:pt x="953" y="16002"/>
                    </a:cubicBezTo>
                    <a:cubicBezTo>
                      <a:pt x="381" y="14573"/>
                      <a:pt x="0" y="12954"/>
                      <a:pt x="0" y="11144"/>
                    </a:cubicBezTo>
                    <a:cubicBezTo>
                      <a:pt x="0" y="9144"/>
                      <a:pt x="286" y="7525"/>
                      <a:pt x="953" y="6096"/>
                    </a:cubicBezTo>
                    <a:cubicBezTo>
                      <a:pt x="1619" y="4667"/>
                      <a:pt x="2477" y="3524"/>
                      <a:pt x="3715" y="2572"/>
                    </a:cubicBezTo>
                    <a:cubicBezTo>
                      <a:pt x="4858" y="1715"/>
                      <a:pt x="6191" y="1048"/>
                      <a:pt x="7620" y="572"/>
                    </a:cubicBezTo>
                    <a:cubicBezTo>
                      <a:pt x="9144" y="191"/>
                      <a:pt x="10668" y="0"/>
                      <a:pt x="12192" y="0"/>
                    </a:cubicBezTo>
                    <a:cubicBezTo>
                      <a:pt x="13621" y="0"/>
                      <a:pt x="14954" y="191"/>
                      <a:pt x="16097" y="476"/>
                    </a:cubicBezTo>
                    <a:cubicBezTo>
                      <a:pt x="17335" y="762"/>
                      <a:pt x="18479" y="1143"/>
                      <a:pt x="19526" y="1715"/>
                    </a:cubicBezTo>
                    <a:lnTo>
                      <a:pt x="19526" y="7430"/>
                    </a:lnTo>
                    <a:lnTo>
                      <a:pt x="18574" y="7430"/>
                    </a:lnTo>
                    <a:cubicBezTo>
                      <a:pt x="18574" y="7430"/>
                      <a:pt x="18002" y="6953"/>
                      <a:pt x="17621" y="6668"/>
                    </a:cubicBezTo>
                    <a:cubicBezTo>
                      <a:pt x="17240" y="6382"/>
                      <a:pt x="16764" y="6096"/>
                      <a:pt x="16288" y="5810"/>
                    </a:cubicBezTo>
                    <a:cubicBezTo>
                      <a:pt x="15811" y="5525"/>
                      <a:pt x="15240" y="5334"/>
                      <a:pt x="14573" y="5144"/>
                    </a:cubicBezTo>
                    <a:cubicBezTo>
                      <a:pt x="14002" y="4953"/>
                      <a:pt x="13240" y="4858"/>
                      <a:pt x="12478" y="4858"/>
                    </a:cubicBezTo>
                    <a:cubicBezTo>
                      <a:pt x="10668" y="4858"/>
                      <a:pt x="9335" y="5429"/>
                      <a:pt x="8382" y="6572"/>
                    </a:cubicBezTo>
                    <a:cubicBezTo>
                      <a:pt x="7430" y="7715"/>
                      <a:pt x="6953" y="9239"/>
                      <a:pt x="6953" y="11240"/>
                    </a:cubicBezTo>
                    <a:cubicBezTo>
                      <a:pt x="6953" y="13240"/>
                      <a:pt x="7430" y="14764"/>
                      <a:pt x="8382" y="15811"/>
                    </a:cubicBezTo>
                    <a:cubicBezTo>
                      <a:pt x="9335" y="16859"/>
                      <a:pt x="10763" y="17431"/>
                      <a:pt x="12573" y="17431"/>
                    </a:cubicBezTo>
                    <a:cubicBezTo>
                      <a:pt x="13430" y="17431"/>
                      <a:pt x="14192" y="17336"/>
                      <a:pt x="14859" y="17145"/>
                    </a:cubicBezTo>
                    <a:cubicBezTo>
                      <a:pt x="15526" y="16955"/>
                      <a:pt x="16097" y="16764"/>
                      <a:pt x="16574" y="16478"/>
                    </a:cubicBezTo>
                    <a:cubicBezTo>
                      <a:pt x="17050" y="16193"/>
                      <a:pt x="17335" y="16002"/>
                      <a:pt x="17717" y="15716"/>
                    </a:cubicBezTo>
                    <a:cubicBezTo>
                      <a:pt x="18002" y="15430"/>
                      <a:pt x="18288" y="15145"/>
                      <a:pt x="18574" y="14954"/>
                    </a:cubicBezTo>
                    <a:lnTo>
                      <a:pt x="19526" y="14954"/>
                    </a:lnTo>
                    <a:lnTo>
                      <a:pt x="19526" y="20669"/>
                    </a:lnTo>
                    <a:cubicBezTo>
                      <a:pt x="18479" y="21146"/>
                      <a:pt x="17335" y="21527"/>
                      <a:pt x="16193" y="21908"/>
                    </a:cubicBezTo>
                    <a:cubicBezTo>
                      <a:pt x="15050" y="22193"/>
                      <a:pt x="13811" y="22384"/>
                      <a:pt x="12383" y="22384"/>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3" name="Freeform: Shape 122">
                <a:extLst>
                  <a:ext uri="{FF2B5EF4-FFF2-40B4-BE49-F238E27FC236}">
                    <a16:creationId xmlns:a16="http://schemas.microsoft.com/office/drawing/2014/main" id="{A1A5510D-9FFF-493D-B633-5F10940F931F}"/>
                  </a:ext>
                </a:extLst>
              </p:cNvPr>
              <p:cNvSpPr/>
              <p:nvPr/>
            </p:nvSpPr>
            <p:spPr>
              <a:xfrm>
                <a:off x="6913752" y="4099694"/>
                <a:ext cx="20859" cy="22479"/>
              </a:xfrm>
              <a:custGeom>
                <a:avLst/>
                <a:gdLst>
                  <a:gd name="connsiteX0" fmla="*/ 14097 w 20859"/>
                  <a:gd name="connsiteY0" fmla="*/ 19717 h 22479"/>
                  <a:gd name="connsiteX1" fmla="*/ 12763 w 20859"/>
                  <a:gd name="connsiteY1" fmla="*/ 20669 h 22479"/>
                  <a:gd name="connsiteX2" fmla="*/ 11239 w 20859"/>
                  <a:gd name="connsiteY2" fmla="*/ 21622 h 22479"/>
                  <a:gd name="connsiteX3" fmla="*/ 9239 w 20859"/>
                  <a:gd name="connsiteY3" fmla="*/ 22289 h 22479"/>
                  <a:gd name="connsiteX4" fmla="*/ 6953 w 20859"/>
                  <a:gd name="connsiteY4" fmla="*/ 22479 h 22479"/>
                  <a:gd name="connsiteX5" fmla="*/ 2000 w 20859"/>
                  <a:gd name="connsiteY5" fmla="*/ 20574 h 22479"/>
                  <a:gd name="connsiteX6" fmla="*/ 0 w 20859"/>
                  <a:gd name="connsiteY6" fmla="*/ 15812 h 22479"/>
                  <a:gd name="connsiteX7" fmla="*/ 1048 w 20859"/>
                  <a:gd name="connsiteY7" fmla="*/ 12002 h 22479"/>
                  <a:gd name="connsiteX8" fmla="*/ 3905 w 20859"/>
                  <a:gd name="connsiteY8" fmla="*/ 9716 h 22479"/>
                  <a:gd name="connsiteX9" fmla="*/ 8477 w 20859"/>
                  <a:gd name="connsiteY9" fmla="*/ 8477 h 22479"/>
                  <a:gd name="connsiteX10" fmla="*/ 14192 w 20859"/>
                  <a:gd name="connsiteY10" fmla="*/ 7906 h 22479"/>
                  <a:gd name="connsiteX11" fmla="*/ 14192 w 20859"/>
                  <a:gd name="connsiteY11" fmla="*/ 7906 h 22479"/>
                  <a:gd name="connsiteX12" fmla="*/ 12763 w 20859"/>
                  <a:gd name="connsiteY12" fmla="*/ 5334 h 22479"/>
                  <a:gd name="connsiteX13" fmla="*/ 8572 w 20859"/>
                  <a:gd name="connsiteY13" fmla="*/ 4667 h 22479"/>
                  <a:gd name="connsiteX14" fmla="*/ 5048 w 20859"/>
                  <a:gd name="connsiteY14" fmla="*/ 5239 h 22479"/>
                  <a:gd name="connsiteX15" fmla="*/ 2381 w 20859"/>
                  <a:gd name="connsiteY15" fmla="*/ 6096 h 22479"/>
                  <a:gd name="connsiteX16" fmla="*/ 1810 w 20859"/>
                  <a:gd name="connsiteY16" fmla="*/ 6096 h 22479"/>
                  <a:gd name="connsiteX17" fmla="*/ 1810 w 20859"/>
                  <a:gd name="connsiteY17" fmla="*/ 1048 h 22479"/>
                  <a:gd name="connsiteX18" fmla="*/ 5239 w 20859"/>
                  <a:gd name="connsiteY18" fmla="*/ 381 h 22479"/>
                  <a:gd name="connsiteX19" fmla="*/ 10001 w 20859"/>
                  <a:gd name="connsiteY19" fmla="*/ 0 h 22479"/>
                  <a:gd name="connsiteX20" fmla="*/ 18288 w 20859"/>
                  <a:gd name="connsiteY20" fmla="*/ 1715 h 22479"/>
                  <a:gd name="connsiteX21" fmla="*/ 20860 w 20859"/>
                  <a:gd name="connsiteY21" fmla="*/ 7239 h 22479"/>
                  <a:gd name="connsiteX22" fmla="*/ 20860 w 20859"/>
                  <a:gd name="connsiteY22" fmla="*/ 21527 h 22479"/>
                  <a:gd name="connsiteX23" fmla="*/ 14192 w 20859"/>
                  <a:gd name="connsiteY23" fmla="*/ 21527 h 22479"/>
                  <a:gd name="connsiteX24" fmla="*/ 14192 w 20859"/>
                  <a:gd name="connsiteY24" fmla="*/ 19336 h 22479"/>
                  <a:gd name="connsiteX25" fmla="*/ 14192 w 20859"/>
                  <a:gd name="connsiteY25" fmla="*/ 19336 h 22479"/>
                  <a:gd name="connsiteX26" fmla="*/ 14097 w 20859"/>
                  <a:gd name="connsiteY26" fmla="*/ 16383 h 22479"/>
                  <a:gd name="connsiteX27" fmla="*/ 14097 w 20859"/>
                  <a:gd name="connsiteY27" fmla="*/ 12002 h 22479"/>
                  <a:gd name="connsiteX28" fmla="*/ 11144 w 20859"/>
                  <a:gd name="connsiteY28" fmla="*/ 12287 h 22479"/>
                  <a:gd name="connsiteX29" fmla="*/ 8763 w 20859"/>
                  <a:gd name="connsiteY29" fmla="*/ 12764 h 22479"/>
                  <a:gd name="connsiteX30" fmla="*/ 7239 w 20859"/>
                  <a:gd name="connsiteY30" fmla="*/ 13716 h 22479"/>
                  <a:gd name="connsiteX31" fmla="*/ 6763 w 20859"/>
                  <a:gd name="connsiteY31" fmla="*/ 15335 h 22479"/>
                  <a:gd name="connsiteX32" fmla="*/ 6858 w 20859"/>
                  <a:gd name="connsiteY32" fmla="*/ 16383 h 22479"/>
                  <a:gd name="connsiteX33" fmla="*/ 7429 w 20859"/>
                  <a:gd name="connsiteY33" fmla="*/ 17145 h 22479"/>
                  <a:gd name="connsiteX34" fmla="*/ 8477 w 20859"/>
                  <a:gd name="connsiteY34" fmla="*/ 17717 h 22479"/>
                  <a:gd name="connsiteX35" fmla="*/ 10287 w 20859"/>
                  <a:gd name="connsiteY35" fmla="*/ 17907 h 22479"/>
                  <a:gd name="connsiteX36" fmla="*/ 12287 w 20859"/>
                  <a:gd name="connsiteY36" fmla="*/ 17526 h 22479"/>
                  <a:gd name="connsiteX37" fmla="*/ 14097 w 20859"/>
                  <a:gd name="connsiteY37" fmla="*/ 16383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859" h="22479">
                    <a:moveTo>
                      <a:pt x="14097" y="19717"/>
                    </a:moveTo>
                    <a:cubicBezTo>
                      <a:pt x="14097" y="19717"/>
                      <a:pt x="13240" y="20288"/>
                      <a:pt x="12763" y="20669"/>
                    </a:cubicBezTo>
                    <a:cubicBezTo>
                      <a:pt x="12192" y="21050"/>
                      <a:pt x="11716" y="21336"/>
                      <a:pt x="11239" y="21622"/>
                    </a:cubicBezTo>
                    <a:cubicBezTo>
                      <a:pt x="10573" y="21908"/>
                      <a:pt x="9906" y="22193"/>
                      <a:pt x="9239" y="22289"/>
                    </a:cubicBezTo>
                    <a:cubicBezTo>
                      <a:pt x="8477" y="22384"/>
                      <a:pt x="7715" y="22479"/>
                      <a:pt x="6953" y="22479"/>
                    </a:cubicBezTo>
                    <a:cubicBezTo>
                      <a:pt x="4953" y="22479"/>
                      <a:pt x="3334" y="21908"/>
                      <a:pt x="2000" y="20574"/>
                    </a:cubicBezTo>
                    <a:cubicBezTo>
                      <a:pt x="667" y="19336"/>
                      <a:pt x="0" y="17717"/>
                      <a:pt x="0" y="15812"/>
                    </a:cubicBezTo>
                    <a:cubicBezTo>
                      <a:pt x="0" y="14288"/>
                      <a:pt x="381" y="13049"/>
                      <a:pt x="1048" y="12002"/>
                    </a:cubicBezTo>
                    <a:cubicBezTo>
                      <a:pt x="1714" y="11049"/>
                      <a:pt x="2667" y="10287"/>
                      <a:pt x="3905" y="9716"/>
                    </a:cubicBezTo>
                    <a:cubicBezTo>
                      <a:pt x="5143" y="9144"/>
                      <a:pt x="6667" y="8763"/>
                      <a:pt x="8477" y="8477"/>
                    </a:cubicBezTo>
                    <a:cubicBezTo>
                      <a:pt x="10287" y="8287"/>
                      <a:pt x="12192" y="8096"/>
                      <a:pt x="14192" y="7906"/>
                    </a:cubicBezTo>
                    <a:lnTo>
                      <a:pt x="14192" y="7906"/>
                    </a:lnTo>
                    <a:cubicBezTo>
                      <a:pt x="14192" y="6572"/>
                      <a:pt x="13716" y="5810"/>
                      <a:pt x="12763" y="5334"/>
                    </a:cubicBezTo>
                    <a:cubicBezTo>
                      <a:pt x="11811" y="4858"/>
                      <a:pt x="10477" y="4667"/>
                      <a:pt x="8572" y="4667"/>
                    </a:cubicBezTo>
                    <a:cubicBezTo>
                      <a:pt x="7429" y="4667"/>
                      <a:pt x="6286" y="4858"/>
                      <a:pt x="5048" y="5239"/>
                    </a:cubicBezTo>
                    <a:cubicBezTo>
                      <a:pt x="3810" y="5620"/>
                      <a:pt x="2953" y="5906"/>
                      <a:pt x="2381" y="6096"/>
                    </a:cubicBezTo>
                    <a:lnTo>
                      <a:pt x="1810" y="6096"/>
                    </a:lnTo>
                    <a:lnTo>
                      <a:pt x="1810" y="1048"/>
                    </a:lnTo>
                    <a:cubicBezTo>
                      <a:pt x="2476" y="857"/>
                      <a:pt x="3715" y="667"/>
                      <a:pt x="5239" y="381"/>
                    </a:cubicBezTo>
                    <a:cubicBezTo>
                      <a:pt x="6858" y="95"/>
                      <a:pt x="8382" y="0"/>
                      <a:pt x="10001" y="0"/>
                    </a:cubicBezTo>
                    <a:cubicBezTo>
                      <a:pt x="13811" y="0"/>
                      <a:pt x="16573" y="572"/>
                      <a:pt x="18288" y="1715"/>
                    </a:cubicBezTo>
                    <a:cubicBezTo>
                      <a:pt x="20002" y="2953"/>
                      <a:pt x="20860" y="4763"/>
                      <a:pt x="20860" y="7239"/>
                    </a:cubicBezTo>
                    <a:lnTo>
                      <a:pt x="20860" y="21527"/>
                    </a:lnTo>
                    <a:lnTo>
                      <a:pt x="14192" y="21527"/>
                    </a:lnTo>
                    <a:lnTo>
                      <a:pt x="14192" y="19336"/>
                    </a:lnTo>
                    <a:lnTo>
                      <a:pt x="14192" y="19336"/>
                    </a:lnTo>
                    <a:close/>
                    <a:moveTo>
                      <a:pt x="14097" y="16383"/>
                    </a:moveTo>
                    <a:lnTo>
                      <a:pt x="14097" y="12002"/>
                    </a:lnTo>
                    <a:cubicBezTo>
                      <a:pt x="13144" y="12002"/>
                      <a:pt x="12192" y="12192"/>
                      <a:pt x="11144" y="12287"/>
                    </a:cubicBezTo>
                    <a:cubicBezTo>
                      <a:pt x="10096" y="12383"/>
                      <a:pt x="9334" y="12573"/>
                      <a:pt x="8763" y="12764"/>
                    </a:cubicBezTo>
                    <a:cubicBezTo>
                      <a:pt x="8096" y="12954"/>
                      <a:pt x="7620" y="13240"/>
                      <a:pt x="7239" y="13716"/>
                    </a:cubicBezTo>
                    <a:cubicBezTo>
                      <a:pt x="6858" y="14097"/>
                      <a:pt x="6763" y="14669"/>
                      <a:pt x="6763" y="15335"/>
                    </a:cubicBezTo>
                    <a:cubicBezTo>
                      <a:pt x="6763" y="15812"/>
                      <a:pt x="6763" y="16097"/>
                      <a:pt x="6858" y="16383"/>
                    </a:cubicBezTo>
                    <a:cubicBezTo>
                      <a:pt x="6858" y="16669"/>
                      <a:pt x="7144" y="16955"/>
                      <a:pt x="7429" y="17145"/>
                    </a:cubicBezTo>
                    <a:cubicBezTo>
                      <a:pt x="7715" y="17431"/>
                      <a:pt x="8096" y="17621"/>
                      <a:pt x="8477" y="17717"/>
                    </a:cubicBezTo>
                    <a:cubicBezTo>
                      <a:pt x="8858" y="17812"/>
                      <a:pt x="9525" y="17907"/>
                      <a:pt x="10287" y="17907"/>
                    </a:cubicBezTo>
                    <a:cubicBezTo>
                      <a:pt x="10954" y="17907"/>
                      <a:pt x="11620" y="17812"/>
                      <a:pt x="12287" y="17526"/>
                    </a:cubicBezTo>
                    <a:cubicBezTo>
                      <a:pt x="12954" y="17240"/>
                      <a:pt x="13621" y="16859"/>
                      <a:pt x="14097" y="16383"/>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4" name="Freeform: Shape 123">
                <a:extLst>
                  <a:ext uri="{FF2B5EF4-FFF2-40B4-BE49-F238E27FC236}">
                    <a16:creationId xmlns:a16="http://schemas.microsoft.com/office/drawing/2014/main" id="{042C45AC-2A6A-4C66-AA51-16CE1D4C8781}"/>
                  </a:ext>
                </a:extLst>
              </p:cNvPr>
              <p:cNvSpPr/>
              <p:nvPr/>
            </p:nvSpPr>
            <p:spPr>
              <a:xfrm>
                <a:off x="6939470" y="4100075"/>
                <a:ext cx="21145" cy="21621"/>
              </a:xfrm>
              <a:custGeom>
                <a:avLst/>
                <a:gdLst>
                  <a:gd name="connsiteX0" fmla="*/ 21146 w 21145"/>
                  <a:gd name="connsiteY0" fmla="*/ 21622 h 21621"/>
                  <a:gd name="connsiteX1" fmla="*/ 14383 w 21145"/>
                  <a:gd name="connsiteY1" fmla="*/ 21622 h 21621"/>
                  <a:gd name="connsiteX2" fmla="*/ 14383 w 21145"/>
                  <a:gd name="connsiteY2" fmla="*/ 11239 h 21621"/>
                  <a:gd name="connsiteX3" fmla="*/ 14192 w 21145"/>
                  <a:gd name="connsiteY3" fmla="*/ 8668 h 21621"/>
                  <a:gd name="connsiteX4" fmla="*/ 13716 w 21145"/>
                  <a:gd name="connsiteY4" fmla="*/ 6763 h 21621"/>
                  <a:gd name="connsiteX5" fmla="*/ 12668 w 21145"/>
                  <a:gd name="connsiteY5" fmla="*/ 5715 h 21621"/>
                  <a:gd name="connsiteX6" fmla="*/ 10668 w 21145"/>
                  <a:gd name="connsiteY6" fmla="*/ 5429 h 21621"/>
                  <a:gd name="connsiteX7" fmla="*/ 8763 w 21145"/>
                  <a:gd name="connsiteY7" fmla="*/ 5715 h 21621"/>
                  <a:gd name="connsiteX8" fmla="*/ 6763 w 21145"/>
                  <a:gd name="connsiteY8" fmla="*/ 6668 h 21621"/>
                  <a:gd name="connsiteX9" fmla="*/ 6763 w 21145"/>
                  <a:gd name="connsiteY9" fmla="*/ 21527 h 21621"/>
                  <a:gd name="connsiteX10" fmla="*/ 0 w 21145"/>
                  <a:gd name="connsiteY10" fmla="*/ 21527 h 21621"/>
                  <a:gd name="connsiteX11" fmla="*/ 0 w 21145"/>
                  <a:gd name="connsiteY11" fmla="*/ 572 h 21621"/>
                  <a:gd name="connsiteX12" fmla="*/ 6763 w 21145"/>
                  <a:gd name="connsiteY12" fmla="*/ 572 h 21621"/>
                  <a:gd name="connsiteX13" fmla="*/ 6763 w 21145"/>
                  <a:gd name="connsiteY13" fmla="*/ 2953 h 21621"/>
                  <a:gd name="connsiteX14" fmla="*/ 10192 w 21145"/>
                  <a:gd name="connsiteY14" fmla="*/ 762 h 21621"/>
                  <a:gd name="connsiteX15" fmla="*/ 13811 w 21145"/>
                  <a:gd name="connsiteY15" fmla="*/ 0 h 21621"/>
                  <a:gd name="connsiteX16" fmla="*/ 19145 w 21145"/>
                  <a:gd name="connsiteY16" fmla="*/ 2000 h 21621"/>
                  <a:gd name="connsiteX17" fmla="*/ 21050 w 21145"/>
                  <a:gd name="connsiteY17" fmla="*/ 7906 h 21621"/>
                  <a:gd name="connsiteX18" fmla="*/ 21050 w 21145"/>
                  <a:gd name="connsiteY18" fmla="*/ 21622 h 2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145" h="21621">
                    <a:moveTo>
                      <a:pt x="21146" y="21622"/>
                    </a:moveTo>
                    <a:lnTo>
                      <a:pt x="14383" y="21622"/>
                    </a:lnTo>
                    <a:lnTo>
                      <a:pt x="14383" y="11239"/>
                    </a:lnTo>
                    <a:cubicBezTo>
                      <a:pt x="14383" y="10382"/>
                      <a:pt x="14383" y="9525"/>
                      <a:pt x="14192" y="8668"/>
                    </a:cubicBezTo>
                    <a:cubicBezTo>
                      <a:pt x="14192" y="7811"/>
                      <a:pt x="14002" y="7239"/>
                      <a:pt x="13716" y="6763"/>
                    </a:cubicBezTo>
                    <a:cubicBezTo>
                      <a:pt x="13430" y="6287"/>
                      <a:pt x="13145" y="6001"/>
                      <a:pt x="12668" y="5715"/>
                    </a:cubicBezTo>
                    <a:cubicBezTo>
                      <a:pt x="12192" y="5525"/>
                      <a:pt x="11525" y="5429"/>
                      <a:pt x="10668" y="5429"/>
                    </a:cubicBezTo>
                    <a:cubicBezTo>
                      <a:pt x="10097" y="5429"/>
                      <a:pt x="9430" y="5429"/>
                      <a:pt x="8763" y="5715"/>
                    </a:cubicBezTo>
                    <a:cubicBezTo>
                      <a:pt x="8096" y="5905"/>
                      <a:pt x="7430" y="6191"/>
                      <a:pt x="6763" y="6668"/>
                    </a:cubicBezTo>
                    <a:lnTo>
                      <a:pt x="6763" y="21527"/>
                    </a:lnTo>
                    <a:lnTo>
                      <a:pt x="0" y="21527"/>
                    </a:lnTo>
                    <a:lnTo>
                      <a:pt x="0" y="572"/>
                    </a:lnTo>
                    <a:lnTo>
                      <a:pt x="6763" y="572"/>
                    </a:lnTo>
                    <a:lnTo>
                      <a:pt x="6763" y="2953"/>
                    </a:lnTo>
                    <a:cubicBezTo>
                      <a:pt x="8001" y="2000"/>
                      <a:pt x="9144" y="1334"/>
                      <a:pt x="10192" y="762"/>
                    </a:cubicBezTo>
                    <a:cubicBezTo>
                      <a:pt x="11335" y="286"/>
                      <a:pt x="12478" y="0"/>
                      <a:pt x="13811" y="0"/>
                    </a:cubicBezTo>
                    <a:cubicBezTo>
                      <a:pt x="16097" y="0"/>
                      <a:pt x="17812" y="667"/>
                      <a:pt x="19145" y="2000"/>
                    </a:cubicBezTo>
                    <a:cubicBezTo>
                      <a:pt x="20383" y="3334"/>
                      <a:pt x="21050" y="5334"/>
                      <a:pt x="21050" y="7906"/>
                    </a:cubicBezTo>
                    <a:lnTo>
                      <a:pt x="21050" y="2162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5" name="Freeform: Shape 124">
                <a:extLst>
                  <a:ext uri="{FF2B5EF4-FFF2-40B4-BE49-F238E27FC236}">
                    <a16:creationId xmlns:a16="http://schemas.microsoft.com/office/drawing/2014/main" id="{109DCCF8-BE60-4E46-A0D5-A983DACE81CC}"/>
                  </a:ext>
                </a:extLst>
              </p:cNvPr>
              <p:cNvSpPr/>
              <p:nvPr/>
            </p:nvSpPr>
            <p:spPr>
              <a:xfrm>
                <a:off x="6764305" y="4134365"/>
                <a:ext cx="20192" cy="27908"/>
              </a:xfrm>
              <a:custGeom>
                <a:avLst/>
                <a:gdLst>
                  <a:gd name="connsiteX0" fmla="*/ 20193 w 20192"/>
                  <a:gd name="connsiteY0" fmla="*/ 27908 h 27908"/>
                  <a:gd name="connsiteX1" fmla="*/ 0 w 20192"/>
                  <a:gd name="connsiteY1" fmla="*/ 27908 h 27908"/>
                  <a:gd name="connsiteX2" fmla="*/ 0 w 20192"/>
                  <a:gd name="connsiteY2" fmla="*/ 0 h 27908"/>
                  <a:gd name="connsiteX3" fmla="*/ 20193 w 20192"/>
                  <a:gd name="connsiteY3" fmla="*/ 0 h 27908"/>
                  <a:gd name="connsiteX4" fmla="*/ 20193 w 20192"/>
                  <a:gd name="connsiteY4" fmla="*/ 5429 h 27908"/>
                  <a:gd name="connsiteX5" fmla="*/ 7239 w 20192"/>
                  <a:gd name="connsiteY5" fmla="*/ 5429 h 27908"/>
                  <a:gd name="connsiteX6" fmla="*/ 7239 w 20192"/>
                  <a:gd name="connsiteY6" fmla="*/ 10192 h 27908"/>
                  <a:gd name="connsiteX7" fmla="*/ 19241 w 20192"/>
                  <a:gd name="connsiteY7" fmla="*/ 10192 h 27908"/>
                  <a:gd name="connsiteX8" fmla="*/ 19241 w 20192"/>
                  <a:gd name="connsiteY8" fmla="*/ 15621 h 27908"/>
                  <a:gd name="connsiteX9" fmla="*/ 7239 w 20192"/>
                  <a:gd name="connsiteY9" fmla="*/ 15621 h 27908"/>
                  <a:gd name="connsiteX10" fmla="*/ 7239 w 20192"/>
                  <a:gd name="connsiteY10" fmla="*/ 22574 h 27908"/>
                  <a:gd name="connsiteX11" fmla="*/ 20193 w 20192"/>
                  <a:gd name="connsiteY11" fmla="*/ 22574 h 27908"/>
                  <a:gd name="connsiteX12" fmla="*/ 20193 w 20192"/>
                  <a:gd name="connsiteY12" fmla="*/ 27908 h 27908"/>
                  <a:gd name="connsiteX13" fmla="*/ 20193 w 20192"/>
                  <a:gd name="connsiteY13" fmla="*/ 27908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92" h="27908">
                    <a:moveTo>
                      <a:pt x="20193" y="27908"/>
                    </a:moveTo>
                    <a:lnTo>
                      <a:pt x="0" y="27908"/>
                    </a:lnTo>
                    <a:lnTo>
                      <a:pt x="0" y="0"/>
                    </a:lnTo>
                    <a:lnTo>
                      <a:pt x="20193" y="0"/>
                    </a:lnTo>
                    <a:lnTo>
                      <a:pt x="20193" y="5429"/>
                    </a:lnTo>
                    <a:lnTo>
                      <a:pt x="7239" y="5429"/>
                    </a:lnTo>
                    <a:lnTo>
                      <a:pt x="7239" y="10192"/>
                    </a:lnTo>
                    <a:lnTo>
                      <a:pt x="19241" y="10192"/>
                    </a:lnTo>
                    <a:lnTo>
                      <a:pt x="19241" y="15621"/>
                    </a:lnTo>
                    <a:lnTo>
                      <a:pt x="7239" y="15621"/>
                    </a:lnTo>
                    <a:lnTo>
                      <a:pt x="7239" y="22574"/>
                    </a:lnTo>
                    <a:lnTo>
                      <a:pt x="20193" y="22574"/>
                    </a:lnTo>
                    <a:lnTo>
                      <a:pt x="20193" y="27908"/>
                    </a:lnTo>
                    <a:lnTo>
                      <a:pt x="20193" y="2790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6" name="Freeform: Shape 125">
                <a:extLst>
                  <a:ext uri="{FF2B5EF4-FFF2-40B4-BE49-F238E27FC236}">
                    <a16:creationId xmlns:a16="http://schemas.microsoft.com/office/drawing/2014/main" id="{047E6C74-CD12-46DC-90A9-D3EDDB43857E}"/>
                  </a:ext>
                </a:extLst>
              </p:cNvPr>
              <p:cNvSpPr/>
              <p:nvPr/>
            </p:nvSpPr>
            <p:spPr>
              <a:xfrm>
                <a:off x="6789832" y="4133413"/>
                <a:ext cx="6762" cy="29146"/>
              </a:xfrm>
              <a:custGeom>
                <a:avLst/>
                <a:gdLst>
                  <a:gd name="connsiteX0" fmla="*/ 6763 w 6762"/>
                  <a:gd name="connsiteY0" fmla="*/ 29147 h 29146"/>
                  <a:gd name="connsiteX1" fmla="*/ 0 w 6762"/>
                  <a:gd name="connsiteY1" fmla="*/ 29147 h 29146"/>
                  <a:gd name="connsiteX2" fmla="*/ 0 w 6762"/>
                  <a:gd name="connsiteY2" fmla="*/ 0 h 29146"/>
                  <a:gd name="connsiteX3" fmla="*/ 6763 w 6762"/>
                  <a:gd name="connsiteY3" fmla="*/ 0 h 29146"/>
                  <a:gd name="connsiteX4" fmla="*/ 6763 w 6762"/>
                  <a:gd name="connsiteY4" fmla="*/ 29147 h 29146"/>
                  <a:gd name="connsiteX5" fmla="*/ 6763 w 6762"/>
                  <a:gd name="connsiteY5" fmla="*/ 29147 h 29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9146">
                    <a:moveTo>
                      <a:pt x="6763" y="29147"/>
                    </a:moveTo>
                    <a:lnTo>
                      <a:pt x="0" y="29147"/>
                    </a:lnTo>
                    <a:lnTo>
                      <a:pt x="0" y="0"/>
                    </a:lnTo>
                    <a:lnTo>
                      <a:pt x="6763" y="0"/>
                    </a:lnTo>
                    <a:lnTo>
                      <a:pt x="6763" y="29147"/>
                    </a:lnTo>
                    <a:lnTo>
                      <a:pt x="6763" y="291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7" name="Freeform: Shape 126">
                <a:extLst>
                  <a:ext uri="{FF2B5EF4-FFF2-40B4-BE49-F238E27FC236}">
                    <a16:creationId xmlns:a16="http://schemas.microsoft.com/office/drawing/2014/main" id="{A69DC110-AF5C-4B2A-9FDB-547D04F5EC4D}"/>
                  </a:ext>
                </a:extLst>
              </p:cNvPr>
              <p:cNvSpPr/>
              <p:nvPr/>
            </p:nvSpPr>
            <p:spPr>
              <a:xfrm>
                <a:off x="6800500" y="4140651"/>
                <a:ext cx="22193" cy="22288"/>
              </a:xfrm>
              <a:custGeom>
                <a:avLst/>
                <a:gdLst>
                  <a:gd name="connsiteX0" fmla="*/ 22098 w 22193"/>
                  <a:gd name="connsiteY0" fmla="*/ 12383 h 22288"/>
                  <a:gd name="connsiteX1" fmla="*/ 6668 w 22193"/>
                  <a:gd name="connsiteY1" fmla="*/ 12383 h 22288"/>
                  <a:gd name="connsiteX2" fmla="*/ 8573 w 22193"/>
                  <a:gd name="connsiteY2" fmla="*/ 16193 h 22288"/>
                  <a:gd name="connsiteX3" fmla="*/ 13716 w 22193"/>
                  <a:gd name="connsiteY3" fmla="*/ 17526 h 22288"/>
                  <a:gd name="connsiteX4" fmla="*/ 17812 w 22193"/>
                  <a:gd name="connsiteY4" fmla="*/ 16764 h 22288"/>
                  <a:gd name="connsiteX5" fmla="*/ 20955 w 22193"/>
                  <a:gd name="connsiteY5" fmla="*/ 15145 h 22288"/>
                  <a:gd name="connsiteX6" fmla="*/ 21717 w 22193"/>
                  <a:gd name="connsiteY6" fmla="*/ 15145 h 22288"/>
                  <a:gd name="connsiteX7" fmla="*/ 21717 w 22193"/>
                  <a:gd name="connsiteY7" fmla="*/ 20574 h 22288"/>
                  <a:gd name="connsiteX8" fmla="*/ 17431 w 22193"/>
                  <a:gd name="connsiteY8" fmla="*/ 21908 h 22288"/>
                  <a:gd name="connsiteX9" fmla="*/ 12954 w 22193"/>
                  <a:gd name="connsiteY9" fmla="*/ 22289 h 22288"/>
                  <a:gd name="connsiteX10" fmla="*/ 3334 w 22193"/>
                  <a:gd name="connsiteY10" fmla="*/ 19431 h 22288"/>
                  <a:gd name="connsiteX11" fmla="*/ 0 w 22193"/>
                  <a:gd name="connsiteY11" fmla="*/ 11335 h 22288"/>
                  <a:gd name="connsiteX12" fmla="*/ 3143 w 22193"/>
                  <a:gd name="connsiteY12" fmla="*/ 3048 h 22288"/>
                  <a:gd name="connsiteX13" fmla="*/ 11906 w 22193"/>
                  <a:gd name="connsiteY13" fmla="*/ 0 h 22288"/>
                  <a:gd name="connsiteX14" fmla="*/ 19622 w 22193"/>
                  <a:gd name="connsiteY14" fmla="*/ 2572 h 22288"/>
                  <a:gd name="connsiteX15" fmla="*/ 22193 w 22193"/>
                  <a:gd name="connsiteY15" fmla="*/ 10001 h 22288"/>
                  <a:gd name="connsiteX16" fmla="*/ 22193 w 22193"/>
                  <a:gd name="connsiteY16" fmla="*/ 12383 h 22288"/>
                  <a:gd name="connsiteX17" fmla="*/ 22193 w 22193"/>
                  <a:gd name="connsiteY17" fmla="*/ 12383 h 22288"/>
                  <a:gd name="connsiteX18" fmla="*/ 15335 w 22193"/>
                  <a:gd name="connsiteY18" fmla="*/ 8477 h 22288"/>
                  <a:gd name="connsiteX19" fmla="*/ 14288 w 22193"/>
                  <a:gd name="connsiteY19" fmla="*/ 5334 h 22288"/>
                  <a:gd name="connsiteX20" fmla="*/ 11240 w 22193"/>
                  <a:gd name="connsiteY20" fmla="*/ 4286 h 22288"/>
                  <a:gd name="connsiteX21" fmla="*/ 8001 w 22193"/>
                  <a:gd name="connsiteY21" fmla="*/ 5334 h 22288"/>
                  <a:gd name="connsiteX22" fmla="*/ 6572 w 22193"/>
                  <a:gd name="connsiteY22" fmla="*/ 8573 h 22288"/>
                  <a:gd name="connsiteX23" fmla="*/ 15240 w 22193"/>
                  <a:gd name="connsiteY23" fmla="*/ 8573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193" h="22288">
                    <a:moveTo>
                      <a:pt x="22098" y="12383"/>
                    </a:moveTo>
                    <a:lnTo>
                      <a:pt x="6668" y="12383"/>
                    </a:lnTo>
                    <a:cubicBezTo>
                      <a:pt x="6763" y="14002"/>
                      <a:pt x="7430" y="15335"/>
                      <a:pt x="8573" y="16193"/>
                    </a:cubicBezTo>
                    <a:cubicBezTo>
                      <a:pt x="9716" y="17050"/>
                      <a:pt x="11430" y="17526"/>
                      <a:pt x="13716" y="17526"/>
                    </a:cubicBezTo>
                    <a:cubicBezTo>
                      <a:pt x="15145" y="17526"/>
                      <a:pt x="16478" y="17240"/>
                      <a:pt x="17812" y="16764"/>
                    </a:cubicBezTo>
                    <a:cubicBezTo>
                      <a:pt x="19145" y="16288"/>
                      <a:pt x="20193" y="15716"/>
                      <a:pt x="20955" y="15145"/>
                    </a:cubicBezTo>
                    <a:lnTo>
                      <a:pt x="21717" y="15145"/>
                    </a:lnTo>
                    <a:lnTo>
                      <a:pt x="21717" y="20574"/>
                    </a:lnTo>
                    <a:cubicBezTo>
                      <a:pt x="20193" y="21146"/>
                      <a:pt x="18764" y="21622"/>
                      <a:pt x="17431" y="21908"/>
                    </a:cubicBezTo>
                    <a:cubicBezTo>
                      <a:pt x="16097" y="22193"/>
                      <a:pt x="14573" y="22289"/>
                      <a:pt x="12954" y="22289"/>
                    </a:cubicBezTo>
                    <a:cubicBezTo>
                      <a:pt x="8763" y="22289"/>
                      <a:pt x="5525" y="21336"/>
                      <a:pt x="3334" y="19431"/>
                    </a:cubicBezTo>
                    <a:cubicBezTo>
                      <a:pt x="1048" y="17526"/>
                      <a:pt x="0" y="14859"/>
                      <a:pt x="0" y="11335"/>
                    </a:cubicBezTo>
                    <a:cubicBezTo>
                      <a:pt x="0" y="7811"/>
                      <a:pt x="1048" y="5143"/>
                      <a:pt x="3143" y="3048"/>
                    </a:cubicBezTo>
                    <a:cubicBezTo>
                      <a:pt x="5239" y="1048"/>
                      <a:pt x="8192" y="0"/>
                      <a:pt x="11906" y="0"/>
                    </a:cubicBezTo>
                    <a:cubicBezTo>
                      <a:pt x="15335" y="0"/>
                      <a:pt x="17907" y="857"/>
                      <a:pt x="19622" y="2572"/>
                    </a:cubicBezTo>
                    <a:cubicBezTo>
                      <a:pt x="21336" y="4286"/>
                      <a:pt x="22193" y="6763"/>
                      <a:pt x="22193" y="10001"/>
                    </a:cubicBezTo>
                    <a:lnTo>
                      <a:pt x="22193" y="12383"/>
                    </a:lnTo>
                    <a:lnTo>
                      <a:pt x="22193" y="12383"/>
                    </a:lnTo>
                    <a:close/>
                    <a:moveTo>
                      <a:pt x="15335" y="8477"/>
                    </a:moveTo>
                    <a:cubicBezTo>
                      <a:pt x="15335" y="7049"/>
                      <a:pt x="14954" y="6001"/>
                      <a:pt x="14288" y="5334"/>
                    </a:cubicBezTo>
                    <a:cubicBezTo>
                      <a:pt x="13621" y="4572"/>
                      <a:pt x="12573" y="4286"/>
                      <a:pt x="11240" y="4286"/>
                    </a:cubicBezTo>
                    <a:cubicBezTo>
                      <a:pt x="9906" y="4286"/>
                      <a:pt x="8858" y="4667"/>
                      <a:pt x="8001" y="5334"/>
                    </a:cubicBezTo>
                    <a:cubicBezTo>
                      <a:pt x="7144" y="6001"/>
                      <a:pt x="6668" y="7049"/>
                      <a:pt x="6572" y="8573"/>
                    </a:cubicBezTo>
                    <a:lnTo>
                      <a:pt x="15240" y="8573"/>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8" name="Freeform: Shape 127">
                <a:extLst>
                  <a:ext uri="{FF2B5EF4-FFF2-40B4-BE49-F238E27FC236}">
                    <a16:creationId xmlns:a16="http://schemas.microsoft.com/office/drawing/2014/main" id="{B0B85786-C817-4D4A-94EF-00CEDEC3B531}"/>
                  </a:ext>
                </a:extLst>
              </p:cNvPr>
              <p:cNvSpPr/>
              <p:nvPr/>
            </p:nvSpPr>
            <p:spPr>
              <a:xfrm>
                <a:off x="6826503" y="4140842"/>
                <a:ext cx="19716" cy="22479"/>
              </a:xfrm>
              <a:custGeom>
                <a:avLst/>
                <a:gdLst>
                  <a:gd name="connsiteX0" fmla="*/ 12383 w 19716"/>
                  <a:gd name="connsiteY0" fmla="*/ 22003 h 22479"/>
                  <a:gd name="connsiteX1" fmla="*/ 7430 w 19716"/>
                  <a:gd name="connsiteY1" fmla="*/ 21336 h 22479"/>
                  <a:gd name="connsiteX2" fmla="*/ 3524 w 19716"/>
                  <a:gd name="connsiteY2" fmla="*/ 19336 h 22479"/>
                  <a:gd name="connsiteX3" fmla="*/ 953 w 19716"/>
                  <a:gd name="connsiteY3" fmla="*/ 15907 h 22479"/>
                  <a:gd name="connsiteX4" fmla="*/ 0 w 19716"/>
                  <a:gd name="connsiteY4" fmla="*/ 11049 h 22479"/>
                  <a:gd name="connsiteX5" fmla="*/ 953 w 19716"/>
                  <a:gd name="connsiteY5" fmla="*/ 6001 h 22479"/>
                  <a:gd name="connsiteX6" fmla="*/ 3715 w 19716"/>
                  <a:gd name="connsiteY6" fmla="*/ 2477 h 22479"/>
                  <a:gd name="connsiteX7" fmla="*/ 7620 w 19716"/>
                  <a:gd name="connsiteY7" fmla="*/ 572 h 22479"/>
                  <a:gd name="connsiteX8" fmla="*/ 12192 w 19716"/>
                  <a:gd name="connsiteY8" fmla="*/ 0 h 22479"/>
                  <a:gd name="connsiteX9" fmla="*/ 16193 w 19716"/>
                  <a:gd name="connsiteY9" fmla="*/ 476 h 22479"/>
                  <a:gd name="connsiteX10" fmla="*/ 19526 w 19716"/>
                  <a:gd name="connsiteY10" fmla="*/ 1715 h 22479"/>
                  <a:gd name="connsiteX11" fmla="*/ 19526 w 19716"/>
                  <a:gd name="connsiteY11" fmla="*/ 7430 h 22479"/>
                  <a:gd name="connsiteX12" fmla="*/ 18574 w 19716"/>
                  <a:gd name="connsiteY12" fmla="*/ 7430 h 22479"/>
                  <a:gd name="connsiteX13" fmla="*/ 17621 w 19716"/>
                  <a:gd name="connsiteY13" fmla="*/ 6668 h 22479"/>
                  <a:gd name="connsiteX14" fmla="*/ 16288 w 19716"/>
                  <a:gd name="connsiteY14" fmla="*/ 5810 h 22479"/>
                  <a:gd name="connsiteX15" fmla="*/ 14669 w 19716"/>
                  <a:gd name="connsiteY15" fmla="*/ 5144 h 22479"/>
                  <a:gd name="connsiteX16" fmla="*/ 12573 w 19716"/>
                  <a:gd name="connsiteY16" fmla="*/ 4858 h 22479"/>
                  <a:gd name="connsiteX17" fmla="*/ 8477 w 19716"/>
                  <a:gd name="connsiteY17" fmla="*/ 6572 h 22479"/>
                  <a:gd name="connsiteX18" fmla="*/ 7049 w 19716"/>
                  <a:gd name="connsiteY18" fmla="*/ 11240 h 22479"/>
                  <a:gd name="connsiteX19" fmla="*/ 8573 w 19716"/>
                  <a:gd name="connsiteY19" fmla="*/ 15907 h 22479"/>
                  <a:gd name="connsiteX20" fmla="*/ 12764 w 19716"/>
                  <a:gd name="connsiteY20" fmla="*/ 17526 h 22479"/>
                  <a:gd name="connsiteX21" fmla="*/ 15050 w 19716"/>
                  <a:gd name="connsiteY21" fmla="*/ 17240 h 22479"/>
                  <a:gd name="connsiteX22" fmla="*/ 16764 w 19716"/>
                  <a:gd name="connsiteY22" fmla="*/ 16574 h 22479"/>
                  <a:gd name="connsiteX23" fmla="*/ 17907 w 19716"/>
                  <a:gd name="connsiteY23" fmla="*/ 15812 h 22479"/>
                  <a:gd name="connsiteX24" fmla="*/ 18764 w 19716"/>
                  <a:gd name="connsiteY24" fmla="*/ 15050 h 22479"/>
                  <a:gd name="connsiteX25" fmla="*/ 19717 w 19716"/>
                  <a:gd name="connsiteY25" fmla="*/ 15050 h 22479"/>
                  <a:gd name="connsiteX26" fmla="*/ 19717 w 19716"/>
                  <a:gd name="connsiteY26" fmla="*/ 20765 h 22479"/>
                  <a:gd name="connsiteX27" fmla="*/ 16383 w 19716"/>
                  <a:gd name="connsiteY27" fmla="*/ 22003 h 22479"/>
                  <a:gd name="connsiteX28" fmla="*/ 12573 w 19716"/>
                  <a:gd name="connsiteY28" fmla="*/ 22479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716" h="22479">
                    <a:moveTo>
                      <a:pt x="12383" y="22003"/>
                    </a:moveTo>
                    <a:cubicBezTo>
                      <a:pt x="10573" y="22003"/>
                      <a:pt x="8858" y="21812"/>
                      <a:pt x="7430" y="21336"/>
                    </a:cubicBezTo>
                    <a:cubicBezTo>
                      <a:pt x="5906" y="20860"/>
                      <a:pt x="4572" y="20193"/>
                      <a:pt x="3524" y="19336"/>
                    </a:cubicBezTo>
                    <a:cubicBezTo>
                      <a:pt x="2381" y="18383"/>
                      <a:pt x="1524" y="17240"/>
                      <a:pt x="953" y="15907"/>
                    </a:cubicBezTo>
                    <a:cubicBezTo>
                      <a:pt x="381" y="14478"/>
                      <a:pt x="0" y="12859"/>
                      <a:pt x="0" y="11049"/>
                    </a:cubicBezTo>
                    <a:cubicBezTo>
                      <a:pt x="0" y="9049"/>
                      <a:pt x="286" y="7430"/>
                      <a:pt x="953" y="6001"/>
                    </a:cubicBezTo>
                    <a:cubicBezTo>
                      <a:pt x="1619" y="4572"/>
                      <a:pt x="2477" y="3429"/>
                      <a:pt x="3715" y="2477"/>
                    </a:cubicBezTo>
                    <a:cubicBezTo>
                      <a:pt x="4858" y="1619"/>
                      <a:pt x="6191" y="953"/>
                      <a:pt x="7620" y="572"/>
                    </a:cubicBezTo>
                    <a:cubicBezTo>
                      <a:pt x="9144" y="190"/>
                      <a:pt x="10668" y="0"/>
                      <a:pt x="12192" y="0"/>
                    </a:cubicBezTo>
                    <a:cubicBezTo>
                      <a:pt x="13621" y="0"/>
                      <a:pt x="14954" y="190"/>
                      <a:pt x="16193" y="476"/>
                    </a:cubicBezTo>
                    <a:cubicBezTo>
                      <a:pt x="17431" y="762"/>
                      <a:pt x="18479" y="1238"/>
                      <a:pt x="19526" y="1715"/>
                    </a:cubicBezTo>
                    <a:lnTo>
                      <a:pt x="19526" y="7430"/>
                    </a:lnTo>
                    <a:lnTo>
                      <a:pt x="18574" y="7430"/>
                    </a:lnTo>
                    <a:cubicBezTo>
                      <a:pt x="18574" y="7430"/>
                      <a:pt x="18002" y="6953"/>
                      <a:pt x="17621" y="6668"/>
                    </a:cubicBezTo>
                    <a:cubicBezTo>
                      <a:pt x="17240" y="6382"/>
                      <a:pt x="16764" y="6096"/>
                      <a:pt x="16288" y="5810"/>
                    </a:cubicBezTo>
                    <a:cubicBezTo>
                      <a:pt x="15812" y="5525"/>
                      <a:pt x="15240" y="5334"/>
                      <a:pt x="14669" y="5144"/>
                    </a:cubicBezTo>
                    <a:cubicBezTo>
                      <a:pt x="14002" y="4953"/>
                      <a:pt x="13335" y="4858"/>
                      <a:pt x="12573" y="4858"/>
                    </a:cubicBezTo>
                    <a:cubicBezTo>
                      <a:pt x="10763" y="4858"/>
                      <a:pt x="9430" y="5429"/>
                      <a:pt x="8477" y="6572"/>
                    </a:cubicBezTo>
                    <a:cubicBezTo>
                      <a:pt x="7525" y="7715"/>
                      <a:pt x="7049" y="9239"/>
                      <a:pt x="7049" y="11240"/>
                    </a:cubicBezTo>
                    <a:cubicBezTo>
                      <a:pt x="7049" y="13240"/>
                      <a:pt x="7525" y="14764"/>
                      <a:pt x="8573" y="15907"/>
                    </a:cubicBezTo>
                    <a:cubicBezTo>
                      <a:pt x="9525" y="16955"/>
                      <a:pt x="10954" y="17526"/>
                      <a:pt x="12764" y="17526"/>
                    </a:cubicBezTo>
                    <a:cubicBezTo>
                      <a:pt x="13621" y="17526"/>
                      <a:pt x="14383" y="17526"/>
                      <a:pt x="15050" y="17240"/>
                    </a:cubicBezTo>
                    <a:cubicBezTo>
                      <a:pt x="15716" y="17050"/>
                      <a:pt x="16288" y="16859"/>
                      <a:pt x="16764" y="16574"/>
                    </a:cubicBezTo>
                    <a:cubicBezTo>
                      <a:pt x="17240" y="16288"/>
                      <a:pt x="17526" y="16002"/>
                      <a:pt x="17907" y="15812"/>
                    </a:cubicBezTo>
                    <a:cubicBezTo>
                      <a:pt x="18193" y="15526"/>
                      <a:pt x="18479" y="15240"/>
                      <a:pt x="18764" y="15050"/>
                    </a:cubicBezTo>
                    <a:lnTo>
                      <a:pt x="19717" y="15050"/>
                    </a:lnTo>
                    <a:lnTo>
                      <a:pt x="19717" y="20765"/>
                    </a:lnTo>
                    <a:cubicBezTo>
                      <a:pt x="18669" y="21241"/>
                      <a:pt x="17526" y="21622"/>
                      <a:pt x="16383" y="22003"/>
                    </a:cubicBezTo>
                    <a:cubicBezTo>
                      <a:pt x="15240" y="22289"/>
                      <a:pt x="14002" y="22479"/>
                      <a:pt x="12573" y="2247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29" name="Freeform: Shape 128">
                <a:extLst>
                  <a:ext uri="{FF2B5EF4-FFF2-40B4-BE49-F238E27FC236}">
                    <a16:creationId xmlns:a16="http://schemas.microsoft.com/office/drawing/2014/main" id="{02CD59A0-96BA-4DE9-84F6-5D6A1D8B1974}"/>
                  </a:ext>
                </a:extLst>
              </p:cNvPr>
              <p:cNvSpPr/>
              <p:nvPr/>
            </p:nvSpPr>
            <p:spPr>
              <a:xfrm>
                <a:off x="6848792" y="4135317"/>
                <a:ext cx="15811" cy="27432"/>
              </a:xfrm>
              <a:custGeom>
                <a:avLst/>
                <a:gdLst>
                  <a:gd name="connsiteX0" fmla="*/ 15716 w 15811"/>
                  <a:gd name="connsiteY0" fmla="*/ 26765 h 27432"/>
                  <a:gd name="connsiteX1" fmla="*/ 13430 w 15811"/>
                  <a:gd name="connsiteY1" fmla="*/ 27242 h 27432"/>
                  <a:gd name="connsiteX2" fmla="*/ 10478 w 15811"/>
                  <a:gd name="connsiteY2" fmla="*/ 27432 h 27432"/>
                  <a:gd name="connsiteX3" fmla="*/ 4667 w 15811"/>
                  <a:gd name="connsiteY3" fmla="*/ 25813 h 27432"/>
                  <a:gd name="connsiteX4" fmla="*/ 2762 w 15811"/>
                  <a:gd name="connsiteY4" fmla="*/ 20384 h 27432"/>
                  <a:gd name="connsiteX5" fmla="*/ 2762 w 15811"/>
                  <a:gd name="connsiteY5" fmla="*/ 10573 h 27432"/>
                  <a:gd name="connsiteX6" fmla="*/ 0 w 15811"/>
                  <a:gd name="connsiteY6" fmla="*/ 10573 h 27432"/>
                  <a:gd name="connsiteX7" fmla="*/ 0 w 15811"/>
                  <a:gd name="connsiteY7" fmla="*/ 6001 h 27432"/>
                  <a:gd name="connsiteX8" fmla="*/ 2762 w 15811"/>
                  <a:gd name="connsiteY8" fmla="*/ 6001 h 27432"/>
                  <a:gd name="connsiteX9" fmla="*/ 2762 w 15811"/>
                  <a:gd name="connsiteY9" fmla="*/ 0 h 27432"/>
                  <a:gd name="connsiteX10" fmla="*/ 9525 w 15811"/>
                  <a:gd name="connsiteY10" fmla="*/ 0 h 27432"/>
                  <a:gd name="connsiteX11" fmla="*/ 9525 w 15811"/>
                  <a:gd name="connsiteY11" fmla="*/ 6001 h 27432"/>
                  <a:gd name="connsiteX12" fmla="*/ 15811 w 15811"/>
                  <a:gd name="connsiteY12" fmla="*/ 6001 h 27432"/>
                  <a:gd name="connsiteX13" fmla="*/ 15811 w 15811"/>
                  <a:gd name="connsiteY13" fmla="*/ 10573 h 27432"/>
                  <a:gd name="connsiteX14" fmla="*/ 9525 w 15811"/>
                  <a:gd name="connsiteY14" fmla="*/ 10573 h 27432"/>
                  <a:gd name="connsiteX15" fmla="*/ 9525 w 15811"/>
                  <a:gd name="connsiteY15" fmla="*/ 18098 h 27432"/>
                  <a:gd name="connsiteX16" fmla="*/ 9525 w 15811"/>
                  <a:gd name="connsiteY16" fmla="*/ 20003 h 27432"/>
                  <a:gd name="connsiteX17" fmla="*/ 9811 w 15811"/>
                  <a:gd name="connsiteY17" fmla="*/ 21527 h 27432"/>
                  <a:gd name="connsiteX18" fmla="*/ 10763 w 15811"/>
                  <a:gd name="connsiteY18" fmla="*/ 22574 h 27432"/>
                  <a:gd name="connsiteX19" fmla="*/ 12668 w 15811"/>
                  <a:gd name="connsiteY19" fmla="*/ 22955 h 27432"/>
                  <a:gd name="connsiteX20" fmla="*/ 14002 w 15811"/>
                  <a:gd name="connsiteY20" fmla="*/ 22765 h 27432"/>
                  <a:gd name="connsiteX21" fmla="*/ 15145 w 15811"/>
                  <a:gd name="connsiteY21" fmla="*/ 22384 h 27432"/>
                  <a:gd name="connsiteX22" fmla="*/ 15716 w 15811"/>
                  <a:gd name="connsiteY22" fmla="*/ 22384 h 27432"/>
                  <a:gd name="connsiteX23" fmla="*/ 15716 w 15811"/>
                  <a:gd name="connsiteY23" fmla="*/ 26956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11" h="27432">
                    <a:moveTo>
                      <a:pt x="15716" y="26765"/>
                    </a:moveTo>
                    <a:cubicBezTo>
                      <a:pt x="14954" y="26956"/>
                      <a:pt x="14192" y="27146"/>
                      <a:pt x="13430" y="27242"/>
                    </a:cubicBezTo>
                    <a:cubicBezTo>
                      <a:pt x="12573" y="27337"/>
                      <a:pt x="11621" y="27432"/>
                      <a:pt x="10478" y="27432"/>
                    </a:cubicBezTo>
                    <a:cubicBezTo>
                      <a:pt x="7906" y="27432"/>
                      <a:pt x="5906" y="26861"/>
                      <a:pt x="4667" y="25813"/>
                    </a:cubicBezTo>
                    <a:cubicBezTo>
                      <a:pt x="3429" y="24765"/>
                      <a:pt x="2762" y="22955"/>
                      <a:pt x="2762" y="20384"/>
                    </a:cubicBezTo>
                    <a:lnTo>
                      <a:pt x="2762" y="10573"/>
                    </a:lnTo>
                    <a:lnTo>
                      <a:pt x="0" y="10573"/>
                    </a:lnTo>
                    <a:lnTo>
                      <a:pt x="0" y="6001"/>
                    </a:lnTo>
                    <a:lnTo>
                      <a:pt x="2762" y="6001"/>
                    </a:lnTo>
                    <a:lnTo>
                      <a:pt x="2762" y="0"/>
                    </a:lnTo>
                    <a:lnTo>
                      <a:pt x="9525" y="0"/>
                    </a:lnTo>
                    <a:lnTo>
                      <a:pt x="9525" y="6001"/>
                    </a:lnTo>
                    <a:lnTo>
                      <a:pt x="15811" y="6001"/>
                    </a:lnTo>
                    <a:lnTo>
                      <a:pt x="15811" y="10573"/>
                    </a:lnTo>
                    <a:lnTo>
                      <a:pt x="9525" y="10573"/>
                    </a:lnTo>
                    <a:lnTo>
                      <a:pt x="9525" y="18098"/>
                    </a:lnTo>
                    <a:cubicBezTo>
                      <a:pt x="9525" y="18860"/>
                      <a:pt x="9525" y="19526"/>
                      <a:pt x="9525" y="20003"/>
                    </a:cubicBezTo>
                    <a:cubicBezTo>
                      <a:pt x="9525" y="20574"/>
                      <a:pt x="9620" y="21050"/>
                      <a:pt x="9811" y="21527"/>
                    </a:cubicBezTo>
                    <a:cubicBezTo>
                      <a:pt x="10001" y="22003"/>
                      <a:pt x="10287" y="22289"/>
                      <a:pt x="10763" y="22574"/>
                    </a:cubicBezTo>
                    <a:cubicBezTo>
                      <a:pt x="11240" y="22860"/>
                      <a:pt x="11811" y="22955"/>
                      <a:pt x="12668" y="22955"/>
                    </a:cubicBezTo>
                    <a:cubicBezTo>
                      <a:pt x="13049" y="22955"/>
                      <a:pt x="13526" y="22955"/>
                      <a:pt x="14002" y="22765"/>
                    </a:cubicBezTo>
                    <a:cubicBezTo>
                      <a:pt x="14573" y="22670"/>
                      <a:pt x="14954" y="22479"/>
                      <a:pt x="15145" y="22384"/>
                    </a:cubicBezTo>
                    <a:lnTo>
                      <a:pt x="15716" y="22384"/>
                    </a:lnTo>
                    <a:lnTo>
                      <a:pt x="15716" y="2695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0" name="Freeform: Shape 129">
                <a:extLst>
                  <a:ext uri="{FF2B5EF4-FFF2-40B4-BE49-F238E27FC236}">
                    <a16:creationId xmlns:a16="http://schemas.microsoft.com/office/drawing/2014/main" id="{647DBBF6-A6FF-4958-8346-9E88CBF01FB6}"/>
                  </a:ext>
                </a:extLst>
              </p:cNvPr>
              <p:cNvSpPr/>
              <p:nvPr/>
            </p:nvSpPr>
            <p:spPr>
              <a:xfrm>
                <a:off x="6868413" y="4141128"/>
                <a:ext cx="15335" cy="21240"/>
              </a:xfrm>
              <a:custGeom>
                <a:avLst/>
                <a:gdLst>
                  <a:gd name="connsiteX0" fmla="*/ 15335 w 15335"/>
                  <a:gd name="connsiteY0" fmla="*/ 6477 h 21240"/>
                  <a:gd name="connsiteX1" fmla="*/ 14764 w 15335"/>
                  <a:gd name="connsiteY1" fmla="*/ 6477 h 21240"/>
                  <a:gd name="connsiteX2" fmla="*/ 13335 w 15335"/>
                  <a:gd name="connsiteY2" fmla="*/ 6286 h 21240"/>
                  <a:gd name="connsiteX3" fmla="*/ 11716 w 15335"/>
                  <a:gd name="connsiteY3" fmla="*/ 6286 h 21240"/>
                  <a:gd name="connsiteX4" fmla="*/ 9144 w 15335"/>
                  <a:gd name="connsiteY4" fmla="*/ 6477 h 21240"/>
                  <a:gd name="connsiteX5" fmla="*/ 6763 w 15335"/>
                  <a:gd name="connsiteY5" fmla="*/ 7144 h 21240"/>
                  <a:gd name="connsiteX6" fmla="*/ 6763 w 15335"/>
                  <a:gd name="connsiteY6" fmla="*/ 21241 h 21240"/>
                  <a:gd name="connsiteX7" fmla="*/ 0 w 15335"/>
                  <a:gd name="connsiteY7" fmla="*/ 21241 h 21240"/>
                  <a:gd name="connsiteX8" fmla="*/ 0 w 15335"/>
                  <a:gd name="connsiteY8" fmla="*/ 190 h 21240"/>
                  <a:gd name="connsiteX9" fmla="*/ 6763 w 15335"/>
                  <a:gd name="connsiteY9" fmla="*/ 190 h 21240"/>
                  <a:gd name="connsiteX10" fmla="*/ 6763 w 15335"/>
                  <a:gd name="connsiteY10" fmla="*/ 3239 h 21240"/>
                  <a:gd name="connsiteX11" fmla="*/ 10668 w 15335"/>
                  <a:gd name="connsiteY11" fmla="*/ 667 h 21240"/>
                  <a:gd name="connsiteX12" fmla="*/ 13716 w 15335"/>
                  <a:gd name="connsiteY12" fmla="*/ 0 h 21240"/>
                  <a:gd name="connsiteX13" fmla="*/ 14573 w 15335"/>
                  <a:gd name="connsiteY13" fmla="*/ 0 h 21240"/>
                  <a:gd name="connsiteX14" fmla="*/ 15335 w 15335"/>
                  <a:gd name="connsiteY14" fmla="*/ 0 h 21240"/>
                  <a:gd name="connsiteX15" fmla="*/ 15335 w 15335"/>
                  <a:gd name="connsiteY15" fmla="*/ 6382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335" h="21240">
                    <a:moveTo>
                      <a:pt x="15335" y="6477"/>
                    </a:moveTo>
                    <a:lnTo>
                      <a:pt x="14764" y="6477"/>
                    </a:lnTo>
                    <a:cubicBezTo>
                      <a:pt x="14764" y="6477"/>
                      <a:pt x="14002" y="6286"/>
                      <a:pt x="13335" y="6286"/>
                    </a:cubicBezTo>
                    <a:cubicBezTo>
                      <a:pt x="12668" y="6286"/>
                      <a:pt x="12192" y="6286"/>
                      <a:pt x="11716" y="6286"/>
                    </a:cubicBezTo>
                    <a:cubicBezTo>
                      <a:pt x="10763" y="6286"/>
                      <a:pt x="9906" y="6286"/>
                      <a:pt x="9144" y="6477"/>
                    </a:cubicBezTo>
                    <a:cubicBezTo>
                      <a:pt x="8382" y="6572"/>
                      <a:pt x="7620" y="6858"/>
                      <a:pt x="6763" y="7144"/>
                    </a:cubicBezTo>
                    <a:lnTo>
                      <a:pt x="6763" y="21241"/>
                    </a:lnTo>
                    <a:lnTo>
                      <a:pt x="0" y="21241"/>
                    </a:lnTo>
                    <a:lnTo>
                      <a:pt x="0" y="190"/>
                    </a:lnTo>
                    <a:lnTo>
                      <a:pt x="6763" y="190"/>
                    </a:lnTo>
                    <a:lnTo>
                      <a:pt x="6763" y="3239"/>
                    </a:lnTo>
                    <a:cubicBezTo>
                      <a:pt x="8287" y="2000"/>
                      <a:pt x="9525" y="1143"/>
                      <a:pt x="10668" y="667"/>
                    </a:cubicBezTo>
                    <a:cubicBezTo>
                      <a:pt x="11716" y="286"/>
                      <a:pt x="12764" y="0"/>
                      <a:pt x="13716" y="0"/>
                    </a:cubicBezTo>
                    <a:cubicBezTo>
                      <a:pt x="14002" y="0"/>
                      <a:pt x="14192" y="0"/>
                      <a:pt x="14573" y="0"/>
                    </a:cubicBezTo>
                    <a:cubicBezTo>
                      <a:pt x="14859" y="0"/>
                      <a:pt x="15145" y="0"/>
                      <a:pt x="15335" y="0"/>
                    </a:cubicBezTo>
                    <a:lnTo>
                      <a:pt x="15335" y="638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1" name="Freeform: Shape 130">
                <a:extLst>
                  <a:ext uri="{FF2B5EF4-FFF2-40B4-BE49-F238E27FC236}">
                    <a16:creationId xmlns:a16="http://schemas.microsoft.com/office/drawing/2014/main" id="{3B4E1A39-331A-4E05-BE65-BA6B6456D3D7}"/>
                  </a:ext>
                </a:extLst>
              </p:cNvPr>
              <p:cNvSpPr/>
              <p:nvPr/>
            </p:nvSpPr>
            <p:spPr>
              <a:xfrm>
                <a:off x="6898512" y="4140842"/>
                <a:ext cx="19621" cy="22288"/>
              </a:xfrm>
              <a:custGeom>
                <a:avLst/>
                <a:gdLst>
                  <a:gd name="connsiteX0" fmla="*/ 12478 w 19621"/>
                  <a:gd name="connsiteY0" fmla="*/ 22003 h 22288"/>
                  <a:gd name="connsiteX1" fmla="*/ 7429 w 19621"/>
                  <a:gd name="connsiteY1" fmla="*/ 21336 h 22288"/>
                  <a:gd name="connsiteX2" fmla="*/ 3524 w 19621"/>
                  <a:gd name="connsiteY2" fmla="*/ 19336 h 22288"/>
                  <a:gd name="connsiteX3" fmla="*/ 953 w 19621"/>
                  <a:gd name="connsiteY3" fmla="*/ 15907 h 22288"/>
                  <a:gd name="connsiteX4" fmla="*/ 0 w 19621"/>
                  <a:gd name="connsiteY4" fmla="*/ 11049 h 22288"/>
                  <a:gd name="connsiteX5" fmla="*/ 953 w 19621"/>
                  <a:gd name="connsiteY5" fmla="*/ 6001 h 22288"/>
                  <a:gd name="connsiteX6" fmla="*/ 3715 w 19621"/>
                  <a:gd name="connsiteY6" fmla="*/ 2477 h 22288"/>
                  <a:gd name="connsiteX7" fmla="*/ 7620 w 19621"/>
                  <a:gd name="connsiteY7" fmla="*/ 572 h 22288"/>
                  <a:gd name="connsiteX8" fmla="*/ 12192 w 19621"/>
                  <a:gd name="connsiteY8" fmla="*/ 0 h 22288"/>
                  <a:gd name="connsiteX9" fmla="*/ 16193 w 19621"/>
                  <a:gd name="connsiteY9" fmla="*/ 476 h 22288"/>
                  <a:gd name="connsiteX10" fmla="*/ 19526 w 19621"/>
                  <a:gd name="connsiteY10" fmla="*/ 1715 h 22288"/>
                  <a:gd name="connsiteX11" fmla="*/ 19526 w 19621"/>
                  <a:gd name="connsiteY11" fmla="*/ 7430 h 22288"/>
                  <a:gd name="connsiteX12" fmla="*/ 18574 w 19621"/>
                  <a:gd name="connsiteY12" fmla="*/ 7430 h 22288"/>
                  <a:gd name="connsiteX13" fmla="*/ 17621 w 19621"/>
                  <a:gd name="connsiteY13" fmla="*/ 6668 h 22288"/>
                  <a:gd name="connsiteX14" fmla="*/ 16288 w 19621"/>
                  <a:gd name="connsiteY14" fmla="*/ 5810 h 22288"/>
                  <a:gd name="connsiteX15" fmla="*/ 14573 w 19621"/>
                  <a:gd name="connsiteY15" fmla="*/ 5144 h 22288"/>
                  <a:gd name="connsiteX16" fmla="*/ 12478 w 19621"/>
                  <a:gd name="connsiteY16" fmla="*/ 4858 h 22288"/>
                  <a:gd name="connsiteX17" fmla="*/ 8382 w 19621"/>
                  <a:gd name="connsiteY17" fmla="*/ 6572 h 22288"/>
                  <a:gd name="connsiteX18" fmla="*/ 6953 w 19621"/>
                  <a:gd name="connsiteY18" fmla="*/ 11240 h 22288"/>
                  <a:gd name="connsiteX19" fmla="*/ 8477 w 19621"/>
                  <a:gd name="connsiteY19" fmla="*/ 15812 h 22288"/>
                  <a:gd name="connsiteX20" fmla="*/ 12668 w 19621"/>
                  <a:gd name="connsiteY20" fmla="*/ 17431 h 22288"/>
                  <a:gd name="connsiteX21" fmla="*/ 14954 w 19621"/>
                  <a:gd name="connsiteY21" fmla="*/ 17145 h 22288"/>
                  <a:gd name="connsiteX22" fmla="*/ 16669 w 19621"/>
                  <a:gd name="connsiteY22" fmla="*/ 16478 h 22288"/>
                  <a:gd name="connsiteX23" fmla="*/ 17812 w 19621"/>
                  <a:gd name="connsiteY23" fmla="*/ 15716 h 22288"/>
                  <a:gd name="connsiteX24" fmla="*/ 18669 w 19621"/>
                  <a:gd name="connsiteY24" fmla="*/ 14859 h 22288"/>
                  <a:gd name="connsiteX25" fmla="*/ 19622 w 19621"/>
                  <a:gd name="connsiteY25" fmla="*/ 14859 h 22288"/>
                  <a:gd name="connsiteX26" fmla="*/ 19622 w 19621"/>
                  <a:gd name="connsiteY26" fmla="*/ 20574 h 22288"/>
                  <a:gd name="connsiteX27" fmla="*/ 16288 w 19621"/>
                  <a:gd name="connsiteY27" fmla="*/ 21812 h 22288"/>
                  <a:gd name="connsiteX28" fmla="*/ 12478 w 19621"/>
                  <a:gd name="connsiteY28" fmla="*/ 22289 h 22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9621" h="22288">
                    <a:moveTo>
                      <a:pt x="12478" y="22003"/>
                    </a:moveTo>
                    <a:cubicBezTo>
                      <a:pt x="10668" y="22003"/>
                      <a:pt x="8953" y="21812"/>
                      <a:pt x="7429" y="21336"/>
                    </a:cubicBezTo>
                    <a:cubicBezTo>
                      <a:pt x="5905" y="20860"/>
                      <a:pt x="4572" y="20193"/>
                      <a:pt x="3524" y="19336"/>
                    </a:cubicBezTo>
                    <a:cubicBezTo>
                      <a:pt x="2381" y="18383"/>
                      <a:pt x="1524" y="17240"/>
                      <a:pt x="953" y="15907"/>
                    </a:cubicBezTo>
                    <a:cubicBezTo>
                      <a:pt x="381" y="14478"/>
                      <a:pt x="0" y="12859"/>
                      <a:pt x="0" y="11049"/>
                    </a:cubicBezTo>
                    <a:cubicBezTo>
                      <a:pt x="0" y="9049"/>
                      <a:pt x="286" y="7430"/>
                      <a:pt x="953" y="6001"/>
                    </a:cubicBezTo>
                    <a:cubicBezTo>
                      <a:pt x="1619" y="4572"/>
                      <a:pt x="2477" y="3429"/>
                      <a:pt x="3715" y="2477"/>
                    </a:cubicBezTo>
                    <a:cubicBezTo>
                      <a:pt x="4858" y="1619"/>
                      <a:pt x="6191" y="953"/>
                      <a:pt x="7620" y="572"/>
                    </a:cubicBezTo>
                    <a:cubicBezTo>
                      <a:pt x="9144" y="190"/>
                      <a:pt x="10668" y="0"/>
                      <a:pt x="12192" y="0"/>
                    </a:cubicBezTo>
                    <a:cubicBezTo>
                      <a:pt x="13621" y="0"/>
                      <a:pt x="14954" y="190"/>
                      <a:pt x="16193" y="476"/>
                    </a:cubicBezTo>
                    <a:cubicBezTo>
                      <a:pt x="17431" y="762"/>
                      <a:pt x="18478" y="1238"/>
                      <a:pt x="19526" y="1715"/>
                    </a:cubicBezTo>
                    <a:lnTo>
                      <a:pt x="19526" y="7430"/>
                    </a:lnTo>
                    <a:lnTo>
                      <a:pt x="18574" y="7430"/>
                    </a:lnTo>
                    <a:cubicBezTo>
                      <a:pt x="18574" y="7430"/>
                      <a:pt x="18002" y="6953"/>
                      <a:pt x="17621" y="6668"/>
                    </a:cubicBezTo>
                    <a:cubicBezTo>
                      <a:pt x="17240" y="6382"/>
                      <a:pt x="16764" y="6096"/>
                      <a:pt x="16288" y="5810"/>
                    </a:cubicBezTo>
                    <a:cubicBezTo>
                      <a:pt x="15811" y="5525"/>
                      <a:pt x="15240" y="5334"/>
                      <a:pt x="14573" y="5144"/>
                    </a:cubicBezTo>
                    <a:cubicBezTo>
                      <a:pt x="14002" y="4953"/>
                      <a:pt x="13240" y="4858"/>
                      <a:pt x="12478" y="4858"/>
                    </a:cubicBezTo>
                    <a:cubicBezTo>
                      <a:pt x="10668" y="4858"/>
                      <a:pt x="9334" y="5429"/>
                      <a:pt x="8382" y="6572"/>
                    </a:cubicBezTo>
                    <a:cubicBezTo>
                      <a:pt x="7429" y="7715"/>
                      <a:pt x="6953" y="9239"/>
                      <a:pt x="6953" y="11240"/>
                    </a:cubicBezTo>
                    <a:cubicBezTo>
                      <a:pt x="6953" y="13240"/>
                      <a:pt x="7429" y="14764"/>
                      <a:pt x="8477" y="15812"/>
                    </a:cubicBezTo>
                    <a:cubicBezTo>
                      <a:pt x="9430" y="16859"/>
                      <a:pt x="10858" y="17431"/>
                      <a:pt x="12668" y="17431"/>
                    </a:cubicBezTo>
                    <a:cubicBezTo>
                      <a:pt x="13526" y="17431"/>
                      <a:pt x="14288" y="17336"/>
                      <a:pt x="14954" y="17145"/>
                    </a:cubicBezTo>
                    <a:cubicBezTo>
                      <a:pt x="15621" y="16955"/>
                      <a:pt x="16193" y="16764"/>
                      <a:pt x="16669" y="16478"/>
                    </a:cubicBezTo>
                    <a:cubicBezTo>
                      <a:pt x="17050" y="16193"/>
                      <a:pt x="17431" y="16002"/>
                      <a:pt x="17812" y="15716"/>
                    </a:cubicBezTo>
                    <a:cubicBezTo>
                      <a:pt x="18098" y="15431"/>
                      <a:pt x="18383" y="15145"/>
                      <a:pt x="18669" y="14859"/>
                    </a:cubicBezTo>
                    <a:lnTo>
                      <a:pt x="19622" y="14859"/>
                    </a:lnTo>
                    <a:lnTo>
                      <a:pt x="19622" y="20574"/>
                    </a:lnTo>
                    <a:cubicBezTo>
                      <a:pt x="18574" y="21050"/>
                      <a:pt x="17431" y="21431"/>
                      <a:pt x="16288" y="21812"/>
                    </a:cubicBezTo>
                    <a:cubicBezTo>
                      <a:pt x="15145" y="22098"/>
                      <a:pt x="13906" y="22289"/>
                      <a:pt x="12478" y="2228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2" name="Freeform: Shape 131">
                <a:extLst>
                  <a:ext uri="{FF2B5EF4-FFF2-40B4-BE49-F238E27FC236}">
                    <a16:creationId xmlns:a16="http://schemas.microsoft.com/office/drawing/2014/main" id="{97CCA7DF-C280-4092-8883-9026428FA284}"/>
                  </a:ext>
                </a:extLst>
              </p:cNvPr>
              <p:cNvSpPr/>
              <p:nvPr/>
            </p:nvSpPr>
            <p:spPr>
              <a:xfrm>
                <a:off x="6764305" y="4175037"/>
                <a:ext cx="20097" cy="27908"/>
              </a:xfrm>
              <a:custGeom>
                <a:avLst/>
                <a:gdLst>
                  <a:gd name="connsiteX0" fmla="*/ 20098 w 20097"/>
                  <a:gd name="connsiteY0" fmla="*/ 27908 h 27908"/>
                  <a:gd name="connsiteX1" fmla="*/ 0 w 20097"/>
                  <a:gd name="connsiteY1" fmla="*/ 27908 h 27908"/>
                  <a:gd name="connsiteX2" fmla="*/ 0 w 20097"/>
                  <a:gd name="connsiteY2" fmla="*/ 0 h 27908"/>
                  <a:gd name="connsiteX3" fmla="*/ 7239 w 20097"/>
                  <a:gd name="connsiteY3" fmla="*/ 0 h 27908"/>
                  <a:gd name="connsiteX4" fmla="*/ 7239 w 20097"/>
                  <a:gd name="connsiteY4" fmla="*/ 22479 h 27908"/>
                  <a:gd name="connsiteX5" fmla="*/ 20098 w 20097"/>
                  <a:gd name="connsiteY5" fmla="*/ 22479 h 27908"/>
                  <a:gd name="connsiteX6" fmla="*/ 20098 w 20097"/>
                  <a:gd name="connsiteY6" fmla="*/ 27908 h 27908"/>
                  <a:gd name="connsiteX7" fmla="*/ 20098 w 20097"/>
                  <a:gd name="connsiteY7" fmla="*/ 27908 h 27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97" h="27908">
                    <a:moveTo>
                      <a:pt x="20098" y="27908"/>
                    </a:moveTo>
                    <a:lnTo>
                      <a:pt x="0" y="27908"/>
                    </a:lnTo>
                    <a:lnTo>
                      <a:pt x="0" y="0"/>
                    </a:lnTo>
                    <a:lnTo>
                      <a:pt x="7239" y="0"/>
                    </a:lnTo>
                    <a:lnTo>
                      <a:pt x="7239" y="22479"/>
                    </a:lnTo>
                    <a:lnTo>
                      <a:pt x="20098" y="22479"/>
                    </a:lnTo>
                    <a:lnTo>
                      <a:pt x="20098" y="27908"/>
                    </a:lnTo>
                    <a:lnTo>
                      <a:pt x="20098" y="2790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3" name="Freeform: Shape 132">
                <a:extLst>
                  <a:ext uri="{FF2B5EF4-FFF2-40B4-BE49-F238E27FC236}">
                    <a16:creationId xmlns:a16="http://schemas.microsoft.com/office/drawing/2014/main" id="{BFE482E3-982E-467F-A935-020F4B75F7C0}"/>
                  </a:ext>
                </a:extLst>
              </p:cNvPr>
              <p:cNvSpPr/>
              <p:nvPr/>
            </p:nvSpPr>
            <p:spPr>
              <a:xfrm>
                <a:off x="6800214" y="4181133"/>
                <a:ext cx="22097" cy="29622"/>
              </a:xfrm>
              <a:custGeom>
                <a:avLst/>
                <a:gdLst>
                  <a:gd name="connsiteX0" fmla="*/ 21812 w 22097"/>
                  <a:gd name="connsiteY0" fmla="*/ 19336 h 29622"/>
                  <a:gd name="connsiteX1" fmla="*/ 20955 w 22097"/>
                  <a:gd name="connsiteY1" fmla="*/ 24289 h 29622"/>
                  <a:gd name="connsiteX2" fmla="*/ 18574 w 22097"/>
                  <a:gd name="connsiteY2" fmla="*/ 27432 h 29622"/>
                  <a:gd name="connsiteX3" fmla="*/ 14954 w 22097"/>
                  <a:gd name="connsiteY3" fmla="*/ 29147 h 29622"/>
                  <a:gd name="connsiteX4" fmla="*/ 10097 w 22097"/>
                  <a:gd name="connsiteY4" fmla="*/ 29623 h 29622"/>
                  <a:gd name="connsiteX5" fmla="*/ 5810 w 22097"/>
                  <a:gd name="connsiteY5" fmla="*/ 29337 h 29622"/>
                  <a:gd name="connsiteX6" fmla="*/ 2096 w 22097"/>
                  <a:gd name="connsiteY6" fmla="*/ 28670 h 29622"/>
                  <a:gd name="connsiteX7" fmla="*/ 2096 w 22097"/>
                  <a:gd name="connsiteY7" fmla="*/ 23336 h 29622"/>
                  <a:gd name="connsiteX8" fmla="*/ 2953 w 22097"/>
                  <a:gd name="connsiteY8" fmla="*/ 23336 h 29622"/>
                  <a:gd name="connsiteX9" fmla="*/ 6001 w 22097"/>
                  <a:gd name="connsiteY9" fmla="*/ 24194 h 29622"/>
                  <a:gd name="connsiteX10" fmla="*/ 9144 w 22097"/>
                  <a:gd name="connsiteY10" fmla="*/ 24575 h 29622"/>
                  <a:gd name="connsiteX11" fmla="*/ 12192 w 22097"/>
                  <a:gd name="connsiteY11" fmla="*/ 24289 h 29622"/>
                  <a:gd name="connsiteX12" fmla="*/ 14002 w 22097"/>
                  <a:gd name="connsiteY12" fmla="*/ 23336 h 29622"/>
                  <a:gd name="connsiteX13" fmla="*/ 14859 w 22097"/>
                  <a:gd name="connsiteY13" fmla="*/ 21812 h 29622"/>
                  <a:gd name="connsiteX14" fmla="*/ 15145 w 22097"/>
                  <a:gd name="connsiteY14" fmla="*/ 19622 h 29622"/>
                  <a:gd name="connsiteX15" fmla="*/ 15145 w 22097"/>
                  <a:gd name="connsiteY15" fmla="*/ 19241 h 29622"/>
                  <a:gd name="connsiteX16" fmla="*/ 12478 w 22097"/>
                  <a:gd name="connsiteY16" fmla="*/ 20765 h 29622"/>
                  <a:gd name="connsiteX17" fmla="*/ 9144 w 22097"/>
                  <a:gd name="connsiteY17" fmla="*/ 21336 h 29622"/>
                  <a:gd name="connsiteX18" fmla="*/ 2381 w 22097"/>
                  <a:gd name="connsiteY18" fmla="*/ 18669 h 29622"/>
                  <a:gd name="connsiteX19" fmla="*/ 0 w 22097"/>
                  <a:gd name="connsiteY19" fmla="*/ 10573 h 29622"/>
                  <a:gd name="connsiteX20" fmla="*/ 762 w 22097"/>
                  <a:gd name="connsiteY20" fmla="*/ 6096 h 29622"/>
                  <a:gd name="connsiteX21" fmla="*/ 2857 w 22097"/>
                  <a:gd name="connsiteY21" fmla="*/ 2762 h 29622"/>
                  <a:gd name="connsiteX22" fmla="*/ 5905 w 22097"/>
                  <a:gd name="connsiteY22" fmla="*/ 762 h 29622"/>
                  <a:gd name="connsiteX23" fmla="*/ 9620 w 22097"/>
                  <a:gd name="connsiteY23" fmla="*/ 0 h 29622"/>
                  <a:gd name="connsiteX24" fmla="*/ 12668 w 22097"/>
                  <a:gd name="connsiteY24" fmla="*/ 381 h 29622"/>
                  <a:gd name="connsiteX25" fmla="*/ 15240 w 22097"/>
                  <a:gd name="connsiteY25" fmla="*/ 1524 h 29622"/>
                  <a:gd name="connsiteX26" fmla="*/ 15526 w 22097"/>
                  <a:gd name="connsiteY26" fmla="*/ 572 h 29622"/>
                  <a:gd name="connsiteX27" fmla="*/ 22098 w 22097"/>
                  <a:gd name="connsiteY27" fmla="*/ 572 h 29622"/>
                  <a:gd name="connsiteX28" fmla="*/ 22098 w 22097"/>
                  <a:gd name="connsiteY28" fmla="*/ 19145 h 29622"/>
                  <a:gd name="connsiteX29" fmla="*/ 22098 w 22097"/>
                  <a:gd name="connsiteY29" fmla="*/ 19145 h 29622"/>
                  <a:gd name="connsiteX30" fmla="*/ 15050 w 22097"/>
                  <a:gd name="connsiteY30" fmla="*/ 15240 h 29622"/>
                  <a:gd name="connsiteX31" fmla="*/ 15050 w 22097"/>
                  <a:gd name="connsiteY31" fmla="*/ 5620 h 29622"/>
                  <a:gd name="connsiteX32" fmla="*/ 13621 w 22097"/>
                  <a:gd name="connsiteY32" fmla="*/ 5239 h 29622"/>
                  <a:gd name="connsiteX33" fmla="*/ 12097 w 22097"/>
                  <a:gd name="connsiteY33" fmla="*/ 5143 h 29622"/>
                  <a:gd name="connsiteX34" fmla="*/ 8096 w 22097"/>
                  <a:gd name="connsiteY34" fmla="*/ 6667 h 29622"/>
                  <a:gd name="connsiteX35" fmla="*/ 6763 w 22097"/>
                  <a:gd name="connsiteY35" fmla="*/ 10954 h 29622"/>
                  <a:gd name="connsiteX36" fmla="*/ 7906 w 22097"/>
                  <a:gd name="connsiteY36" fmla="*/ 15240 h 29622"/>
                  <a:gd name="connsiteX37" fmla="*/ 11240 w 22097"/>
                  <a:gd name="connsiteY37" fmla="*/ 16478 h 29622"/>
                  <a:gd name="connsiteX38" fmla="*/ 13240 w 22097"/>
                  <a:gd name="connsiteY38" fmla="*/ 16192 h 29622"/>
                  <a:gd name="connsiteX39" fmla="*/ 15050 w 22097"/>
                  <a:gd name="connsiteY39" fmla="*/ 15335 h 2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097" h="29622">
                    <a:moveTo>
                      <a:pt x="21812" y="19336"/>
                    </a:moveTo>
                    <a:cubicBezTo>
                      <a:pt x="21812" y="21336"/>
                      <a:pt x="21526" y="22955"/>
                      <a:pt x="20955" y="24289"/>
                    </a:cubicBezTo>
                    <a:cubicBezTo>
                      <a:pt x="20383" y="25622"/>
                      <a:pt x="19622" y="26670"/>
                      <a:pt x="18574" y="27432"/>
                    </a:cubicBezTo>
                    <a:cubicBezTo>
                      <a:pt x="17526" y="28194"/>
                      <a:pt x="16383" y="28766"/>
                      <a:pt x="14954" y="29147"/>
                    </a:cubicBezTo>
                    <a:cubicBezTo>
                      <a:pt x="13526" y="29528"/>
                      <a:pt x="11906" y="29623"/>
                      <a:pt x="10097" y="29623"/>
                    </a:cubicBezTo>
                    <a:cubicBezTo>
                      <a:pt x="8668" y="29623"/>
                      <a:pt x="7144" y="29623"/>
                      <a:pt x="5810" y="29337"/>
                    </a:cubicBezTo>
                    <a:cubicBezTo>
                      <a:pt x="4381" y="29147"/>
                      <a:pt x="3143" y="28956"/>
                      <a:pt x="2096" y="28670"/>
                    </a:cubicBezTo>
                    <a:lnTo>
                      <a:pt x="2096" y="23336"/>
                    </a:lnTo>
                    <a:lnTo>
                      <a:pt x="2953" y="23336"/>
                    </a:lnTo>
                    <a:cubicBezTo>
                      <a:pt x="3810" y="23622"/>
                      <a:pt x="4763" y="23908"/>
                      <a:pt x="6001" y="24194"/>
                    </a:cubicBezTo>
                    <a:cubicBezTo>
                      <a:pt x="7144" y="24479"/>
                      <a:pt x="8287" y="24575"/>
                      <a:pt x="9144" y="24575"/>
                    </a:cubicBezTo>
                    <a:cubicBezTo>
                      <a:pt x="10382" y="24575"/>
                      <a:pt x="11430" y="24479"/>
                      <a:pt x="12192" y="24289"/>
                    </a:cubicBezTo>
                    <a:cubicBezTo>
                      <a:pt x="12954" y="24098"/>
                      <a:pt x="13526" y="23717"/>
                      <a:pt x="14002" y="23336"/>
                    </a:cubicBezTo>
                    <a:cubicBezTo>
                      <a:pt x="14383" y="22955"/>
                      <a:pt x="14669" y="22479"/>
                      <a:pt x="14859" y="21812"/>
                    </a:cubicBezTo>
                    <a:cubicBezTo>
                      <a:pt x="15050" y="21241"/>
                      <a:pt x="15145" y="20479"/>
                      <a:pt x="15145" y="19622"/>
                    </a:cubicBezTo>
                    <a:lnTo>
                      <a:pt x="15145" y="19241"/>
                    </a:lnTo>
                    <a:cubicBezTo>
                      <a:pt x="14288" y="19907"/>
                      <a:pt x="13430" y="20479"/>
                      <a:pt x="12478" y="20765"/>
                    </a:cubicBezTo>
                    <a:cubicBezTo>
                      <a:pt x="11525" y="21146"/>
                      <a:pt x="10382" y="21336"/>
                      <a:pt x="9144" y="21336"/>
                    </a:cubicBezTo>
                    <a:cubicBezTo>
                      <a:pt x="6191" y="21336"/>
                      <a:pt x="3905" y="20479"/>
                      <a:pt x="2381" y="18669"/>
                    </a:cubicBezTo>
                    <a:cubicBezTo>
                      <a:pt x="762" y="16859"/>
                      <a:pt x="0" y="14192"/>
                      <a:pt x="0" y="10573"/>
                    </a:cubicBezTo>
                    <a:cubicBezTo>
                      <a:pt x="0" y="8858"/>
                      <a:pt x="286" y="7334"/>
                      <a:pt x="762" y="6096"/>
                    </a:cubicBezTo>
                    <a:cubicBezTo>
                      <a:pt x="1238" y="4858"/>
                      <a:pt x="1905" y="3715"/>
                      <a:pt x="2857" y="2762"/>
                    </a:cubicBezTo>
                    <a:cubicBezTo>
                      <a:pt x="3715" y="1905"/>
                      <a:pt x="4667" y="1238"/>
                      <a:pt x="5905" y="762"/>
                    </a:cubicBezTo>
                    <a:cubicBezTo>
                      <a:pt x="7144" y="286"/>
                      <a:pt x="8382" y="0"/>
                      <a:pt x="9620" y="0"/>
                    </a:cubicBezTo>
                    <a:cubicBezTo>
                      <a:pt x="10763" y="0"/>
                      <a:pt x="11811" y="191"/>
                      <a:pt x="12668" y="381"/>
                    </a:cubicBezTo>
                    <a:cubicBezTo>
                      <a:pt x="13621" y="667"/>
                      <a:pt x="14478" y="1048"/>
                      <a:pt x="15240" y="1524"/>
                    </a:cubicBezTo>
                    <a:lnTo>
                      <a:pt x="15526" y="572"/>
                    </a:lnTo>
                    <a:lnTo>
                      <a:pt x="22098" y="572"/>
                    </a:lnTo>
                    <a:lnTo>
                      <a:pt x="22098" y="19145"/>
                    </a:lnTo>
                    <a:lnTo>
                      <a:pt x="22098" y="19145"/>
                    </a:lnTo>
                    <a:close/>
                    <a:moveTo>
                      <a:pt x="15050" y="15240"/>
                    </a:moveTo>
                    <a:lnTo>
                      <a:pt x="15050" y="5620"/>
                    </a:lnTo>
                    <a:cubicBezTo>
                      <a:pt x="15050" y="5620"/>
                      <a:pt x="14192" y="5334"/>
                      <a:pt x="13621" y="5239"/>
                    </a:cubicBezTo>
                    <a:cubicBezTo>
                      <a:pt x="13049" y="5239"/>
                      <a:pt x="12573" y="5143"/>
                      <a:pt x="12097" y="5143"/>
                    </a:cubicBezTo>
                    <a:cubicBezTo>
                      <a:pt x="10382" y="5143"/>
                      <a:pt x="9049" y="5620"/>
                      <a:pt x="8096" y="6667"/>
                    </a:cubicBezTo>
                    <a:cubicBezTo>
                      <a:pt x="7239" y="7715"/>
                      <a:pt x="6763" y="9144"/>
                      <a:pt x="6763" y="10954"/>
                    </a:cubicBezTo>
                    <a:cubicBezTo>
                      <a:pt x="6763" y="12954"/>
                      <a:pt x="7144" y="14383"/>
                      <a:pt x="7906" y="15240"/>
                    </a:cubicBezTo>
                    <a:cubicBezTo>
                      <a:pt x="8668" y="16002"/>
                      <a:pt x="9811" y="16478"/>
                      <a:pt x="11240" y="16478"/>
                    </a:cubicBezTo>
                    <a:cubicBezTo>
                      <a:pt x="11906" y="16478"/>
                      <a:pt x="12573" y="16383"/>
                      <a:pt x="13240" y="16192"/>
                    </a:cubicBezTo>
                    <a:cubicBezTo>
                      <a:pt x="13906" y="16002"/>
                      <a:pt x="14478" y="15716"/>
                      <a:pt x="15050" y="1533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4" name="Freeform: Shape 133">
                <a:extLst>
                  <a:ext uri="{FF2B5EF4-FFF2-40B4-BE49-F238E27FC236}">
                    <a16:creationId xmlns:a16="http://schemas.microsoft.com/office/drawing/2014/main" id="{D0580383-7EFA-40BE-9E65-9BB11D933205}"/>
                  </a:ext>
                </a:extLst>
              </p:cNvPr>
              <p:cNvSpPr/>
              <p:nvPr/>
            </p:nvSpPr>
            <p:spPr>
              <a:xfrm>
                <a:off x="6827741" y="4173703"/>
                <a:ext cx="21145" cy="29241"/>
              </a:xfrm>
              <a:custGeom>
                <a:avLst/>
                <a:gdLst>
                  <a:gd name="connsiteX0" fmla="*/ 21146 w 21145"/>
                  <a:gd name="connsiteY0" fmla="*/ 29242 h 29241"/>
                  <a:gd name="connsiteX1" fmla="*/ 14383 w 21145"/>
                  <a:gd name="connsiteY1" fmla="*/ 29242 h 29241"/>
                  <a:gd name="connsiteX2" fmla="*/ 14383 w 21145"/>
                  <a:gd name="connsiteY2" fmla="*/ 18859 h 29241"/>
                  <a:gd name="connsiteX3" fmla="*/ 14288 w 21145"/>
                  <a:gd name="connsiteY3" fmla="*/ 16288 h 29241"/>
                  <a:gd name="connsiteX4" fmla="*/ 13811 w 21145"/>
                  <a:gd name="connsiteY4" fmla="*/ 14383 h 29241"/>
                  <a:gd name="connsiteX5" fmla="*/ 12668 w 21145"/>
                  <a:gd name="connsiteY5" fmla="*/ 13335 h 29241"/>
                  <a:gd name="connsiteX6" fmla="*/ 10668 w 21145"/>
                  <a:gd name="connsiteY6" fmla="*/ 13049 h 29241"/>
                  <a:gd name="connsiteX7" fmla="*/ 8763 w 21145"/>
                  <a:gd name="connsiteY7" fmla="*/ 13335 h 29241"/>
                  <a:gd name="connsiteX8" fmla="*/ 6763 w 21145"/>
                  <a:gd name="connsiteY8" fmla="*/ 14288 h 29241"/>
                  <a:gd name="connsiteX9" fmla="*/ 6763 w 21145"/>
                  <a:gd name="connsiteY9" fmla="*/ 29146 h 29241"/>
                  <a:gd name="connsiteX10" fmla="*/ 0 w 21145"/>
                  <a:gd name="connsiteY10" fmla="*/ 29146 h 29241"/>
                  <a:gd name="connsiteX11" fmla="*/ 0 w 21145"/>
                  <a:gd name="connsiteY11" fmla="*/ 0 h 29241"/>
                  <a:gd name="connsiteX12" fmla="*/ 6763 w 21145"/>
                  <a:gd name="connsiteY12" fmla="*/ 0 h 29241"/>
                  <a:gd name="connsiteX13" fmla="*/ 6763 w 21145"/>
                  <a:gd name="connsiteY13" fmla="*/ 10382 h 29241"/>
                  <a:gd name="connsiteX14" fmla="*/ 10192 w 21145"/>
                  <a:gd name="connsiteY14" fmla="*/ 8287 h 29241"/>
                  <a:gd name="connsiteX15" fmla="*/ 13811 w 21145"/>
                  <a:gd name="connsiteY15" fmla="*/ 7525 h 29241"/>
                  <a:gd name="connsiteX16" fmla="*/ 19145 w 21145"/>
                  <a:gd name="connsiteY16" fmla="*/ 9525 h 29241"/>
                  <a:gd name="connsiteX17" fmla="*/ 21050 w 21145"/>
                  <a:gd name="connsiteY17" fmla="*/ 15430 h 29241"/>
                  <a:gd name="connsiteX18" fmla="*/ 21050 w 21145"/>
                  <a:gd name="connsiteY18" fmla="*/ 29146 h 29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145" h="29241">
                    <a:moveTo>
                      <a:pt x="21146" y="29242"/>
                    </a:moveTo>
                    <a:lnTo>
                      <a:pt x="14383" y="29242"/>
                    </a:lnTo>
                    <a:lnTo>
                      <a:pt x="14383" y="18859"/>
                    </a:lnTo>
                    <a:cubicBezTo>
                      <a:pt x="14383" y="18002"/>
                      <a:pt x="14383" y="17145"/>
                      <a:pt x="14288" y="16288"/>
                    </a:cubicBezTo>
                    <a:cubicBezTo>
                      <a:pt x="14288" y="15430"/>
                      <a:pt x="14002" y="14859"/>
                      <a:pt x="13811" y="14383"/>
                    </a:cubicBezTo>
                    <a:cubicBezTo>
                      <a:pt x="13526" y="13907"/>
                      <a:pt x="13240" y="13621"/>
                      <a:pt x="12668" y="13335"/>
                    </a:cubicBezTo>
                    <a:cubicBezTo>
                      <a:pt x="12192" y="13145"/>
                      <a:pt x="11525" y="13049"/>
                      <a:pt x="10668" y="13049"/>
                    </a:cubicBezTo>
                    <a:cubicBezTo>
                      <a:pt x="10097" y="13049"/>
                      <a:pt x="9430" y="13049"/>
                      <a:pt x="8763" y="13335"/>
                    </a:cubicBezTo>
                    <a:cubicBezTo>
                      <a:pt x="8096" y="13526"/>
                      <a:pt x="7430" y="13811"/>
                      <a:pt x="6763" y="14288"/>
                    </a:cubicBezTo>
                    <a:lnTo>
                      <a:pt x="6763" y="29146"/>
                    </a:lnTo>
                    <a:lnTo>
                      <a:pt x="0" y="29146"/>
                    </a:lnTo>
                    <a:lnTo>
                      <a:pt x="0" y="0"/>
                    </a:lnTo>
                    <a:lnTo>
                      <a:pt x="6763" y="0"/>
                    </a:lnTo>
                    <a:lnTo>
                      <a:pt x="6763" y="10382"/>
                    </a:lnTo>
                    <a:cubicBezTo>
                      <a:pt x="8001" y="9430"/>
                      <a:pt x="9049" y="8763"/>
                      <a:pt x="10192" y="8287"/>
                    </a:cubicBezTo>
                    <a:cubicBezTo>
                      <a:pt x="11335" y="7810"/>
                      <a:pt x="12478" y="7525"/>
                      <a:pt x="13811" y="7525"/>
                    </a:cubicBezTo>
                    <a:cubicBezTo>
                      <a:pt x="16097" y="7525"/>
                      <a:pt x="17812" y="8191"/>
                      <a:pt x="19145" y="9525"/>
                    </a:cubicBezTo>
                    <a:cubicBezTo>
                      <a:pt x="20383" y="10859"/>
                      <a:pt x="21050" y="12859"/>
                      <a:pt x="21050" y="15430"/>
                    </a:cubicBezTo>
                    <a:lnTo>
                      <a:pt x="21050" y="2914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5" name="Freeform: Shape 134">
                <a:extLst>
                  <a:ext uri="{FF2B5EF4-FFF2-40B4-BE49-F238E27FC236}">
                    <a16:creationId xmlns:a16="http://schemas.microsoft.com/office/drawing/2014/main" id="{5755D2A9-65A8-477A-8946-E8E12A827CBA}"/>
                  </a:ext>
                </a:extLst>
              </p:cNvPr>
              <p:cNvSpPr/>
              <p:nvPr/>
            </p:nvSpPr>
            <p:spPr>
              <a:xfrm>
                <a:off x="6852602" y="4175989"/>
                <a:ext cx="15811" cy="27432"/>
              </a:xfrm>
              <a:custGeom>
                <a:avLst/>
                <a:gdLst>
                  <a:gd name="connsiteX0" fmla="*/ 15716 w 15811"/>
                  <a:gd name="connsiteY0" fmla="*/ 26765 h 27432"/>
                  <a:gd name="connsiteX1" fmla="*/ 13430 w 15811"/>
                  <a:gd name="connsiteY1" fmla="*/ 27242 h 27432"/>
                  <a:gd name="connsiteX2" fmla="*/ 10477 w 15811"/>
                  <a:gd name="connsiteY2" fmla="*/ 27432 h 27432"/>
                  <a:gd name="connsiteX3" fmla="*/ 4667 w 15811"/>
                  <a:gd name="connsiteY3" fmla="*/ 25813 h 27432"/>
                  <a:gd name="connsiteX4" fmla="*/ 2762 w 15811"/>
                  <a:gd name="connsiteY4" fmla="*/ 20384 h 27432"/>
                  <a:gd name="connsiteX5" fmla="*/ 2762 w 15811"/>
                  <a:gd name="connsiteY5" fmla="*/ 10573 h 27432"/>
                  <a:gd name="connsiteX6" fmla="*/ 0 w 15811"/>
                  <a:gd name="connsiteY6" fmla="*/ 10573 h 27432"/>
                  <a:gd name="connsiteX7" fmla="*/ 0 w 15811"/>
                  <a:gd name="connsiteY7" fmla="*/ 6001 h 27432"/>
                  <a:gd name="connsiteX8" fmla="*/ 2762 w 15811"/>
                  <a:gd name="connsiteY8" fmla="*/ 6001 h 27432"/>
                  <a:gd name="connsiteX9" fmla="*/ 2762 w 15811"/>
                  <a:gd name="connsiteY9" fmla="*/ 0 h 27432"/>
                  <a:gd name="connsiteX10" fmla="*/ 9525 w 15811"/>
                  <a:gd name="connsiteY10" fmla="*/ 0 h 27432"/>
                  <a:gd name="connsiteX11" fmla="*/ 9525 w 15811"/>
                  <a:gd name="connsiteY11" fmla="*/ 6001 h 27432"/>
                  <a:gd name="connsiteX12" fmla="*/ 15811 w 15811"/>
                  <a:gd name="connsiteY12" fmla="*/ 6001 h 27432"/>
                  <a:gd name="connsiteX13" fmla="*/ 15811 w 15811"/>
                  <a:gd name="connsiteY13" fmla="*/ 10573 h 27432"/>
                  <a:gd name="connsiteX14" fmla="*/ 9525 w 15811"/>
                  <a:gd name="connsiteY14" fmla="*/ 10573 h 27432"/>
                  <a:gd name="connsiteX15" fmla="*/ 9525 w 15811"/>
                  <a:gd name="connsiteY15" fmla="*/ 18098 h 27432"/>
                  <a:gd name="connsiteX16" fmla="*/ 9525 w 15811"/>
                  <a:gd name="connsiteY16" fmla="*/ 20003 h 27432"/>
                  <a:gd name="connsiteX17" fmla="*/ 9811 w 15811"/>
                  <a:gd name="connsiteY17" fmla="*/ 21527 h 27432"/>
                  <a:gd name="connsiteX18" fmla="*/ 10763 w 15811"/>
                  <a:gd name="connsiteY18" fmla="*/ 22574 h 27432"/>
                  <a:gd name="connsiteX19" fmla="*/ 12668 w 15811"/>
                  <a:gd name="connsiteY19" fmla="*/ 22955 h 27432"/>
                  <a:gd name="connsiteX20" fmla="*/ 14002 w 15811"/>
                  <a:gd name="connsiteY20" fmla="*/ 22765 h 27432"/>
                  <a:gd name="connsiteX21" fmla="*/ 15240 w 15811"/>
                  <a:gd name="connsiteY21" fmla="*/ 22384 h 27432"/>
                  <a:gd name="connsiteX22" fmla="*/ 15811 w 15811"/>
                  <a:gd name="connsiteY22" fmla="*/ 22384 h 27432"/>
                  <a:gd name="connsiteX23" fmla="*/ 15811 w 15811"/>
                  <a:gd name="connsiteY23" fmla="*/ 26956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11" h="27432">
                    <a:moveTo>
                      <a:pt x="15716" y="26765"/>
                    </a:moveTo>
                    <a:cubicBezTo>
                      <a:pt x="14954" y="26956"/>
                      <a:pt x="14192" y="27051"/>
                      <a:pt x="13430" y="27242"/>
                    </a:cubicBezTo>
                    <a:cubicBezTo>
                      <a:pt x="12668" y="27242"/>
                      <a:pt x="11621" y="27432"/>
                      <a:pt x="10477" y="27432"/>
                    </a:cubicBezTo>
                    <a:cubicBezTo>
                      <a:pt x="7906" y="27432"/>
                      <a:pt x="5905" y="26860"/>
                      <a:pt x="4667" y="25813"/>
                    </a:cubicBezTo>
                    <a:cubicBezTo>
                      <a:pt x="3429" y="24765"/>
                      <a:pt x="2762" y="22955"/>
                      <a:pt x="2762" y="20384"/>
                    </a:cubicBezTo>
                    <a:lnTo>
                      <a:pt x="2762" y="10573"/>
                    </a:lnTo>
                    <a:lnTo>
                      <a:pt x="0" y="10573"/>
                    </a:lnTo>
                    <a:lnTo>
                      <a:pt x="0" y="6001"/>
                    </a:lnTo>
                    <a:lnTo>
                      <a:pt x="2762" y="6001"/>
                    </a:lnTo>
                    <a:lnTo>
                      <a:pt x="2762" y="0"/>
                    </a:lnTo>
                    <a:lnTo>
                      <a:pt x="9525" y="0"/>
                    </a:lnTo>
                    <a:lnTo>
                      <a:pt x="9525" y="6001"/>
                    </a:lnTo>
                    <a:lnTo>
                      <a:pt x="15811" y="6001"/>
                    </a:lnTo>
                    <a:lnTo>
                      <a:pt x="15811" y="10573"/>
                    </a:lnTo>
                    <a:lnTo>
                      <a:pt x="9525" y="10573"/>
                    </a:lnTo>
                    <a:lnTo>
                      <a:pt x="9525" y="18098"/>
                    </a:lnTo>
                    <a:cubicBezTo>
                      <a:pt x="9525" y="18860"/>
                      <a:pt x="9525" y="19431"/>
                      <a:pt x="9525" y="20003"/>
                    </a:cubicBezTo>
                    <a:cubicBezTo>
                      <a:pt x="9525" y="20574"/>
                      <a:pt x="9620" y="21050"/>
                      <a:pt x="9811" y="21527"/>
                    </a:cubicBezTo>
                    <a:cubicBezTo>
                      <a:pt x="10001" y="21908"/>
                      <a:pt x="10287" y="22289"/>
                      <a:pt x="10763" y="22574"/>
                    </a:cubicBezTo>
                    <a:cubicBezTo>
                      <a:pt x="11240" y="22860"/>
                      <a:pt x="11811" y="22955"/>
                      <a:pt x="12668" y="22955"/>
                    </a:cubicBezTo>
                    <a:cubicBezTo>
                      <a:pt x="13049" y="22955"/>
                      <a:pt x="13430" y="22955"/>
                      <a:pt x="14002" y="22765"/>
                    </a:cubicBezTo>
                    <a:cubicBezTo>
                      <a:pt x="14573" y="22670"/>
                      <a:pt x="14954" y="22479"/>
                      <a:pt x="15240" y="22384"/>
                    </a:cubicBezTo>
                    <a:lnTo>
                      <a:pt x="15811" y="22384"/>
                    </a:lnTo>
                    <a:lnTo>
                      <a:pt x="15811" y="2695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6" name="Freeform: Shape 135">
                <a:extLst>
                  <a:ext uri="{FF2B5EF4-FFF2-40B4-BE49-F238E27FC236}">
                    <a16:creationId xmlns:a16="http://schemas.microsoft.com/office/drawing/2014/main" id="{FC758B1C-31AC-4A16-950F-B296919F3BA7}"/>
                  </a:ext>
                </a:extLst>
              </p:cNvPr>
              <p:cNvSpPr/>
              <p:nvPr/>
            </p:nvSpPr>
            <p:spPr>
              <a:xfrm>
                <a:off x="6885558" y="4181228"/>
                <a:ext cx="21050" cy="21716"/>
              </a:xfrm>
              <a:custGeom>
                <a:avLst/>
                <a:gdLst>
                  <a:gd name="connsiteX0" fmla="*/ 21050 w 21050"/>
                  <a:gd name="connsiteY0" fmla="*/ 21717 h 21716"/>
                  <a:gd name="connsiteX1" fmla="*/ 14288 w 21050"/>
                  <a:gd name="connsiteY1" fmla="*/ 21717 h 21716"/>
                  <a:gd name="connsiteX2" fmla="*/ 14288 w 21050"/>
                  <a:gd name="connsiteY2" fmla="*/ 11335 h 21716"/>
                  <a:gd name="connsiteX3" fmla="*/ 14192 w 21050"/>
                  <a:gd name="connsiteY3" fmla="*/ 8763 h 21716"/>
                  <a:gd name="connsiteX4" fmla="*/ 13716 w 21050"/>
                  <a:gd name="connsiteY4" fmla="*/ 6858 h 21716"/>
                  <a:gd name="connsiteX5" fmla="*/ 12668 w 21050"/>
                  <a:gd name="connsiteY5" fmla="*/ 5810 h 21716"/>
                  <a:gd name="connsiteX6" fmla="*/ 10668 w 21050"/>
                  <a:gd name="connsiteY6" fmla="*/ 5524 h 21716"/>
                  <a:gd name="connsiteX7" fmla="*/ 8858 w 21050"/>
                  <a:gd name="connsiteY7" fmla="*/ 5810 h 21716"/>
                  <a:gd name="connsiteX8" fmla="*/ 6763 w 21050"/>
                  <a:gd name="connsiteY8" fmla="*/ 6763 h 21716"/>
                  <a:gd name="connsiteX9" fmla="*/ 6763 w 21050"/>
                  <a:gd name="connsiteY9" fmla="*/ 21622 h 21716"/>
                  <a:gd name="connsiteX10" fmla="*/ 0 w 21050"/>
                  <a:gd name="connsiteY10" fmla="*/ 21622 h 21716"/>
                  <a:gd name="connsiteX11" fmla="*/ 0 w 21050"/>
                  <a:gd name="connsiteY11" fmla="*/ 572 h 21716"/>
                  <a:gd name="connsiteX12" fmla="*/ 6763 w 21050"/>
                  <a:gd name="connsiteY12" fmla="*/ 572 h 21716"/>
                  <a:gd name="connsiteX13" fmla="*/ 6763 w 21050"/>
                  <a:gd name="connsiteY13" fmla="*/ 2858 h 21716"/>
                  <a:gd name="connsiteX14" fmla="*/ 10192 w 21050"/>
                  <a:gd name="connsiteY14" fmla="*/ 762 h 21716"/>
                  <a:gd name="connsiteX15" fmla="*/ 13811 w 21050"/>
                  <a:gd name="connsiteY15" fmla="*/ 0 h 21716"/>
                  <a:gd name="connsiteX16" fmla="*/ 19145 w 21050"/>
                  <a:gd name="connsiteY16" fmla="*/ 2000 h 21716"/>
                  <a:gd name="connsiteX17" fmla="*/ 21050 w 21050"/>
                  <a:gd name="connsiteY17" fmla="*/ 7906 h 21716"/>
                  <a:gd name="connsiteX18" fmla="*/ 21050 w 21050"/>
                  <a:gd name="connsiteY18" fmla="*/ 21622 h 21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050" h="21716">
                    <a:moveTo>
                      <a:pt x="21050" y="21717"/>
                    </a:moveTo>
                    <a:lnTo>
                      <a:pt x="14288" y="21717"/>
                    </a:lnTo>
                    <a:lnTo>
                      <a:pt x="14288" y="11335"/>
                    </a:lnTo>
                    <a:cubicBezTo>
                      <a:pt x="14288" y="10478"/>
                      <a:pt x="14288" y="9620"/>
                      <a:pt x="14192" y="8763"/>
                    </a:cubicBezTo>
                    <a:cubicBezTo>
                      <a:pt x="14192" y="7906"/>
                      <a:pt x="13907" y="7334"/>
                      <a:pt x="13716" y="6858"/>
                    </a:cubicBezTo>
                    <a:cubicBezTo>
                      <a:pt x="13430" y="6382"/>
                      <a:pt x="13145" y="6096"/>
                      <a:pt x="12668" y="5810"/>
                    </a:cubicBezTo>
                    <a:cubicBezTo>
                      <a:pt x="12192" y="5620"/>
                      <a:pt x="11525" y="5524"/>
                      <a:pt x="10668" y="5524"/>
                    </a:cubicBezTo>
                    <a:cubicBezTo>
                      <a:pt x="10097" y="5524"/>
                      <a:pt x="9430" y="5524"/>
                      <a:pt x="8858" y="5810"/>
                    </a:cubicBezTo>
                    <a:cubicBezTo>
                      <a:pt x="8192" y="6001"/>
                      <a:pt x="7525" y="6286"/>
                      <a:pt x="6763" y="6763"/>
                    </a:cubicBezTo>
                    <a:lnTo>
                      <a:pt x="6763" y="21622"/>
                    </a:lnTo>
                    <a:lnTo>
                      <a:pt x="0" y="21622"/>
                    </a:lnTo>
                    <a:lnTo>
                      <a:pt x="0" y="572"/>
                    </a:lnTo>
                    <a:lnTo>
                      <a:pt x="6763" y="572"/>
                    </a:lnTo>
                    <a:lnTo>
                      <a:pt x="6763" y="2858"/>
                    </a:lnTo>
                    <a:cubicBezTo>
                      <a:pt x="8001" y="1905"/>
                      <a:pt x="9144" y="1238"/>
                      <a:pt x="10192" y="762"/>
                    </a:cubicBezTo>
                    <a:cubicBezTo>
                      <a:pt x="11335" y="286"/>
                      <a:pt x="12478" y="0"/>
                      <a:pt x="13811" y="0"/>
                    </a:cubicBezTo>
                    <a:cubicBezTo>
                      <a:pt x="16097" y="0"/>
                      <a:pt x="17812" y="667"/>
                      <a:pt x="19145" y="2000"/>
                    </a:cubicBezTo>
                    <a:cubicBezTo>
                      <a:pt x="20383" y="3334"/>
                      <a:pt x="21050" y="5334"/>
                      <a:pt x="21050" y="7906"/>
                    </a:cubicBezTo>
                    <a:lnTo>
                      <a:pt x="21050" y="21622"/>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7" name="Freeform: Shape 136">
                <a:extLst>
                  <a:ext uri="{FF2B5EF4-FFF2-40B4-BE49-F238E27FC236}">
                    <a16:creationId xmlns:a16="http://schemas.microsoft.com/office/drawing/2014/main" id="{F9D9CA01-E7DF-4167-A02D-1B9C9592EF49}"/>
                  </a:ext>
                </a:extLst>
              </p:cNvPr>
              <p:cNvSpPr/>
              <p:nvPr/>
            </p:nvSpPr>
            <p:spPr>
              <a:xfrm>
                <a:off x="6910800" y="4181133"/>
                <a:ext cx="22193" cy="29622"/>
              </a:xfrm>
              <a:custGeom>
                <a:avLst/>
                <a:gdLst>
                  <a:gd name="connsiteX0" fmla="*/ 21812 w 22193"/>
                  <a:gd name="connsiteY0" fmla="*/ 19336 h 29622"/>
                  <a:gd name="connsiteX1" fmla="*/ 20955 w 22193"/>
                  <a:gd name="connsiteY1" fmla="*/ 24289 h 29622"/>
                  <a:gd name="connsiteX2" fmla="*/ 18574 w 22193"/>
                  <a:gd name="connsiteY2" fmla="*/ 27432 h 29622"/>
                  <a:gd name="connsiteX3" fmla="*/ 14954 w 22193"/>
                  <a:gd name="connsiteY3" fmla="*/ 29147 h 29622"/>
                  <a:gd name="connsiteX4" fmla="*/ 10097 w 22193"/>
                  <a:gd name="connsiteY4" fmla="*/ 29623 h 29622"/>
                  <a:gd name="connsiteX5" fmla="*/ 5810 w 22193"/>
                  <a:gd name="connsiteY5" fmla="*/ 29337 h 29622"/>
                  <a:gd name="connsiteX6" fmla="*/ 2096 w 22193"/>
                  <a:gd name="connsiteY6" fmla="*/ 28670 h 29622"/>
                  <a:gd name="connsiteX7" fmla="*/ 2096 w 22193"/>
                  <a:gd name="connsiteY7" fmla="*/ 23336 h 29622"/>
                  <a:gd name="connsiteX8" fmla="*/ 2953 w 22193"/>
                  <a:gd name="connsiteY8" fmla="*/ 23336 h 29622"/>
                  <a:gd name="connsiteX9" fmla="*/ 6001 w 22193"/>
                  <a:gd name="connsiteY9" fmla="*/ 24194 h 29622"/>
                  <a:gd name="connsiteX10" fmla="*/ 9144 w 22193"/>
                  <a:gd name="connsiteY10" fmla="*/ 24575 h 29622"/>
                  <a:gd name="connsiteX11" fmla="*/ 12192 w 22193"/>
                  <a:gd name="connsiteY11" fmla="*/ 24289 h 29622"/>
                  <a:gd name="connsiteX12" fmla="*/ 14002 w 22193"/>
                  <a:gd name="connsiteY12" fmla="*/ 23336 h 29622"/>
                  <a:gd name="connsiteX13" fmla="*/ 14859 w 22193"/>
                  <a:gd name="connsiteY13" fmla="*/ 21812 h 29622"/>
                  <a:gd name="connsiteX14" fmla="*/ 15145 w 22193"/>
                  <a:gd name="connsiteY14" fmla="*/ 19622 h 29622"/>
                  <a:gd name="connsiteX15" fmla="*/ 15145 w 22193"/>
                  <a:gd name="connsiteY15" fmla="*/ 19241 h 29622"/>
                  <a:gd name="connsiteX16" fmla="*/ 12478 w 22193"/>
                  <a:gd name="connsiteY16" fmla="*/ 20765 h 29622"/>
                  <a:gd name="connsiteX17" fmla="*/ 9144 w 22193"/>
                  <a:gd name="connsiteY17" fmla="*/ 21336 h 29622"/>
                  <a:gd name="connsiteX18" fmla="*/ 2381 w 22193"/>
                  <a:gd name="connsiteY18" fmla="*/ 18669 h 29622"/>
                  <a:gd name="connsiteX19" fmla="*/ 0 w 22193"/>
                  <a:gd name="connsiteY19" fmla="*/ 10573 h 29622"/>
                  <a:gd name="connsiteX20" fmla="*/ 762 w 22193"/>
                  <a:gd name="connsiteY20" fmla="*/ 6096 h 29622"/>
                  <a:gd name="connsiteX21" fmla="*/ 2857 w 22193"/>
                  <a:gd name="connsiteY21" fmla="*/ 2762 h 29622"/>
                  <a:gd name="connsiteX22" fmla="*/ 5905 w 22193"/>
                  <a:gd name="connsiteY22" fmla="*/ 762 h 29622"/>
                  <a:gd name="connsiteX23" fmla="*/ 9620 w 22193"/>
                  <a:gd name="connsiteY23" fmla="*/ 0 h 29622"/>
                  <a:gd name="connsiteX24" fmla="*/ 12764 w 22193"/>
                  <a:gd name="connsiteY24" fmla="*/ 381 h 29622"/>
                  <a:gd name="connsiteX25" fmla="*/ 15335 w 22193"/>
                  <a:gd name="connsiteY25" fmla="*/ 1524 h 29622"/>
                  <a:gd name="connsiteX26" fmla="*/ 15621 w 22193"/>
                  <a:gd name="connsiteY26" fmla="*/ 572 h 29622"/>
                  <a:gd name="connsiteX27" fmla="*/ 22193 w 22193"/>
                  <a:gd name="connsiteY27" fmla="*/ 572 h 29622"/>
                  <a:gd name="connsiteX28" fmla="*/ 22193 w 22193"/>
                  <a:gd name="connsiteY28" fmla="*/ 19145 h 29622"/>
                  <a:gd name="connsiteX29" fmla="*/ 22193 w 22193"/>
                  <a:gd name="connsiteY29" fmla="*/ 19145 h 29622"/>
                  <a:gd name="connsiteX30" fmla="*/ 15049 w 22193"/>
                  <a:gd name="connsiteY30" fmla="*/ 15240 h 29622"/>
                  <a:gd name="connsiteX31" fmla="*/ 15049 w 22193"/>
                  <a:gd name="connsiteY31" fmla="*/ 5620 h 29622"/>
                  <a:gd name="connsiteX32" fmla="*/ 13621 w 22193"/>
                  <a:gd name="connsiteY32" fmla="*/ 5239 h 29622"/>
                  <a:gd name="connsiteX33" fmla="*/ 12097 w 22193"/>
                  <a:gd name="connsiteY33" fmla="*/ 5143 h 29622"/>
                  <a:gd name="connsiteX34" fmla="*/ 8096 w 22193"/>
                  <a:gd name="connsiteY34" fmla="*/ 6667 h 29622"/>
                  <a:gd name="connsiteX35" fmla="*/ 6763 w 22193"/>
                  <a:gd name="connsiteY35" fmla="*/ 10954 h 29622"/>
                  <a:gd name="connsiteX36" fmla="*/ 7906 w 22193"/>
                  <a:gd name="connsiteY36" fmla="*/ 15240 h 29622"/>
                  <a:gd name="connsiteX37" fmla="*/ 11240 w 22193"/>
                  <a:gd name="connsiteY37" fmla="*/ 16478 h 29622"/>
                  <a:gd name="connsiteX38" fmla="*/ 13240 w 22193"/>
                  <a:gd name="connsiteY38" fmla="*/ 16192 h 29622"/>
                  <a:gd name="connsiteX39" fmla="*/ 14954 w 22193"/>
                  <a:gd name="connsiteY39" fmla="*/ 15335 h 2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193" h="29622">
                    <a:moveTo>
                      <a:pt x="21812" y="19336"/>
                    </a:moveTo>
                    <a:cubicBezTo>
                      <a:pt x="21812" y="21336"/>
                      <a:pt x="21526" y="22955"/>
                      <a:pt x="20955" y="24289"/>
                    </a:cubicBezTo>
                    <a:cubicBezTo>
                      <a:pt x="20383" y="25622"/>
                      <a:pt x="19622" y="26670"/>
                      <a:pt x="18574" y="27432"/>
                    </a:cubicBezTo>
                    <a:cubicBezTo>
                      <a:pt x="17526" y="28194"/>
                      <a:pt x="16383" y="28766"/>
                      <a:pt x="14954" y="29147"/>
                    </a:cubicBezTo>
                    <a:cubicBezTo>
                      <a:pt x="13525" y="29528"/>
                      <a:pt x="11906" y="29623"/>
                      <a:pt x="10097" y="29623"/>
                    </a:cubicBezTo>
                    <a:cubicBezTo>
                      <a:pt x="8668" y="29623"/>
                      <a:pt x="7239" y="29623"/>
                      <a:pt x="5810" y="29337"/>
                    </a:cubicBezTo>
                    <a:cubicBezTo>
                      <a:pt x="4381" y="29147"/>
                      <a:pt x="3143" y="28956"/>
                      <a:pt x="2096" y="28670"/>
                    </a:cubicBezTo>
                    <a:lnTo>
                      <a:pt x="2096" y="23336"/>
                    </a:lnTo>
                    <a:lnTo>
                      <a:pt x="2953" y="23336"/>
                    </a:lnTo>
                    <a:cubicBezTo>
                      <a:pt x="3810" y="23622"/>
                      <a:pt x="4763" y="23908"/>
                      <a:pt x="6001" y="24194"/>
                    </a:cubicBezTo>
                    <a:cubicBezTo>
                      <a:pt x="7144" y="24479"/>
                      <a:pt x="8287" y="24575"/>
                      <a:pt x="9144" y="24575"/>
                    </a:cubicBezTo>
                    <a:cubicBezTo>
                      <a:pt x="10382" y="24575"/>
                      <a:pt x="11430" y="24479"/>
                      <a:pt x="12192" y="24289"/>
                    </a:cubicBezTo>
                    <a:cubicBezTo>
                      <a:pt x="12954" y="24098"/>
                      <a:pt x="13525" y="23717"/>
                      <a:pt x="14002" y="23336"/>
                    </a:cubicBezTo>
                    <a:cubicBezTo>
                      <a:pt x="14383" y="22955"/>
                      <a:pt x="14669" y="22479"/>
                      <a:pt x="14859" y="21812"/>
                    </a:cubicBezTo>
                    <a:cubicBezTo>
                      <a:pt x="15049" y="21241"/>
                      <a:pt x="15145" y="20479"/>
                      <a:pt x="15145" y="19622"/>
                    </a:cubicBezTo>
                    <a:lnTo>
                      <a:pt x="15145" y="19241"/>
                    </a:lnTo>
                    <a:cubicBezTo>
                      <a:pt x="14383" y="19907"/>
                      <a:pt x="13430" y="20479"/>
                      <a:pt x="12478" y="20765"/>
                    </a:cubicBezTo>
                    <a:cubicBezTo>
                      <a:pt x="11525" y="21146"/>
                      <a:pt x="10382" y="21336"/>
                      <a:pt x="9144" y="21336"/>
                    </a:cubicBezTo>
                    <a:cubicBezTo>
                      <a:pt x="6191" y="21336"/>
                      <a:pt x="3905" y="20479"/>
                      <a:pt x="2381" y="18669"/>
                    </a:cubicBezTo>
                    <a:cubicBezTo>
                      <a:pt x="762" y="16859"/>
                      <a:pt x="0" y="14192"/>
                      <a:pt x="0" y="10573"/>
                    </a:cubicBezTo>
                    <a:cubicBezTo>
                      <a:pt x="0" y="8858"/>
                      <a:pt x="191" y="7334"/>
                      <a:pt x="762" y="6096"/>
                    </a:cubicBezTo>
                    <a:cubicBezTo>
                      <a:pt x="1238" y="4858"/>
                      <a:pt x="1905" y="3715"/>
                      <a:pt x="2857" y="2762"/>
                    </a:cubicBezTo>
                    <a:cubicBezTo>
                      <a:pt x="3715" y="1905"/>
                      <a:pt x="4667" y="1238"/>
                      <a:pt x="5905" y="762"/>
                    </a:cubicBezTo>
                    <a:cubicBezTo>
                      <a:pt x="7144" y="286"/>
                      <a:pt x="8382" y="0"/>
                      <a:pt x="9620" y="0"/>
                    </a:cubicBezTo>
                    <a:cubicBezTo>
                      <a:pt x="10763" y="0"/>
                      <a:pt x="11811" y="191"/>
                      <a:pt x="12764" y="381"/>
                    </a:cubicBezTo>
                    <a:cubicBezTo>
                      <a:pt x="13716" y="667"/>
                      <a:pt x="14573" y="1048"/>
                      <a:pt x="15335" y="1524"/>
                    </a:cubicBezTo>
                    <a:lnTo>
                      <a:pt x="15621" y="572"/>
                    </a:lnTo>
                    <a:lnTo>
                      <a:pt x="22193" y="572"/>
                    </a:lnTo>
                    <a:lnTo>
                      <a:pt x="22193" y="19145"/>
                    </a:lnTo>
                    <a:lnTo>
                      <a:pt x="22193" y="19145"/>
                    </a:lnTo>
                    <a:close/>
                    <a:moveTo>
                      <a:pt x="15049" y="15240"/>
                    </a:moveTo>
                    <a:lnTo>
                      <a:pt x="15049" y="5620"/>
                    </a:lnTo>
                    <a:cubicBezTo>
                      <a:pt x="15049" y="5620"/>
                      <a:pt x="14192" y="5334"/>
                      <a:pt x="13621" y="5239"/>
                    </a:cubicBezTo>
                    <a:cubicBezTo>
                      <a:pt x="13049" y="5239"/>
                      <a:pt x="12573" y="5143"/>
                      <a:pt x="12097" y="5143"/>
                    </a:cubicBezTo>
                    <a:cubicBezTo>
                      <a:pt x="10287" y="5143"/>
                      <a:pt x="9049" y="5620"/>
                      <a:pt x="8096" y="6667"/>
                    </a:cubicBezTo>
                    <a:cubicBezTo>
                      <a:pt x="7239" y="7715"/>
                      <a:pt x="6763" y="9144"/>
                      <a:pt x="6763" y="10954"/>
                    </a:cubicBezTo>
                    <a:cubicBezTo>
                      <a:pt x="6763" y="12954"/>
                      <a:pt x="7144" y="14383"/>
                      <a:pt x="7906" y="15240"/>
                    </a:cubicBezTo>
                    <a:cubicBezTo>
                      <a:pt x="8668" y="16002"/>
                      <a:pt x="9811" y="16478"/>
                      <a:pt x="11240" y="16478"/>
                    </a:cubicBezTo>
                    <a:cubicBezTo>
                      <a:pt x="11906" y="16478"/>
                      <a:pt x="12573" y="16383"/>
                      <a:pt x="13240" y="16192"/>
                    </a:cubicBezTo>
                    <a:cubicBezTo>
                      <a:pt x="13906" y="16002"/>
                      <a:pt x="14478" y="15716"/>
                      <a:pt x="14954" y="1533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8" name="Freeform: Shape 137">
                <a:extLst>
                  <a:ext uri="{FF2B5EF4-FFF2-40B4-BE49-F238E27FC236}">
                    <a16:creationId xmlns:a16="http://schemas.microsoft.com/office/drawing/2014/main" id="{1F75673B-0F61-4A23-91CE-7CA5885CB761}"/>
                  </a:ext>
                </a:extLst>
              </p:cNvPr>
              <p:cNvSpPr/>
              <p:nvPr/>
            </p:nvSpPr>
            <p:spPr>
              <a:xfrm>
                <a:off x="6878700" y="4100647"/>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39" name="Freeform: Shape 138">
                <a:extLst>
                  <a:ext uri="{FF2B5EF4-FFF2-40B4-BE49-F238E27FC236}">
                    <a16:creationId xmlns:a16="http://schemas.microsoft.com/office/drawing/2014/main" id="{23DDA65B-6D30-4880-B779-DE65F572B5FE}"/>
                  </a:ext>
                </a:extLst>
              </p:cNvPr>
              <p:cNvSpPr/>
              <p:nvPr/>
            </p:nvSpPr>
            <p:spPr>
              <a:xfrm>
                <a:off x="6878891" y="4091122"/>
                <a:ext cx="6667" cy="7620"/>
              </a:xfrm>
              <a:custGeom>
                <a:avLst/>
                <a:gdLst>
                  <a:gd name="connsiteX0" fmla="*/ 0 w 6667"/>
                  <a:gd name="connsiteY0" fmla="*/ 0 h 7620"/>
                  <a:gd name="connsiteX1" fmla="*/ 3239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239"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0" name="Freeform: Shape 139">
                <a:extLst>
                  <a:ext uri="{FF2B5EF4-FFF2-40B4-BE49-F238E27FC236}">
                    <a16:creationId xmlns:a16="http://schemas.microsoft.com/office/drawing/2014/main" id="{0684DA6E-BED2-4D35-B908-501D8DDCFBC6}"/>
                  </a:ext>
                </a:extLst>
              </p:cNvPr>
              <p:cNvSpPr/>
              <p:nvPr/>
            </p:nvSpPr>
            <p:spPr>
              <a:xfrm>
                <a:off x="6888035" y="4141128"/>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1" name="Freeform: Shape 140">
                <a:extLst>
                  <a:ext uri="{FF2B5EF4-FFF2-40B4-BE49-F238E27FC236}">
                    <a16:creationId xmlns:a16="http://schemas.microsoft.com/office/drawing/2014/main" id="{FB965E26-F8C2-4700-82CD-80E241737AB6}"/>
                  </a:ext>
                </a:extLst>
              </p:cNvPr>
              <p:cNvSpPr/>
              <p:nvPr/>
            </p:nvSpPr>
            <p:spPr>
              <a:xfrm>
                <a:off x="6888130" y="4131603"/>
                <a:ext cx="6762" cy="7620"/>
              </a:xfrm>
              <a:custGeom>
                <a:avLst/>
                <a:gdLst>
                  <a:gd name="connsiteX0" fmla="*/ 0 w 6762"/>
                  <a:gd name="connsiteY0" fmla="*/ 0 h 7620"/>
                  <a:gd name="connsiteX1" fmla="*/ 3334 w 6762"/>
                  <a:gd name="connsiteY1" fmla="*/ 7620 h 7620"/>
                  <a:gd name="connsiteX2" fmla="*/ 6763 w 6762"/>
                  <a:gd name="connsiteY2" fmla="*/ 0 h 7620"/>
                  <a:gd name="connsiteX3" fmla="*/ 0 w 6762"/>
                  <a:gd name="connsiteY3" fmla="*/ 0 h 7620"/>
                  <a:gd name="connsiteX4" fmla="*/ 0 w 6762"/>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62" h="7620">
                    <a:moveTo>
                      <a:pt x="0" y="0"/>
                    </a:moveTo>
                    <a:lnTo>
                      <a:pt x="3334" y="7620"/>
                    </a:lnTo>
                    <a:lnTo>
                      <a:pt x="6763"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2" name="Freeform: Shape 141">
                <a:extLst>
                  <a:ext uri="{FF2B5EF4-FFF2-40B4-BE49-F238E27FC236}">
                    <a16:creationId xmlns:a16="http://schemas.microsoft.com/office/drawing/2014/main" id="{10E358DD-672F-4BDF-B868-1919D0B03201}"/>
                  </a:ext>
                </a:extLst>
              </p:cNvPr>
              <p:cNvSpPr/>
              <p:nvPr/>
            </p:nvSpPr>
            <p:spPr>
              <a:xfrm>
                <a:off x="6872890" y="4181895"/>
                <a:ext cx="6667" cy="21050"/>
              </a:xfrm>
              <a:custGeom>
                <a:avLst/>
                <a:gdLst>
                  <a:gd name="connsiteX0" fmla="*/ 6668 w 6667"/>
                  <a:gd name="connsiteY0" fmla="*/ 21050 h 21050"/>
                  <a:gd name="connsiteX1" fmla="*/ 0 w 6667"/>
                  <a:gd name="connsiteY1" fmla="*/ 21050 h 21050"/>
                  <a:gd name="connsiteX2" fmla="*/ 0 w 6667"/>
                  <a:gd name="connsiteY2" fmla="*/ 0 h 21050"/>
                  <a:gd name="connsiteX3" fmla="*/ 6668 w 6667"/>
                  <a:gd name="connsiteY3" fmla="*/ 0 h 21050"/>
                  <a:gd name="connsiteX4" fmla="*/ 6668 w 6667"/>
                  <a:gd name="connsiteY4" fmla="*/ 21050 h 21050"/>
                  <a:gd name="connsiteX5" fmla="*/ 6668 w 6667"/>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 h="21050">
                    <a:moveTo>
                      <a:pt x="6668" y="21050"/>
                    </a:moveTo>
                    <a:lnTo>
                      <a:pt x="0" y="21050"/>
                    </a:lnTo>
                    <a:lnTo>
                      <a:pt x="0" y="0"/>
                    </a:lnTo>
                    <a:lnTo>
                      <a:pt x="6668" y="0"/>
                    </a:lnTo>
                    <a:lnTo>
                      <a:pt x="6668" y="21050"/>
                    </a:lnTo>
                    <a:lnTo>
                      <a:pt x="6668"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3" name="Freeform: Shape 142">
                <a:extLst>
                  <a:ext uri="{FF2B5EF4-FFF2-40B4-BE49-F238E27FC236}">
                    <a16:creationId xmlns:a16="http://schemas.microsoft.com/office/drawing/2014/main" id="{49F1C00A-9221-4A3B-A425-8D8664F6ACFE}"/>
                  </a:ext>
                </a:extLst>
              </p:cNvPr>
              <p:cNvSpPr/>
              <p:nvPr/>
            </p:nvSpPr>
            <p:spPr>
              <a:xfrm>
                <a:off x="6872985" y="4172370"/>
                <a:ext cx="6667" cy="7620"/>
              </a:xfrm>
              <a:custGeom>
                <a:avLst/>
                <a:gdLst>
                  <a:gd name="connsiteX0" fmla="*/ 0 w 6667"/>
                  <a:gd name="connsiteY0" fmla="*/ 0 h 7620"/>
                  <a:gd name="connsiteX1" fmla="*/ 3334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334"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4" name="Freeform: Shape 143">
                <a:extLst>
                  <a:ext uri="{FF2B5EF4-FFF2-40B4-BE49-F238E27FC236}">
                    <a16:creationId xmlns:a16="http://schemas.microsoft.com/office/drawing/2014/main" id="{201BFD0A-6728-4004-BFD8-3C4F5224D6AD}"/>
                  </a:ext>
                </a:extLst>
              </p:cNvPr>
              <p:cNvSpPr/>
              <p:nvPr/>
            </p:nvSpPr>
            <p:spPr>
              <a:xfrm>
                <a:off x="6788975" y="4181895"/>
                <a:ext cx="6762" cy="21050"/>
              </a:xfrm>
              <a:custGeom>
                <a:avLst/>
                <a:gdLst>
                  <a:gd name="connsiteX0" fmla="*/ 6763 w 6762"/>
                  <a:gd name="connsiteY0" fmla="*/ 21050 h 21050"/>
                  <a:gd name="connsiteX1" fmla="*/ 0 w 6762"/>
                  <a:gd name="connsiteY1" fmla="*/ 21050 h 21050"/>
                  <a:gd name="connsiteX2" fmla="*/ 0 w 6762"/>
                  <a:gd name="connsiteY2" fmla="*/ 0 h 21050"/>
                  <a:gd name="connsiteX3" fmla="*/ 6763 w 6762"/>
                  <a:gd name="connsiteY3" fmla="*/ 0 h 21050"/>
                  <a:gd name="connsiteX4" fmla="*/ 6763 w 6762"/>
                  <a:gd name="connsiteY4" fmla="*/ 21050 h 21050"/>
                  <a:gd name="connsiteX5" fmla="*/ 6763 w 6762"/>
                  <a:gd name="connsiteY5" fmla="*/ 21050 h 2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62" h="21050">
                    <a:moveTo>
                      <a:pt x="6763" y="21050"/>
                    </a:moveTo>
                    <a:lnTo>
                      <a:pt x="0" y="21050"/>
                    </a:lnTo>
                    <a:lnTo>
                      <a:pt x="0" y="0"/>
                    </a:lnTo>
                    <a:lnTo>
                      <a:pt x="6763" y="0"/>
                    </a:lnTo>
                    <a:lnTo>
                      <a:pt x="6763" y="21050"/>
                    </a:lnTo>
                    <a:lnTo>
                      <a:pt x="6763" y="2105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5" name="Freeform: Shape 144">
                <a:extLst>
                  <a:ext uri="{FF2B5EF4-FFF2-40B4-BE49-F238E27FC236}">
                    <a16:creationId xmlns:a16="http://schemas.microsoft.com/office/drawing/2014/main" id="{87BE4D55-165F-4810-A5A0-4D2FB8595DF5}"/>
                  </a:ext>
                </a:extLst>
              </p:cNvPr>
              <p:cNvSpPr/>
              <p:nvPr/>
            </p:nvSpPr>
            <p:spPr>
              <a:xfrm>
                <a:off x="6789165" y="4172370"/>
                <a:ext cx="6667" cy="7620"/>
              </a:xfrm>
              <a:custGeom>
                <a:avLst/>
                <a:gdLst>
                  <a:gd name="connsiteX0" fmla="*/ 0 w 6667"/>
                  <a:gd name="connsiteY0" fmla="*/ 0 h 7620"/>
                  <a:gd name="connsiteX1" fmla="*/ 3334 w 6667"/>
                  <a:gd name="connsiteY1" fmla="*/ 7620 h 7620"/>
                  <a:gd name="connsiteX2" fmla="*/ 6668 w 6667"/>
                  <a:gd name="connsiteY2" fmla="*/ 0 h 7620"/>
                  <a:gd name="connsiteX3" fmla="*/ 0 w 6667"/>
                  <a:gd name="connsiteY3" fmla="*/ 0 h 7620"/>
                  <a:gd name="connsiteX4" fmla="*/ 0 w 6667"/>
                  <a:gd name="connsiteY4" fmla="*/ 0 h 7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 h="7620">
                    <a:moveTo>
                      <a:pt x="0" y="0"/>
                    </a:moveTo>
                    <a:lnTo>
                      <a:pt x="3334" y="7620"/>
                    </a:lnTo>
                    <a:lnTo>
                      <a:pt x="6668" y="0"/>
                    </a:lnTo>
                    <a:lnTo>
                      <a:pt x="0" y="0"/>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46" name="Freeform: Shape 145">
                <a:extLst>
                  <a:ext uri="{FF2B5EF4-FFF2-40B4-BE49-F238E27FC236}">
                    <a16:creationId xmlns:a16="http://schemas.microsoft.com/office/drawing/2014/main" id="{4CD888E3-77D9-4AD4-BE61-437067BDB736}"/>
                  </a:ext>
                </a:extLst>
              </p:cNvPr>
              <p:cNvSpPr/>
              <p:nvPr/>
            </p:nvSpPr>
            <p:spPr>
              <a:xfrm>
                <a:off x="6936993" y="4181704"/>
                <a:ext cx="10096" cy="10096"/>
              </a:xfrm>
              <a:custGeom>
                <a:avLst/>
                <a:gdLst>
                  <a:gd name="connsiteX0" fmla="*/ 10097 w 10096"/>
                  <a:gd name="connsiteY0" fmla="*/ 5048 h 10096"/>
                  <a:gd name="connsiteX1" fmla="*/ 5144 w 10096"/>
                  <a:gd name="connsiteY1" fmla="*/ 10096 h 10096"/>
                  <a:gd name="connsiteX2" fmla="*/ 0 w 10096"/>
                  <a:gd name="connsiteY2" fmla="*/ 5048 h 10096"/>
                  <a:gd name="connsiteX3" fmla="*/ 4953 w 10096"/>
                  <a:gd name="connsiteY3" fmla="*/ 0 h 10096"/>
                  <a:gd name="connsiteX4" fmla="*/ 10097 w 10096"/>
                  <a:gd name="connsiteY4" fmla="*/ 5048 h 10096"/>
                  <a:gd name="connsiteX5" fmla="*/ 762 w 10096"/>
                  <a:gd name="connsiteY5" fmla="*/ 5048 h 10096"/>
                  <a:gd name="connsiteX6" fmla="*/ 5144 w 10096"/>
                  <a:gd name="connsiteY6" fmla="*/ 9334 h 10096"/>
                  <a:gd name="connsiteX7" fmla="*/ 9334 w 10096"/>
                  <a:gd name="connsiteY7" fmla="*/ 5048 h 10096"/>
                  <a:gd name="connsiteX8" fmla="*/ 4953 w 10096"/>
                  <a:gd name="connsiteY8" fmla="*/ 762 h 10096"/>
                  <a:gd name="connsiteX9" fmla="*/ 762 w 10096"/>
                  <a:gd name="connsiteY9" fmla="*/ 5048 h 10096"/>
                  <a:gd name="connsiteX10" fmla="*/ 4191 w 10096"/>
                  <a:gd name="connsiteY10" fmla="*/ 8001 h 10096"/>
                  <a:gd name="connsiteX11" fmla="*/ 3239 w 10096"/>
                  <a:gd name="connsiteY11" fmla="*/ 8001 h 10096"/>
                  <a:gd name="connsiteX12" fmla="*/ 3239 w 10096"/>
                  <a:gd name="connsiteY12" fmla="*/ 2191 h 10096"/>
                  <a:gd name="connsiteX13" fmla="*/ 5429 w 10096"/>
                  <a:gd name="connsiteY13" fmla="*/ 2191 h 10096"/>
                  <a:gd name="connsiteX14" fmla="*/ 7048 w 10096"/>
                  <a:gd name="connsiteY14" fmla="*/ 3620 h 10096"/>
                  <a:gd name="connsiteX15" fmla="*/ 5810 w 10096"/>
                  <a:gd name="connsiteY15" fmla="*/ 4953 h 10096"/>
                  <a:gd name="connsiteX16" fmla="*/ 5810 w 10096"/>
                  <a:gd name="connsiteY16" fmla="*/ 4953 h 10096"/>
                  <a:gd name="connsiteX17" fmla="*/ 6858 w 10096"/>
                  <a:gd name="connsiteY17" fmla="*/ 6477 h 10096"/>
                  <a:gd name="connsiteX18" fmla="*/ 7144 w 10096"/>
                  <a:gd name="connsiteY18" fmla="*/ 8001 h 10096"/>
                  <a:gd name="connsiteX19" fmla="*/ 6191 w 10096"/>
                  <a:gd name="connsiteY19" fmla="*/ 8001 h 10096"/>
                  <a:gd name="connsiteX20" fmla="*/ 5905 w 10096"/>
                  <a:gd name="connsiteY20" fmla="*/ 6096 h 10096"/>
                  <a:gd name="connsiteX21" fmla="*/ 5048 w 10096"/>
                  <a:gd name="connsiteY21" fmla="*/ 5429 h 10096"/>
                  <a:gd name="connsiteX22" fmla="*/ 4096 w 10096"/>
                  <a:gd name="connsiteY22" fmla="*/ 5429 h 10096"/>
                  <a:gd name="connsiteX23" fmla="*/ 4096 w 10096"/>
                  <a:gd name="connsiteY23" fmla="*/ 8001 h 10096"/>
                  <a:gd name="connsiteX24" fmla="*/ 4096 w 10096"/>
                  <a:gd name="connsiteY24" fmla="*/ 8001 h 10096"/>
                  <a:gd name="connsiteX25" fmla="*/ 4191 w 10096"/>
                  <a:gd name="connsiteY25" fmla="*/ 4667 h 10096"/>
                  <a:gd name="connsiteX26" fmla="*/ 5429 w 10096"/>
                  <a:gd name="connsiteY26" fmla="*/ 4667 h 10096"/>
                  <a:gd name="connsiteX27" fmla="*/ 6286 w 10096"/>
                  <a:gd name="connsiteY27" fmla="*/ 3715 h 10096"/>
                  <a:gd name="connsiteX28" fmla="*/ 5429 w 10096"/>
                  <a:gd name="connsiteY28" fmla="*/ 2858 h 10096"/>
                  <a:gd name="connsiteX29" fmla="*/ 4191 w 10096"/>
                  <a:gd name="connsiteY29" fmla="*/ 2858 h 10096"/>
                  <a:gd name="connsiteX30" fmla="*/ 4191 w 10096"/>
                  <a:gd name="connsiteY30" fmla="*/ 4667 h 10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0096" h="10096">
                    <a:moveTo>
                      <a:pt x="10097" y="5048"/>
                    </a:moveTo>
                    <a:cubicBezTo>
                      <a:pt x="10097" y="7906"/>
                      <a:pt x="8001" y="10096"/>
                      <a:pt x="5144" y="10096"/>
                    </a:cubicBezTo>
                    <a:cubicBezTo>
                      <a:pt x="2286" y="10096"/>
                      <a:pt x="0" y="7810"/>
                      <a:pt x="0" y="5048"/>
                    </a:cubicBezTo>
                    <a:cubicBezTo>
                      <a:pt x="0" y="2286"/>
                      <a:pt x="2191" y="0"/>
                      <a:pt x="4953" y="0"/>
                    </a:cubicBezTo>
                    <a:cubicBezTo>
                      <a:pt x="7715" y="0"/>
                      <a:pt x="10001" y="2191"/>
                      <a:pt x="10097" y="5048"/>
                    </a:cubicBezTo>
                    <a:moveTo>
                      <a:pt x="762" y="5048"/>
                    </a:moveTo>
                    <a:cubicBezTo>
                      <a:pt x="762" y="7429"/>
                      <a:pt x="2762" y="9334"/>
                      <a:pt x="5144" y="9334"/>
                    </a:cubicBezTo>
                    <a:cubicBezTo>
                      <a:pt x="7525" y="9334"/>
                      <a:pt x="9430" y="7429"/>
                      <a:pt x="9334" y="5048"/>
                    </a:cubicBezTo>
                    <a:cubicBezTo>
                      <a:pt x="9334" y="2667"/>
                      <a:pt x="7334" y="762"/>
                      <a:pt x="4953" y="762"/>
                    </a:cubicBezTo>
                    <a:cubicBezTo>
                      <a:pt x="2572" y="762"/>
                      <a:pt x="667" y="2667"/>
                      <a:pt x="762" y="5048"/>
                    </a:cubicBezTo>
                    <a:moveTo>
                      <a:pt x="4191" y="8001"/>
                    </a:moveTo>
                    <a:lnTo>
                      <a:pt x="3239" y="8001"/>
                    </a:lnTo>
                    <a:lnTo>
                      <a:pt x="3239" y="2191"/>
                    </a:lnTo>
                    <a:lnTo>
                      <a:pt x="5429" y="2191"/>
                    </a:lnTo>
                    <a:cubicBezTo>
                      <a:pt x="6572" y="2191"/>
                      <a:pt x="7048" y="2953"/>
                      <a:pt x="7048" y="3620"/>
                    </a:cubicBezTo>
                    <a:cubicBezTo>
                      <a:pt x="7048" y="4286"/>
                      <a:pt x="6572" y="4858"/>
                      <a:pt x="5810" y="4953"/>
                    </a:cubicBezTo>
                    <a:lnTo>
                      <a:pt x="5810" y="4953"/>
                    </a:lnTo>
                    <a:cubicBezTo>
                      <a:pt x="6572" y="5048"/>
                      <a:pt x="6763" y="5239"/>
                      <a:pt x="6858" y="6477"/>
                    </a:cubicBezTo>
                    <a:cubicBezTo>
                      <a:pt x="6858" y="6763"/>
                      <a:pt x="6953" y="7620"/>
                      <a:pt x="7144" y="8001"/>
                    </a:cubicBezTo>
                    <a:lnTo>
                      <a:pt x="6191" y="8001"/>
                    </a:lnTo>
                    <a:cubicBezTo>
                      <a:pt x="6191" y="8001"/>
                      <a:pt x="6001" y="6858"/>
                      <a:pt x="5905" y="6096"/>
                    </a:cubicBezTo>
                    <a:cubicBezTo>
                      <a:pt x="5905" y="5524"/>
                      <a:pt x="5239" y="5429"/>
                      <a:pt x="5048" y="5429"/>
                    </a:cubicBezTo>
                    <a:lnTo>
                      <a:pt x="4096" y="5429"/>
                    </a:lnTo>
                    <a:lnTo>
                      <a:pt x="4096" y="8001"/>
                    </a:lnTo>
                    <a:lnTo>
                      <a:pt x="4096" y="8001"/>
                    </a:lnTo>
                    <a:close/>
                    <a:moveTo>
                      <a:pt x="4191" y="4667"/>
                    </a:moveTo>
                    <a:lnTo>
                      <a:pt x="5429" y="4667"/>
                    </a:lnTo>
                    <a:cubicBezTo>
                      <a:pt x="6001" y="4667"/>
                      <a:pt x="6286" y="4191"/>
                      <a:pt x="6286" y="3715"/>
                    </a:cubicBezTo>
                    <a:cubicBezTo>
                      <a:pt x="6286" y="3334"/>
                      <a:pt x="6096" y="2858"/>
                      <a:pt x="5429" y="2858"/>
                    </a:cubicBezTo>
                    <a:lnTo>
                      <a:pt x="4191" y="2858"/>
                    </a:lnTo>
                    <a:lnTo>
                      <a:pt x="4191" y="4667"/>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3" name="Group 52">
              <a:extLst>
                <a:ext uri="{FF2B5EF4-FFF2-40B4-BE49-F238E27FC236}">
                  <a16:creationId xmlns:a16="http://schemas.microsoft.com/office/drawing/2014/main" id="{A64C4FFC-7E0D-4D2E-B98D-847646880F31}"/>
                </a:ext>
              </a:extLst>
            </p:cNvPr>
            <p:cNvGrpSpPr/>
            <p:nvPr userDrawn="1"/>
          </p:nvGrpSpPr>
          <p:grpSpPr>
            <a:xfrm>
              <a:off x="7172823" y="1735381"/>
              <a:ext cx="757767" cy="207212"/>
              <a:chOff x="5381625" y="3233737"/>
              <a:chExt cx="1432312" cy="391667"/>
            </a:xfrm>
          </p:grpSpPr>
          <p:sp>
            <p:nvSpPr>
              <p:cNvPr id="105" name="Freeform: Shape 104">
                <a:extLst>
                  <a:ext uri="{FF2B5EF4-FFF2-40B4-BE49-F238E27FC236}">
                    <a16:creationId xmlns:a16="http://schemas.microsoft.com/office/drawing/2014/main" id="{F84F301D-16FE-435D-B48D-38CD0CCFD5A2}"/>
                  </a:ext>
                </a:extLst>
              </p:cNvPr>
              <p:cNvSpPr/>
              <p:nvPr/>
            </p:nvSpPr>
            <p:spPr>
              <a:xfrm>
                <a:off x="5976080" y="3343846"/>
                <a:ext cx="146780" cy="212312"/>
              </a:xfrm>
              <a:custGeom>
                <a:avLst/>
                <a:gdLst>
                  <a:gd name="connsiteX0" fmla="*/ 70866 w 146780"/>
                  <a:gd name="connsiteY0" fmla="*/ 157544 h 212312"/>
                  <a:gd name="connsiteX1" fmla="*/ 60484 w 146780"/>
                  <a:gd name="connsiteY1" fmla="*/ 177832 h 212312"/>
                  <a:gd name="connsiteX2" fmla="*/ 48292 w 146780"/>
                  <a:gd name="connsiteY2" fmla="*/ 195453 h 212312"/>
                  <a:gd name="connsiteX3" fmla="*/ 32099 w 146780"/>
                  <a:gd name="connsiteY3" fmla="*/ 207740 h 212312"/>
                  <a:gd name="connsiteX4" fmla="*/ 9525 w 146780"/>
                  <a:gd name="connsiteY4" fmla="*/ 212312 h 212312"/>
                  <a:gd name="connsiteX5" fmla="*/ 4477 w 146780"/>
                  <a:gd name="connsiteY5" fmla="*/ 211836 h 212312"/>
                  <a:gd name="connsiteX6" fmla="*/ 0 w 146780"/>
                  <a:gd name="connsiteY6" fmla="*/ 210788 h 212312"/>
                  <a:gd name="connsiteX7" fmla="*/ 3715 w 146780"/>
                  <a:gd name="connsiteY7" fmla="*/ 193834 h 212312"/>
                  <a:gd name="connsiteX8" fmla="*/ 11240 w 146780"/>
                  <a:gd name="connsiteY8" fmla="*/ 194691 h 212312"/>
                  <a:gd name="connsiteX9" fmla="*/ 26099 w 146780"/>
                  <a:gd name="connsiteY9" fmla="*/ 189643 h 212312"/>
                  <a:gd name="connsiteX10" fmla="*/ 36862 w 146780"/>
                  <a:gd name="connsiteY10" fmla="*/ 177165 h 212312"/>
                  <a:gd name="connsiteX11" fmla="*/ 44958 w 146780"/>
                  <a:gd name="connsiteY11" fmla="*/ 161639 h 212312"/>
                  <a:gd name="connsiteX12" fmla="*/ 51816 w 146780"/>
                  <a:gd name="connsiteY12" fmla="*/ 147066 h 212312"/>
                  <a:gd name="connsiteX13" fmla="*/ 44005 w 146780"/>
                  <a:gd name="connsiteY13" fmla="*/ 147066 h 212312"/>
                  <a:gd name="connsiteX14" fmla="*/ 22193 w 146780"/>
                  <a:gd name="connsiteY14" fmla="*/ 0 h 212312"/>
                  <a:gd name="connsiteX15" fmla="*/ 44863 w 146780"/>
                  <a:gd name="connsiteY15" fmla="*/ 0 h 212312"/>
                  <a:gd name="connsiteX16" fmla="*/ 62198 w 146780"/>
                  <a:gd name="connsiteY16" fmla="*/ 130778 h 212312"/>
                  <a:gd name="connsiteX17" fmla="*/ 62770 w 146780"/>
                  <a:gd name="connsiteY17" fmla="*/ 130778 h 212312"/>
                  <a:gd name="connsiteX18" fmla="*/ 123825 w 146780"/>
                  <a:gd name="connsiteY18" fmla="*/ 0 h 212312"/>
                  <a:gd name="connsiteX19" fmla="*/ 146780 w 146780"/>
                  <a:gd name="connsiteY19" fmla="*/ 0 h 212312"/>
                  <a:gd name="connsiteX20" fmla="*/ 70866 w 146780"/>
                  <a:gd name="connsiteY20" fmla="*/ 157448 h 212312"/>
                  <a:gd name="connsiteX21" fmla="*/ 70866 w 146780"/>
                  <a:gd name="connsiteY21" fmla="*/ 157448 h 21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780" h="212312">
                    <a:moveTo>
                      <a:pt x="70866" y="157544"/>
                    </a:moveTo>
                    <a:cubicBezTo>
                      <a:pt x="67532" y="164497"/>
                      <a:pt x="64008" y="171260"/>
                      <a:pt x="60484" y="177832"/>
                    </a:cubicBezTo>
                    <a:cubicBezTo>
                      <a:pt x="56959" y="184499"/>
                      <a:pt x="52864" y="190310"/>
                      <a:pt x="48292" y="195453"/>
                    </a:cubicBezTo>
                    <a:cubicBezTo>
                      <a:pt x="43720" y="200596"/>
                      <a:pt x="38291" y="204692"/>
                      <a:pt x="32099" y="207740"/>
                    </a:cubicBezTo>
                    <a:cubicBezTo>
                      <a:pt x="25813" y="210788"/>
                      <a:pt x="18383" y="212312"/>
                      <a:pt x="9525" y="212312"/>
                    </a:cubicBezTo>
                    <a:cubicBezTo>
                      <a:pt x="7620" y="212312"/>
                      <a:pt x="6001" y="212217"/>
                      <a:pt x="4477" y="211836"/>
                    </a:cubicBezTo>
                    <a:cubicBezTo>
                      <a:pt x="2953" y="211550"/>
                      <a:pt x="1524" y="211169"/>
                      <a:pt x="0" y="210788"/>
                    </a:cubicBezTo>
                    <a:lnTo>
                      <a:pt x="3715" y="193834"/>
                    </a:lnTo>
                    <a:cubicBezTo>
                      <a:pt x="5905" y="194405"/>
                      <a:pt x="8477" y="194691"/>
                      <a:pt x="11240" y="194691"/>
                    </a:cubicBezTo>
                    <a:cubicBezTo>
                      <a:pt x="17050" y="194691"/>
                      <a:pt x="22003" y="192977"/>
                      <a:pt x="26099" y="189643"/>
                    </a:cubicBezTo>
                    <a:cubicBezTo>
                      <a:pt x="30194" y="186309"/>
                      <a:pt x="33814" y="182118"/>
                      <a:pt x="36862" y="177165"/>
                    </a:cubicBezTo>
                    <a:cubicBezTo>
                      <a:pt x="39910" y="172212"/>
                      <a:pt x="42672" y="166973"/>
                      <a:pt x="44958" y="161639"/>
                    </a:cubicBezTo>
                    <a:cubicBezTo>
                      <a:pt x="47339" y="156210"/>
                      <a:pt x="49530" y="151352"/>
                      <a:pt x="51816" y="147066"/>
                    </a:cubicBezTo>
                    <a:lnTo>
                      <a:pt x="44005" y="147066"/>
                    </a:lnTo>
                    <a:lnTo>
                      <a:pt x="22193" y="0"/>
                    </a:lnTo>
                    <a:lnTo>
                      <a:pt x="44863" y="0"/>
                    </a:lnTo>
                    <a:lnTo>
                      <a:pt x="62198" y="130778"/>
                    </a:lnTo>
                    <a:lnTo>
                      <a:pt x="62770" y="130778"/>
                    </a:lnTo>
                    <a:lnTo>
                      <a:pt x="123825" y="0"/>
                    </a:lnTo>
                    <a:lnTo>
                      <a:pt x="146780" y="0"/>
                    </a:lnTo>
                    <a:lnTo>
                      <a:pt x="70866" y="157448"/>
                    </a:lnTo>
                    <a:lnTo>
                      <a:pt x="70866" y="157448"/>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6" name="Freeform: Shape 105">
                <a:extLst>
                  <a:ext uri="{FF2B5EF4-FFF2-40B4-BE49-F238E27FC236}">
                    <a16:creationId xmlns:a16="http://schemas.microsoft.com/office/drawing/2014/main" id="{AC726FCA-7758-4D19-8352-D7030955C390}"/>
                  </a:ext>
                </a:extLst>
              </p:cNvPr>
              <p:cNvSpPr/>
              <p:nvPr/>
            </p:nvSpPr>
            <p:spPr>
              <a:xfrm>
                <a:off x="6114082" y="3342417"/>
                <a:ext cx="138753" cy="150209"/>
              </a:xfrm>
              <a:custGeom>
                <a:avLst/>
                <a:gdLst>
                  <a:gd name="connsiteX0" fmla="*/ 128888 w 138753"/>
                  <a:gd name="connsiteY0" fmla="*/ 95345 h 150209"/>
                  <a:gd name="connsiteX1" fmla="*/ 127174 w 138753"/>
                  <a:gd name="connsiteY1" fmla="*/ 103442 h 150209"/>
                  <a:gd name="connsiteX2" fmla="*/ 117077 w 138753"/>
                  <a:gd name="connsiteY2" fmla="*/ 128397 h 150209"/>
                  <a:gd name="connsiteX3" fmla="*/ 100789 w 138753"/>
                  <a:gd name="connsiteY3" fmla="*/ 142399 h 150209"/>
                  <a:gd name="connsiteX4" fmla="*/ 79644 w 138753"/>
                  <a:gd name="connsiteY4" fmla="*/ 148685 h 150209"/>
                  <a:gd name="connsiteX5" fmla="*/ 54879 w 138753"/>
                  <a:gd name="connsiteY5" fmla="*/ 150209 h 150209"/>
                  <a:gd name="connsiteX6" fmla="*/ 19827 w 138753"/>
                  <a:gd name="connsiteY6" fmla="*/ 145733 h 150209"/>
                  <a:gd name="connsiteX7" fmla="*/ 3349 w 138753"/>
                  <a:gd name="connsiteY7" fmla="*/ 131731 h 150209"/>
                  <a:gd name="connsiteX8" fmla="*/ 396 w 138753"/>
                  <a:gd name="connsiteY8" fmla="*/ 107347 h 150209"/>
                  <a:gd name="connsiteX9" fmla="*/ 6111 w 138753"/>
                  <a:gd name="connsiteY9" fmla="*/ 72104 h 150209"/>
                  <a:gd name="connsiteX10" fmla="*/ 14779 w 138753"/>
                  <a:gd name="connsiteY10" fmla="*/ 40672 h 150209"/>
                  <a:gd name="connsiteX11" fmla="*/ 28399 w 138753"/>
                  <a:gd name="connsiteY11" fmla="*/ 18098 h 150209"/>
                  <a:gd name="connsiteX12" fmla="*/ 50116 w 138753"/>
                  <a:gd name="connsiteY12" fmla="*/ 4572 h 150209"/>
                  <a:gd name="connsiteX13" fmla="*/ 83168 w 138753"/>
                  <a:gd name="connsiteY13" fmla="*/ 0 h 150209"/>
                  <a:gd name="connsiteX14" fmla="*/ 107933 w 138753"/>
                  <a:gd name="connsiteY14" fmla="*/ 1238 h 150209"/>
                  <a:gd name="connsiteX15" fmla="*/ 126888 w 138753"/>
                  <a:gd name="connsiteY15" fmla="*/ 7144 h 150209"/>
                  <a:gd name="connsiteX16" fmla="*/ 137365 w 138753"/>
                  <a:gd name="connsiteY16" fmla="*/ 20860 h 150209"/>
                  <a:gd name="connsiteX17" fmla="*/ 136984 w 138753"/>
                  <a:gd name="connsiteY17" fmla="*/ 45625 h 150209"/>
                  <a:gd name="connsiteX18" fmla="*/ 136127 w 138753"/>
                  <a:gd name="connsiteY18" fmla="*/ 49530 h 150209"/>
                  <a:gd name="connsiteX19" fmla="*/ 114029 w 138753"/>
                  <a:gd name="connsiteY19" fmla="*/ 49530 h 150209"/>
                  <a:gd name="connsiteX20" fmla="*/ 115077 w 138753"/>
                  <a:gd name="connsiteY20" fmla="*/ 45053 h 150209"/>
                  <a:gd name="connsiteX21" fmla="*/ 115648 w 138753"/>
                  <a:gd name="connsiteY21" fmla="*/ 29528 h 150209"/>
                  <a:gd name="connsiteX22" fmla="*/ 109648 w 138753"/>
                  <a:gd name="connsiteY22" fmla="*/ 21622 h 150209"/>
                  <a:gd name="connsiteX23" fmla="*/ 97551 w 138753"/>
                  <a:gd name="connsiteY23" fmla="*/ 18574 h 150209"/>
                  <a:gd name="connsiteX24" fmla="*/ 80596 w 138753"/>
                  <a:gd name="connsiteY24" fmla="*/ 18002 h 150209"/>
                  <a:gd name="connsiteX25" fmla="*/ 57070 w 138753"/>
                  <a:gd name="connsiteY25" fmla="*/ 20765 h 150209"/>
                  <a:gd name="connsiteX26" fmla="*/ 43258 w 138753"/>
                  <a:gd name="connsiteY26" fmla="*/ 30575 h 150209"/>
                  <a:gd name="connsiteX27" fmla="*/ 34686 w 138753"/>
                  <a:gd name="connsiteY27" fmla="*/ 49149 h 150209"/>
                  <a:gd name="connsiteX28" fmla="*/ 27637 w 138753"/>
                  <a:gd name="connsiteY28" fmla="*/ 78391 h 150209"/>
                  <a:gd name="connsiteX29" fmla="*/ 23065 w 138753"/>
                  <a:gd name="connsiteY29" fmla="*/ 104394 h 150209"/>
                  <a:gd name="connsiteX30" fmla="*/ 24970 w 138753"/>
                  <a:gd name="connsiteY30" fmla="*/ 120872 h 150209"/>
                  <a:gd name="connsiteX31" fmla="*/ 36400 w 138753"/>
                  <a:gd name="connsiteY31" fmla="*/ 129731 h 150209"/>
                  <a:gd name="connsiteX32" fmla="*/ 60975 w 138753"/>
                  <a:gd name="connsiteY32" fmla="*/ 132398 h 150209"/>
                  <a:gd name="connsiteX33" fmla="*/ 78787 w 138753"/>
                  <a:gd name="connsiteY33" fmla="*/ 131540 h 150209"/>
                  <a:gd name="connsiteX34" fmla="*/ 91360 w 138753"/>
                  <a:gd name="connsiteY34" fmla="*/ 127635 h 150209"/>
                  <a:gd name="connsiteX35" fmla="*/ 99742 w 138753"/>
                  <a:gd name="connsiteY35" fmla="*/ 118682 h 150209"/>
                  <a:gd name="connsiteX36" fmla="*/ 105171 w 138753"/>
                  <a:gd name="connsiteY36" fmla="*/ 102775 h 150209"/>
                  <a:gd name="connsiteX37" fmla="*/ 106504 w 138753"/>
                  <a:gd name="connsiteY37" fmla="*/ 95536 h 150209"/>
                  <a:gd name="connsiteX38" fmla="*/ 128698 w 138753"/>
                  <a:gd name="connsiteY38" fmla="*/ 95536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753" h="150209">
                    <a:moveTo>
                      <a:pt x="128888" y="95345"/>
                    </a:moveTo>
                    <a:lnTo>
                      <a:pt x="127174" y="103442"/>
                    </a:lnTo>
                    <a:cubicBezTo>
                      <a:pt x="124983" y="113919"/>
                      <a:pt x="121554" y="122206"/>
                      <a:pt x="117077" y="128397"/>
                    </a:cubicBezTo>
                    <a:cubicBezTo>
                      <a:pt x="112600" y="134493"/>
                      <a:pt x="107171" y="139160"/>
                      <a:pt x="100789" y="142399"/>
                    </a:cubicBezTo>
                    <a:cubicBezTo>
                      <a:pt x="94408" y="145542"/>
                      <a:pt x="87359" y="147638"/>
                      <a:pt x="79644" y="148685"/>
                    </a:cubicBezTo>
                    <a:cubicBezTo>
                      <a:pt x="71929" y="149733"/>
                      <a:pt x="63642" y="150209"/>
                      <a:pt x="54879" y="150209"/>
                    </a:cubicBezTo>
                    <a:cubicBezTo>
                      <a:pt x="39544" y="150209"/>
                      <a:pt x="27923" y="148685"/>
                      <a:pt x="19827" y="145733"/>
                    </a:cubicBezTo>
                    <a:cubicBezTo>
                      <a:pt x="11826" y="142685"/>
                      <a:pt x="6301" y="138113"/>
                      <a:pt x="3349" y="131731"/>
                    </a:cubicBezTo>
                    <a:cubicBezTo>
                      <a:pt x="396" y="125349"/>
                      <a:pt x="-652" y="117253"/>
                      <a:pt x="396" y="107347"/>
                    </a:cubicBezTo>
                    <a:cubicBezTo>
                      <a:pt x="1444" y="97441"/>
                      <a:pt x="3349" y="85725"/>
                      <a:pt x="6111" y="72104"/>
                    </a:cubicBezTo>
                    <a:cubicBezTo>
                      <a:pt x="8492" y="60198"/>
                      <a:pt x="11445" y="49720"/>
                      <a:pt x="14779" y="40672"/>
                    </a:cubicBezTo>
                    <a:cubicBezTo>
                      <a:pt x="18112" y="31623"/>
                      <a:pt x="22684" y="24098"/>
                      <a:pt x="28399" y="18098"/>
                    </a:cubicBezTo>
                    <a:cubicBezTo>
                      <a:pt x="34114" y="12097"/>
                      <a:pt x="41353" y="7620"/>
                      <a:pt x="50116" y="4572"/>
                    </a:cubicBezTo>
                    <a:cubicBezTo>
                      <a:pt x="58879" y="1429"/>
                      <a:pt x="69928" y="0"/>
                      <a:pt x="83168" y="0"/>
                    </a:cubicBezTo>
                    <a:cubicBezTo>
                      <a:pt x="92122" y="0"/>
                      <a:pt x="100408" y="381"/>
                      <a:pt x="107933" y="1238"/>
                    </a:cubicBezTo>
                    <a:cubicBezTo>
                      <a:pt x="115553" y="2096"/>
                      <a:pt x="121840" y="4001"/>
                      <a:pt x="126888" y="7144"/>
                    </a:cubicBezTo>
                    <a:cubicBezTo>
                      <a:pt x="131936" y="10192"/>
                      <a:pt x="135460" y="14764"/>
                      <a:pt x="137365" y="20860"/>
                    </a:cubicBezTo>
                    <a:cubicBezTo>
                      <a:pt x="139366" y="26956"/>
                      <a:pt x="139175" y="35147"/>
                      <a:pt x="136984" y="45625"/>
                    </a:cubicBezTo>
                    <a:lnTo>
                      <a:pt x="136127" y="49530"/>
                    </a:lnTo>
                    <a:lnTo>
                      <a:pt x="114029" y="49530"/>
                    </a:lnTo>
                    <a:lnTo>
                      <a:pt x="115077" y="45053"/>
                    </a:lnTo>
                    <a:cubicBezTo>
                      <a:pt x="116410" y="38386"/>
                      <a:pt x="116601" y="33147"/>
                      <a:pt x="115648" y="29528"/>
                    </a:cubicBezTo>
                    <a:cubicBezTo>
                      <a:pt x="114791" y="25908"/>
                      <a:pt x="112696" y="23241"/>
                      <a:pt x="109648" y="21622"/>
                    </a:cubicBezTo>
                    <a:cubicBezTo>
                      <a:pt x="106504" y="19907"/>
                      <a:pt x="102504" y="18860"/>
                      <a:pt x="97551" y="18574"/>
                    </a:cubicBezTo>
                    <a:cubicBezTo>
                      <a:pt x="92598" y="18193"/>
                      <a:pt x="86978" y="18002"/>
                      <a:pt x="80596" y="18002"/>
                    </a:cubicBezTo>
                    <a:cubicBezTo>
                      <a:pt x="70690" y="18002"/>
                      <a:pt x="62880" y="18955"/>
                      <a:pt x="57070" y="20765"/>
                    </a:cubicBezTo>
                    <a:cubicBezTo>
                      <a:pt x="51259" y="22670"/>
                      <a:pt x="46687" y="25908"/>
                      <a:pt x="43258" y="30575"/>
                    </a:cubicBezTo>
                    <a:cubicBezTo>
                      <a:pt x="39829" y="35243"/>
                      <a:pt x="36972" y="41434"/>
                      <a:pt x="34686" y="49149"/>
                    </a:cubicBezTo>
                    <a:cubicBezTo>
                      <a:pt x="32495" y="56959"/>
                      <a:pt x="30114" y="66675"/>
                      <a:pt x="27637" y="78391"/>
                    </a:cubicBezTo>
                    <a:cubicBezTo>
                      <a:pt x="25447" y="88773"/>
                      <a:pt x="23827" y="97536"/>
                      <a:pt x="23065" y="104394"/>
                    </a:cubicBezTo>
                    <a:cubicBezTo>
                      <a:pt x="22303" y="111252"/>
                      <a:pt x="22875" y="116777"/>
                      <a:pt x="24970" y="120872"/>
                    </a:cubicBezTo>
                    <a:cubicBezTo>
                      <a:pt x="26971" y="124968"/>
                      <a:pt x="30876" y="127921"/>
                      <a:pt x="36400" y="129731"/>
                    </a:cubicBezTo>
                    <a:cubicBezTo>
                      <a:pt x="41925" y="131540"/>
                      <a:pt x="50212" y="132398"/>
                      <a:pt x="60975" y="132398"/>
                    </a:cubicBezTo>
                    <a:cubicBezTo>
                      <a:pt x="67928" y="132398"/>
                      <a:pt x="73834" y="132112"/>
                      <a:pt x="78787" y="131540"/>
                    </a:cubicBezTo>
                    <a:cubicBezTo>
                      <a:pt x="83740" y="130969"/>
                      <a:pt x="87931" y="129731"/>
                      <a:pt x="91360" y="127635"/>
                    </a:cubicBezTo>
                    <a:cubicBezTo>
                      <a:pt x="94789" y="125635"/>
                      <a:pt x="97646" y="122587"/>
                      <a:pt x="99742" y="118682"/>
                    </a:cubicBezTo>
                    <a:cubicBezTo>
                      <a:pt x="101837" y="114776"/>
                      <a:pt x="103742" y="109442"/>
                      <a:pt x="105171" y="102775"/>
                    </a:cubicBezTo>
                    <a:lnTo>
                      <a:pt x="106504" y="95536"/>
                    </a:lnTo>
                    <a:lnTo>
                      <a:pt x="128698" y="9553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7" name="Freeform: Shape 106">
                <a:extLst>
                  <a:ext uri="{FF2B5EF4-FFF2-40B4-BE49-F238E27FC236}">
                    <a16:creationId xmlns:a16="http://schemas.microsoft.com/office/drawing/2014/main" id="{38DD4C9A-2CC3-4813-9516-66EF5EBCAFB0}"/>
                  </a:ext>
                </a:extLst>
              </p:cNvPr>
              <p:cNvSpPr/>
              <p:nvPr/>
            </p:nvSpPr>
            <p:spPr>
              <a:xfrm>
                <a:off x="5838510" y="3342417"/>
                <a:ext cx="138539" cy="150209"/>
              </a:xfrm>
              <a:custGeom>
                <a:avLst/>
                <a:gdLst>
                  <a:gd name="connsiteX0" fmla="*/ 128807 w 138539"/>
                  <a:gd name="connsiteY0" fmla="*/ 95345 h 150209"/>
                  <a:gd name="connsiteX1" fmla="*/ 127092 w 138539"/>
                  <a:gd name="connsiteY1" fmla="*/ 103442 h 150209"/>
                  <a:gd name="connsiteX2" fmla="*/ 117091 w 138539"/>
                  <a:gd name="connsiteY2" fmla="*/ 128397 h 150209"/>
                  <a:gd name="connsiteX3" fmla="*/ 100803 w 138539"/>
                  <a:gd name="connsiteY3" fmla="*/ 142399 h 150209"/>
                  <a:gd name="connsiteX4" fmla="*/ 79658 w 138539"/>
                  <a:gd name="connsiteY4" fmla="*/ 148685 h 150209"/>
                  <a:gd name="connsiteX5" fmla="*/ 54893 w 138539"/>
                  <a:gd name="connsiteY5" fmla="*/ 150209 h 150209"/>
                  <a:gd name="connsiteX6" fmla="*/ 19841 w 138539"/>
                  <a:gd name="connsiteY6" fmla="*/ 145733 h 150209"/>
                  <a:gd name="connsiteX7" fmla="*/ 3363 w 138539"/>
                  <a:gd name="connsiteY7" fmla="*/ 131731 h 150209"/>
                  <a:gd name="connsiteX8" fmla="*/ 410 w 138539"/>
                  <a:gd name="connsiteY8" fmla="*/ 107347 h 150209"/>
                  <a:gd name="connsiteX9" fmla="*/ 6125 w 138539"/>
                  <a:gd name="connsiteY9" fmla="*/ 72104 h 150209"/>
                  <a:gd name="connsiteX10" fmla="*/ 14793 w 138539"/>
                  <a:gd name="connsiteY10" fmla="*/ 40672 h 150209"/>
                  <a:gd name="connsiteX11" fmla="*/ 28413 w 138539"/>
                  <a:gd name="connsiteY11" fmla="*/ 18098 h 150209"/>
                  <a:gd name="connsiteX12" fmla="*/ 50035 w 138539"/>
                  <a:gd name="connsiteY12" fmla="*/ 4572 h 150209"/>
                  <a:gd name="connsiteX13" fmla="*/ 83087 w 138539"/>
                  <a:gd name="connsiteY13" fmla="*/ 0 h 150209"/>
                  <a:gd name="connsiteX14" fmla="*/ 107852 w 138539"/>
                  <a:gd name="connsiteY14" fmla="*/ 1238 h 150209"/>
                  <a:gd name="connsiteX15" fmla="*/ 126711 w 138539"/>
                  <a:gd name="connsiteY15" fmla="*/ 7144 h 150209"/>
                  <a:gd name="connsiteX16" fmla="*/ 137189 w 138539"/>
                  <a:gd name="connsiteY16" fmla="*/ 20860 h 150209"/>
                  <a:gd name="connsiteX17" fmla="*/ 136808 w 138539"/>
                  <a:gd name="connsiteY17" fmla="*/ 45625 h 150209"/>
                  <a:gd name="connsiteX18" fmla="*/ 135951 w 138539"/>
                  <a:gd name="connsiteY18" fmla="*/ 49530 h 150209"/>
                  <a:gd name="connsiteX19" fmla="*/ 113853 w 138539"/>
                  <a:gd name="connsiteY19" fmla="*/ 49530 h 150209"/>
                  <a:gd name="connsiteX20" fmla="*/ 114996 w 138539"/>
                  <a:gd name="connsiteY20" fmla="*/ 45053 h 150209"/>
                  <a:gd name="connsiteX21" fmla="*/ 115567 w 138539"/>
                  <a:gd name="connsiteY21" fmla="*/ 29528 h 150209"/>
                  <a:gd name="connsiteX22" fmla="*/ 109566 w 138539"/>
                  <a:gd name="connsiteY22" fmla="*/ 21622 h 150209"/>
                  <a:gd name="connsiteX23" fmla="*/ 97470 w 138539"/>
                  <a:gd name="connsiteY23" fmla="*/ 18574 h 150209"/>
                  <a:gd name="connsiteX24" fmla="*/ 80515 w 138539"/>
                  <a:gd name="connsiteY24" fmla="*/ 18002 h 150209"/>
                  <a:gd name="connsiteX25" fmla="*/ 56988 w 138539"/>
                  <a:gd name="connsiteY25" fmla="*/ 20765 h 150209"/>
                  <a:gd name="connsiteX26" fmla="*/ 43082 w 138539"/>
                  <a:gd name="connsiteY26" fmla="*/ 30575 h 150209"/>
                  <a:gd name="connsiteX27" fmla="*/ 34509 w 138539"/>
                  <a:gd name="connsiteY27" fmla="*/ 49149 h 150209"/>
                  <a:gd name="connsiteX28" fmla="*/ 27556 w 138539"/>
                  <a:gd name="connsiteY28" fmla="*/ 78391 h 150209"/>
                  <a:gd name="connsiteX29" fmla="*/ 22889 w 138539"/>
                  <a:gd name="connsiteY29" fmla="*/ 104394 h 150209"/>
                  <a:gd name="connsiteX30" fmla="*/ 24699 w 138539"/>
                  <a:gd name="connsiteY30" fmla="*/ 120872 h 150209"/>
                  <a:gd name="connsiteX31" fmla="*/ 36129 w 138539"/>
                  <a:gd name="connsiteY31" fmla="*/ 129731 h 150209"/>
                  <a:gd name="connsiteX32" fmla="*/ 60798 w 138539"/>
                  <a:gd name="connsiteY32" fmla="*/ 132398 h 150209"/>
                  <a:gd name="connsiteX33" fmla="*/ 78610 w 138539"/>
                  <a:gd name="connsiteY33" fmla="*/ 131540 h 150209"/>
                  <a:gd name="connsiteX34" fmla="*/ 91183 w 138539"/>
                  <a:gd name="connsiteY34" fmla="*/ 127635 h 150209"/>
                  <a:gd name="connsiteX35" fmla="*/ 99565 w 138539"/>
                  <a:gd name="connsiteY35" fmla="*/ 118682 h 150209"/>
                  <a:gd name="connsiteX36" fmla="*/ 104994 w 138539"/>
                  <a:gd name="connsiteY36" fmla="*/ 102775 h 150209"/>
                  <a:gd name="connsiteX37" fmla="*/ 106423 w 138539"/>
                  <a:gd name="connsiteY37" fmla="*/ 95536 h 150209"/>
                  <a:gd name="connsiteX38" fmla="*/ 128616 w 138539"/>
                  <a:gd name="connsiteY38" fmla="*/ 95536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8539" h="150209">
                    <a:moveTo>
                      <a:pt x="128807" y="95345"/>
                    </a:moveTo>
                    <a:lnTo>
                      <a:pt x="127092" y="103442"/>
                    </a:lnTo>
                    <a:cubicBezTo>
                      <a:pt x="124902" y="113919"/>
                      <a:pt x="121473" y="122206"/>
                      <a:pt x="117091" y="128397"/>
                    </a:cubicBezTo>
                    <a:cubicBezTo>
                      <a:pt x="112614" y="134493"/>
                      <a:pt x="107185" y="139160"/>
                      <a:pt x="100803" y="142399"/>
                    </a:cubicBezTo>
                    <a:cubicBezTo>
                      <a:pt x="94422" y="145542"/>
                      <a:pt x="87373" y="147638"/>
                      <a:pt x="79658" y="148685"/>
                    </a:cubicBezTo>
                    <a:cubicBezTo>
                      <a:pt x="71847" y="149733"/>
                      <a:pt x="63656" y="150209"/>
                      <a:pt x="54893" y="150209"/>
                    </a:cubicBezTo>
                    <a:cubicBezTo>
                      <a:pt x="39558" y="150209"/>
                      <a:pt x="27937" y="148685"/>
                      <a:pt x="19841" y="145733"/>
                    </a:cubicBezTo>
                    <a:cubicBezTo>
                      <a:pt x="11840" y="142685"/>
                      <a:pt x="6315" y="138113"/>
                      <a:pt x="3363" y="131731"/>
                    </a:cubicBezTo>
                    <a:cubicBezTo>
                      <a:pt x="315" y="125349"/>
                      <a:pt x="-638" y="117253"/>
                      <a:pt x="410" y="107347"/>
                    </a:cubicBezTo>
                    <a:cubicBezTo>
                      <a:pt x="1458" y="97441"/>
                      <a:pt x="3363" y="85725"/>
                      <a:pt x="6125" y="72104"/>
                    </a:cubicBezTo>
                    <a:cubicBezTo>
                      <a:pt x="8506" y="60198"/>
                      <a:pt x="11459" y="49720"/>
                      <a:pt x="14793" y="40672"/>
                    </a:cubicBezTo>
                    <a:cubicBezTo>
                      <a:pt x="18126" y="31623"/>
                      <a:pt x="22698" y="24098"/>
                      <a:pt x="28413" y="18098"/>
                    </a:cubicBezTo>
                    <a:cubicBezTo>
                      <a:pt x="34128" y="12097"/>
                      <a:pt x="41272" y="7620"/>
                      <a:pt x="50035" y="4572"/>
                    </a:cubicBezTo>
                    <a:cubicBezTo>
                      <a:pt x="58798" y="1429"/>
                      <a:pt x="69847" y="0"/>
                      <a:pt x="83087" y="0"/>
                    </a:cubicBezTo>
                    <a:cubicBezTo>
                      <a:pt x="92040" y="0"/>
                      <a:pt x="100327" y="381"/>
                      <a:pt x="107852" y="1238"/>
                    </a:cubicBezTo>
                    <a:cubicBezTo>
                      <a:pt x="115377" y="2096"/>
                      <a:pt x="121663" y="4001"/>
                      <a:pt x="126711" y="7144"/>
                    </a:cubicBezTo>
                    <a:cubicBezTo>
                      <a:pt x="131760" y="10192"/>
                      <a:pt x="135284" y="14764"/>
                      <a:pt x="137189" y="20860"/>
                    </a:cubicBezTo>
                    <a:cubicBezTo>
                      <a:pt x="139094" y="26956"/>
                      <a:pt x="138999" y="35147"/>
                      <a:pt x="136808" y="45625"/>
                    </a:cubicBezTo>
                    <a:lnTo>
                      <a:pt x="135951" y="49530"/>
                    </a:lnTo>
                    <a:lnTo>
                      <a:pt x="113853" y="49530"/>
                    </a:lnTo>
                    <a:lnTo>
                      <a:pt x="114996" y="45053"/>
                    </a:lnTo>
                    <a:cubicBezTo>
                      <a:pt x="116329" y="38386"/>
                      <a:pt x="116520" y="33147"/>
                      <a:pt x="115567" y="29528"/>
                    </a:cubicBezTo>
                    <a:cubicBezTo>
                      <a:pt x="114615" y="25908"/>
                      <a:pt x="112614" y="23241"/>
                      <a:pt x="109566" y="21622"/>
                    </a:cubicBezTo>
                    <a:cubicBezTo>
                      <a:pt x="106423" y="19907"/>
                      <a:pt x="102518" y="18860"/>
                      <a:pt x="97470" y="18574"/>
                    </a:cubicBezTo>
                    <a:cubicBezTo>
                      <a:pt x="92517" y="18193"/>
                      <a:pt x="86897" y="18002"/>
                      <a:pt x="80515" y="18002"/>
                    </a:cubicBezTo>
                    <a:cubicBezTo>
                      <a:pt x="70609" y="18002"/>
                      <a:pt x="62799" y="18955"/>
                      <a:pt x="56988" y="20765"/>
                    </a:cubicBezTo>
                    <a:cubicBezTo>
                      <a:pt x="51178" y="22670"/>
                      <a:pt x="46606" y="25908"/>
                      <a:pt x="43082" y="30575"/>
                    </a:cubicBezTo>
                    <a:cubicBezTo>
                      <a:pt x="39653" y="35243"/>
                      <a:pt x="36795" y="41434"/>
                      <a:pt x="34509" y="49149"/>
                    </a:cubicBezTo>
                    <a:cubicBezTo>
                      <a:pt x="32319" y="56959"/>
                      <a:pt x="29937" y="66675"/>
                      <a:pt x="27556" y="78391"/>
                    </a:cubicBezTo>
                    <a:cubicBezTo>
                      <a:pt x="25270" y="88773"/>
                      <a:pt x="23746" y="97536"/>
                      <a:pt x="22889" y="104394"/>
                    </a:cubicBezTo>
                    <a:cubicBezTo>
                      <a:pt x="22032" y="111252"/>
                      <a:pt x="22603" y="116777"/>
                      <a:pt x="24699" y="120872"/>
                    </a:cubicBezTo>
                    <a:cubicBezTo>
                      <a:pt x="26699" y="124968"/>
                      <a:pt x="30509" y="127921"/>
                      <a:pt x="36129" y="129731"/>
                    </a:cubicBezTo>
                    <a:cubicBezTo>
                      <a:pt x="41748" y="131540"/>
                      <a:pt x="49940" y="132398"/>
                      <a:pt x="60798" y="132398"/>
                    </a:cubicBezTo>
                    <a:cubicBezTo>
                      <a:pt x="67752" y="132398"/>
                      <a:pt x="73657" y="132112"/>
                      <a:pt x="78610" y="131540"/>
                    </a:cubicBezTo>
                    <a:cubicBezTo>
                      <a:pt x="83563" y="130969"/>
                      <a:pt x="87754" y="129731"/>
                      <a:pt x="91183" y="127635"/>
                    </a:cubicBezTo>
                    <a:cubicBezTo>
                      <a:pt x="94612" y="125635"/>
                      <a:pt x="97470" y="122587"/>
                      <a:pt x="99565" y="118682"/>
                    </a:cubicBezTo>
                    <a:cubicBezTo>
                      <a:pt x="101756" y="114776"/>
                      <a:pt x="103566" y="109442"/>
                      <a:pt x="104994" y="102775"/>
                    </a:cubicBezTo>
                    <a:lnTo>
                      <a:pt x="106423" y="95536"/>
                    </a:lnTo>
                    <a:lnTo>
                      <a:pt x="128616" y="9553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8" name="Freeform: Shape 107">
                <a:extLst>
                  <a:ext uri="{FF2B5EF4-FFF2-40B4-BE49-F238E27FC236}">
                    <a16:creationId xmlns:a16="http://schemas.microsoft.com/office/drawing/2014/main" id="{C8722450-0049-477F-9328-7ACF7BD6A847}"/>
                  </a:ext>
                </a:extLst>
              </p:cNvPr>
              <p:cNvSpPr/>
              <p:nvPr/>
            </p:nvSpPr>
            <p:spPr>
              <a:xfrm>
                <a:off x="6351215" y="3342417"/>
                <a:ext cx="141841" cy="150209"/>
              </a:xfrm>
              <a:custGeom>
                <a:avLst/>
                <a:gdLst>
                  <a:gd name="connsiteX0" fmla="*/ 16342 w 141841"/>
                  <a:gd name="connsiteY0" fmla="*/ 37338 h 150209"/>
                  <a:gd name="connsiteX1" fmla="*/ 30725 w 141841"/>
                  <a:gd name="connsiteY1" fmla="*/ 14383 h 150209"/>
                  <a:gd name="connsiteX2" fmla="*/ 53013 w 141841"/>
                  <a:gd name="connsiteY2" fmla="*/ 3048 h 150209"/>
                  <a:gd name="connsiteX3" fmla="*/ 86922 w 141841"/>
                  <a:gd name="connsiteY3" fmla="*/ 0 h 150209"/>
                  <a:gd name="connsiteX4" fmla="*/ 119593 w 141841"/>
                  <a:gd name="connsiteY4" fmla="*/ 3048 h 150209"/>
                  <a:gd name="connsiteX5" fmla="*/ 137024 w 141841"/>
                  <a:gd name="connsiteY5" fmla="*/ 14383 h 150209"/>
                  <a:gd name="connsiteX6" fmla="*/ 141786 w 141841"/>
                  <a:gd name="connsiteY6" fmla="*/ 37338 h 150209"/>
                  <a:gd name="connsiteX7" fmla="*/ 136167 w 141841"/>
                  <a:gd name="connsiteY7" fmla="*/ 75248 h 150209"/>
                  <a:gd name="connsiteX8" fmla="*/ 125499 w 141841"/>
                  <a:gd name="connsiteY8" fmla="*/ 113062 h 150209"/>
                  <a:gd name="connsiteX9" fmla="*/ 111116 w 141841"/>
                  <a:gd name="connsiteY9" fmla="*/ 135827 h 150209"/>
                  <a:gd name="connsiteX10" fmla="*/ 88923 w 141841"/>
                  <a:gd name="connsiteY10" fmla="*/ 147161 h 150209"/>
                  <a:gd name="connsiteX11" fmla="*/ 55014 w 141841"/>
                  <a:gd name="connsiteY11" fmla="*/ 150209 h 150209"/>
                  <a:gd name="connsiteX12" fmla="*/ 22343 w 141841"/>
                  <a:gd name="connsiteY12" fmla="*/ 147161 h 150209"/>
                  <a:gd name="connsiteX13" fmla="*/ 4817 w 141841"/>
                  <a:gd name="connsiteY13" fmla="*/ 135827 h 150209"/>
                  <a:gd name="connsiteX14" fmla="*/ 55 w 141841"/>
                  <a:gd name="connsiteY14" fmla="*/ 113062 h 150209"/>
                  <a:gd name="connsiteX15" fmla="*/ 5674 w 141841"/>
                  <a:gd name="connsiteY15" fmla="*/ 75248 h 150209"/>
                  <a:gd name="connsiteX16" fmla="*/ 16342 w 141841"/>
                  <a:gd name="connsiteY16" fmla="*/ 37338 h 150209"/>
                  <a:gd name="connsiteX17" fmla="*/ 23105 w 141841"/>
                  <a:gd name="connsiteY17" fmla="*/ 105632 h 150209"/>
                  <a:gd name="connsiteX18" fmla="*/ 24629 w 141841"/>
                  <a:gd name="connsiteY18" fmla="*/ 122777 h 150209"/>
                  <a:gd name="connsiteX19" fmla="*/ 35678 w 141841"/>
                  <a:gd name="connsiteY19" fmla="*/ 130493 h 150209"/>
                  <a:gd name="connsiteX20" fmla="*/ 58633 w 141841"/>
                  <a:gd name="connsiteY20" fmla="*/ 132302 h 150209"/>
                  <a:gd name="connsiteX21" fmla="*/ 82255 w 141841"/>
                  <a:gd name="connsiteY21" fmla="*/ 130493 h 150209"/>
                  <a:gd name="connsiteX22" fmla="*/ 96543 w 141841"/>
                  <a:gd name="connsiteY22" fmla="*/ 122777 h 150209"/>
                  <a:gd name="connsiteX23" fmla="*/ 105496 w 141841"/>
                  <a:gd name="connsiteY23" fmla="*/ 105632 h 150209"/>
                  <a:gd name="connsiteX24" fmla="*/ 113211 w 141841"/>
                  <a:gd name="connsiteY24" fmla="*/ 75248 h 150209"/>
                  <a:gd name="connsiteX25" fmla="*/ 118736 w 141841"/>
                  <a:gd name="connsiteY25" fmla="*/ 44577 h 150209"/>
                  <a:gd name="connsiteX26" fmla="*/ 117022 w 141841"/>
                  <a:gd name="connsiteY26" fmla="*/ 27337 h 150209"/>
                  <a:gd name="connsiteX27" fmla="*/ 105972 w 141841"/>
                  <a:gd name="connsiteY27" fmla="*/ 19622 h 150209"/>
                  <a:gd name="connsiteX28" fmla="*/ 83017 w 141841"/>
                  <a:gd name="connsiteY28" fmla="*/ 17812 h 150209"/>
                  <a:gd name="connsiteX29" fmla="*/ 59395 w 141841"/>
                  <a:gd name="connsiteY29" fmla="*/ 19622 h 150209"/>
                  <a:gd name="connsiteX30" fmla="*/ 45108 w 141841"/>
                  <a:gd name="connsiteY30" fmla="*/ 27337 h 150209"/>
                  <a:gd name="connsiteX31" fmla="*/ 36345 w 141841"/>
                  <a:gd name="connsiteY31" fmla="*/ 44577 h 150209"/>
                  <a:gd name="connsiteX32" fmla="*/ 28820 w 141841"/>
                  <a:gd name="connsiteY32" fmla="*/ 75248 h 150209"/>
                  <a:gd name="connsiteX33" fmla="*/ 23200 w 141841"/>
                  <a:gd name="connsiteY33" fmla="*/ 105632 h 150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1841" h="150209">
                    <a:moveTo>
                      <a:pt x="16342" y="37338"/>
                    </a:moveTo>
                    <a:cubicBezTo>
                      <a:pt x="20057" y="27527"/>
                      <a:pt x="24820" y="19907"/>
                      <a:pt x="30725" y="14383"/>
                    </a:cubicBezTo>
                    <a:cubicBezTo>
                      <a:pt x="36630" y="8858"/>
                      <a:pt x="44060" y="5048"/>
                      <a:pt x="53013" y="3048"/>
                    </a:cubicBezTo>
                    <a:cubicBezTo>
                      <a:pt x="61967" y="953"/>
                      <a:pt x="73207" y="0"/>
                      <a:pt x="86922" y="0"/>
                    </a:cubicBezTo>
                    <a:cubicBezTo>
                      <a:pt x="100638" y="0"/>
                      <a:pt x="111402" y="1048"/>
                      <a:pt x="119593" y="3048"/>
                    </a:cubicBezTo>
                    <a:cubicBezTo>
                      <a:pt x="127689" y="5048"/>
                      <a:pt x="133500" y="8858"/>
                      <a:pt x="137024" y="14383"/>
                    </a:cubicBezTo>
                    <a:cubicBezTo>
                      <a:pt x="140548" y="19907"/>
                      <a:pt x="142168" y="27527"/>
                      <a:pt x="141786" y="37338"/>
                    </a:cubicBezTo>
                    <a:cubicBezTo>
                      <a:pt x="141405" y="47149"/>
                      <a:pt x="139501" y="59817"/>
                      <a:pt x="136167" y="75248"/>
                    </a:cubicBezTo>
                    <a:cubicBezTo>
                      <a:pt x="132833" y="90678"/>
                      <a:pt x="129309" y="103346"/>
                      <a:pt x="125499" y="113062"/>
                    </a:cubicBezTo>
                    <a:cubicBezTo>
                      <a:pt x="121784" y="122777"/>
                      <a:pt x="116926" y="130397"/>
                      <a:pt x="111116" y="135827"/>
                    </a:cubicBezTo>
                    <a:cubicBezTo>
                      <a:pt x="105306" y="141351"/>
                      <a:pt x="97781" y="145161"/>
                      <a:pt x="88923" y="147161"/>
                    </a:cubicBezTo>
                    <a:cubicBezTo>
                      <a:pt x="79969" y="149162"/>
                      <a:pt x="68634" y="150209"/>
                      <a:pt x="55014" y="150209"/>
                    </a:cubicBezTo>
                    <a:cubicBezTo>
                      <a:pt x="41393" y="150209"/>
                      <a:pt x="30534" y="149162"/>
                      <a:pt x="22343" y="147161"/>
                    </a:cubicBezTo>
                    <a:cubicBezTo>
                      <a:pt x="14247" y="145161"/>
                      <a:pt x="8436" y="141351"/>
                      <a:pt x="4817" y="135827"/>
                    </a:cubicBezTo>
                    <a:cubicBezTo>
                      <a:pt x="1293" y="130302"/>
                      <a:pt x="-326" y="122777"/>
                      <a:pt x="55" y="113062"/>
                    </a:cubicBezTo>
                    <a:cubicBezTo>
                      <a:pt x="435" y="103346"/>
                      <a:pt x="2340" y="90773"/>
                      <a:pt x="5674" y="75248"/>
                    </a:cubicBezTo>
                    <a:cubicBezTo>
                      <a:pt x="9008" y="59722"/>
                      <a:pt x="12628" y="47149"/>
                      <a:pt x="16342" y="37338"/>
                    </a:cubicBezTo>
                    <a:moveTo>
                      <a:pt x="23105" y="105632"/>
                    </a:moveTo>
                    <a:cubicBezTo>
                      <a:pt x="22153" y="113157"/>
                      <a:pt x="22724" y="118872"/>
                      <a:pt x="24629" y="122777"/>
                    </a:cubicBezTo>
                    <a:cubicBezTo>
                      <a:pt x="26534" y="126682"/>
                      <a:pt x="30249" y="129254"/>
                      <a:pt x="35678" y="130493"/>
                    </a:cubicBezTo>
                    <a:cubicBezTo>
                      <a:pt x="41107" y="131731"/>
                      <a:pt x="48727" y="132302"/>
                      <a:pt x="58633" y="132302"/>
                    </a:cubicBezTo>
                    <a:cubicBezTo>
                      <a:pt x="68539" y="132302"/>
                      <a:pt x="76445" y="131731"/>
                      <a:pt x="82255" y="130493"/>
                    </a:cubicBezTo>
                    <a:cubicBezTo>
                      <a:pt x="88161" y="129254"/>
                      <a:pt x="92923" y="126682"/>
                      <a:pt x="96543" y="122777"/>
                    </a:cubicBezTo>
                    <a:cubicBezTo>
                      <a:pt x="100162" y="118872"/>
                      <a:pt x="103210" y="113157"/>
                      <a:pt x="105496" y="105632"/>
                    </a:cubicBezTo>
                    <a:cubicBezTo>
                      <a:pt x="107878" y="98107"/>
                      <a:pt x="110449" y="87916"/>
                      <a:pt x="113211" y="75248"/>
                    </a:cubicBezTo>
                    <a:cubicBezTo>
                      <a:pt x="116069" y="62389"/>
                      <a:pt x="117879" y="52197"/>
                      <a:pt x="118736" y="44577"/>
                    </a:cubicBezTo>
                    <a:cubicBezTo>
                      <a:pt x="119593" y="37052"/>
                      <a:pt x="119022" y="31337"/>
                      <a:pt x="117022" y="27337"/>
                    </a:cubicBezTo>
                    <a:cubicBezTo>
                      <a:pt x="115116" y="23432"/>
                      <a:pt x="111402" y="20860"/>
                      <a:pt x="105972" y="19622"/>
                    </a:cubicBezTo>
                    <a:cubicBezTo>
                      <a:pt x="100543" y="18383"/>
                      <a:pt x="92923" y="17812"/>
                      <a:pt x="83017" y="17812"/>
                    </a:cubicBezTo>
                    <a:cubicBezTo>
                      <a:pt x="73111" y="17812"/>
                      <a:pt x="65205" y="18479"/>
                      <a:pt x="59395" y="19622"/>
                    </a:cubicBezTo>
                    <a:cubicBezTo>
                      <a:pt x="53490" y="20860"/>
                      <a:pt x="48727" y="23336"/>
                      <a:pt x="45108" y="27337"/>
                    </a:cubicBezTo>
                    <a:cubicBezTo>
                      <a:pt x="41488" y="31242"/>
                      <a:pt x="38535" y="36957"/>
                      <a:pt x="36345" y="44577"/>
                    </a:cubicBezTo>
                    <a:cubicBezTo>
                      <a:pt x="34059" y="52102"/>
                      <a:pt x="31582" y="62389"/>
                      <a:pt x="28820" y="75248"/>
                    </a:cubicBezTo>
                    <a:cubicBezTo>
                      <a:pt x="26058" y="87916"/>
                      <a:pt x="24153" y="98012"/>
                      <a:pt x="23200" y="105632"/>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109" name="Graphic 424">
                <a:extLst>
                  <a:ext uri="{FF2B5EF4-FFF2-40B4-BE49-F238E27FC236}">
                    <a16:creationId xmlns:a16="http://schemas.microsoft.com/office/drawing/2014/main" id="{A8D2EDCD-2DE8-4F45-9A9D-B7E0BC6D9060}"/>
                  </a:ext>
                </a:extLst>
              </p:cNvPr>
              <p:cNvGrpSpPr/>
              <p:nvPr/>
            </p:nvGrpSpPr>
            <p:grpSpPr>
              <a:xfrm>
                <a:off x="5381625" y="3233737"/>
                <a:ext cx="1432312" cy="391667"/>
                <a:chOff x="5381625" y="3233737"/>
                <a:chExt cx="1432312" cy="391667"/>
              </a:xfrm>
              <a:solidFill>
                <a:srgbClr val="A1ABB3"/>
              </a:solidFill>
            </p:grpSpPr>
            <p:sp>
              <p:nvSpPr>
                <p:cNvPr id="110" name="Freeform: Shape 109">
                  <a:extLst>
                    <a:ext uri="{FF2B5EF4-FFF2-40B4-BE49-F238E27FC236}">
                      <a16:creationId xmlns:a16="http://schemas.microsoft.com/office/drawing/2014/main" id="{FB268060-8C37-4E74-A9FE-8ED5DDF81E77}"/>
                    </a:ext>
                  </a:extLst>
                </p:cNvPr>
                <p:cNvSpPr/>
                <p:nvPr/>
              </p:nvSpPr>
              <p:spPr>
                <a:xfrm>
                  <a:off x="6505670" y="3342321"/>
                  <a:ext cx="146685" cy="148685"/>
                </a:xfrm>
                <a:custGeom>
                  <a:avLst/>
                  <a:gdLst>
                    <a:gd name="connsiteX0" fmla="*/ 49530 w 146685"/>
                    <a:gd name="connsiteY0" fmla="*/ 19622 h 148685"/>
                    <a:gd name="connsiteX1" fmla="*/ 50101 w 146685"/>
                    <a:gd name="connsiteY1" fmla="*/ 19622 h 148685"/>
                    <a:gd name="connsiteX2" fmla="*/ 59912 w 146685"/>
                    <a:gd name="connsiteY2" fmla="*/ 9144 h 148685"/>
                    <a:gd name="connsiteX3" fmla="*/ 72485 w 146685"/>
                    <a:gd name="connsiteY3" fmla="*/ 3239 h 148685"/>
                    <a:gd name="connsiteX4" fmla="*/ 86201 w 146685"/>
                    <a:gd name="connsiteY4" fmla="*/ 572 h 148685"/>
                    <a:gd name="connsiteX5" fmla="*/ 99631 w 146685"/>
                    <a:gd name="connsiteY5" fmla="*/ 0 h 148685"/>
                    <a:gd name="connsiteX6" fmla="*/ 123825 w 146685"/>
                    <a:gd name="connsiteY6" fmla="*/ 2286 h 148685"/>
                    <a:gd name="connsiteX7" fmla="*/ 139541 w 146685"/>
                    <a:gd name="connsiteY7" fmla="*/ 10287 h 148685"/>
                    <a:gd name="connsiteX8" fmla="*/ 146399 w 146685"/>
                    <a:gd name="connsiteY8" fmla="*/ 25813 h 148685"/>
                    <a:gd name="connsiteX9" fmla="*/ 144113 w 146685"/>
                    <a:gd name="connsiteY9" fmla="*/ 50959 h 148685"/>
                    <a:gd name="connsiteX10" fmla="*/ 123444 w 146685"/>
                    <a:gd name="connsiteY10" fmla="*/ 148685 h 148685"/>
                    <a:gd name="connsiteX11" fmla="*/ 101251 w 146685"/>
                    <a:gd name="connsiteY11" fmla="*/ 148685 h 148685"/>
                    <a:gd name="connsiteX12" fmla="*/ 122206 w 146685"/>
                    <a:gd name="connsiteY12" fmla="*/ 49244 h 148685"/>
                    <a:gd name="connsiteX13" fmla="*/ 123730 w 146685"/>
                    <a:gd name="connsiteY13" fmla="*/ 33052 h 148685"/>
                    <a:gd name="connsiteX14" fmla="*/ 119444 w 146685"/>
                    <a:gd name="connsiteY14" fmla="*/ 23527 h 148685"/>
                    <a:gd name="connsiteX15" fmla="*/ 109347 w 146685"/>
                    <a:gd name="connsiteY15" fmla="*/ 19050 h 148685"/>
                    <a:gd name="connsiteX16" fmla="*/ 93726 w 146685"/>
                    <a:gd name="connsiteY16" fmla="*/ 17907 h 148685"/>
                    <a:gd name="connsiteX17" fmla="*/ 71247 w 146685"/>
                    <a:gd name="connsiteY17" fmla="*/ 20098 h 148685"/>
                    <a:gd name="connsiteX18" fmla="*/ 56293 w 146685"/>
                    <a:gd name="connsiteY18" fmla="*/ 27623 h 148685"/>
                    <a:gd name="connsiteX19" fmla="*/ 46768 w 146685"/>
                    <a:gd name="connsiteY19" fmla="*/ 41624 h 148685"/>
                    <a:gd name="connsiteX20" fmla="*/ 40386 w 146685"/>
                    <a:gd name="connsiteY20" fmla="*/ 62865 h 148685"/>
                    <a:gd name="connsiteX21" fmla="*/ 22193 w 146685"/>
                    <a:gd name="connsiteY21" fmla="*/ 148590 h 148685"/>
                    <a:gd name="connsiteX22" fmla="*/ 0 w 146685"/>
                    <a:gd name="connsiteY22" fmla="*/ 148590 h 148685"/>
                    <a:gd name="connsiteX23" fmla="*/ 31337 w 146685"/>
                    <a:gd name="connsiteY23" fmla="*/ 1524 h 148685"/>
                    <a:gd name="connsiteX24" fmla="*/ 53435 w 146685"/>
                    <a:gd name="connsiteY24" fmla="*/ 1524 h 148685"/>
                    <a:gd name="connsiteX25" fmla="*/ 49530 w 146685"/>
                    <a:gd name="connsiteY25" fmla="*/ 19526 h 148685"/>
                    <a:gd name="connsiteX26" fmla="*/ 49530 w 146685"/>
                    <a:gd name="connsiteY26" fmla="*/ 19526 h 14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6685" h="148685">
                      <a:moveTo>
                        <a:pt x="49530" y="19622"/>
                      </a:moveTo>
                      <a:lnTo>
                        <a:pt x="50101" y="19622"/>
                      </a:lnTo>
                      <a:cubicBezTo>
                        <a:pt x="52769" y="15145"/>
                        <a:pt x="56007" y="11621"/>
                        <a:pt x="59912" y="9144"/>
                      </a:cubicBezTo>
                      <a:cubicBezTo>
                        <a:pt x="63817" y="6668"/>
                        <a:pt x="68008" y="4667"/>
                        <a:pt x="72485" y="3239"/>
                      </a:cubicBezTo>
                      <a:cubicBezTo>
                        <a:pt x="76962" y="1810"/>
                        <a:pt x="81534" y="953"/>
                        <a:pt x="86201" y="572"/>
                      </a:cubicBezTo>
                      <a:cubicBezTo>
                        <a:pt x="90869" y="191"/>
                        <a:pt x="95345" y="0"/>
                        <a:pt x="99631" y="0"/>
                      </a:cubicBezTo>
                      <a:cubicBezTo>
                        <a:pt x="109156" y="0"/>
                        <a:pt x="117157" y="762"/>
                        <a:pt x="123825" y="2286"/>
                      </a:cubicBezTo>
                      <a:cubicBezTo>
                        <a:pt x="130493" y="3810"/>
                        <a:pt x="135731" y="6477"/>
                        <a:pt x="139541" y="10287"/>
                      </a:cubicBezTo>
                      <a:cubicBezTo>
                        <a:pt x="143351" y="14097"/>
                        <a:pt x="145637" y="19241"/>
                        <a:pt x="146399" y="25813"/>
                      </a:cubicBezTo>
                      <a:cubicBezTo>
                        <a:pt x="147161" y="32385"/>
                        <a:pt x="146399" y="40767"/>
                        <a:pt x="144113" y="50959"/>
                      </a:cubicBezTo>
                      <a:lnTo>
                        <a:pt x="123444" y="148685"/>
                      </a:lnTo>
                      <a:lnTo>
                        <a:pt x="101251" y="148685"/>
                      </a:lnTo>
                      <a:lnTo>
                        <a:pt x="122206" y="49244"/>
                      </a:lnTo>
                      <a:cubicBezTo>
                        <a:pt x="123730" y="42482"/>
                        <a:pt x="124206" y="37148"/>
                        <a:pt x="123730" y="33052"/>
                      </a:cubicBezTo>
                      <a:cubicBezTo>
                        <a:pt x="123253" y="28956"/>
                        <a:pt x="121825" y="25718"/>
                        <a:pt x="119444" y="23527"/>
                      </a:cubicBezTo>
                      <a:cubicBezTo>
                        <a:pt x="116967" y="21241"/>
                        <a:pt x="113633" y="19812"/>
                        <a:pt x="109347" y="19050"/>
                      </a:cubicBezTo>
                      <a:cubicBezTo>
                        <a:pt x="105061" y="18288"/>
                        <a:pt x="99822" y="17907"/>
                        <a:pt x="93726" y="17907"/>
                      </a:cubicBezTo>
                      <a:cubicBezTo>
                        <a:pt x="84773" y="17907"/>
                        <a:pt x="77248" y="18669"/>
                        <a:pt x="71247" y="20098"/>
                      </a:cubicBezTo>
                      <a:cubicBezTo>
                        <a:pt x="65151" y="21622"/>
                        <a:pt x="60198" y="24098"/>
                        <a:pt x="56293" y="27623"/>
                      </a:cubicBezTo>
                      <a:cubicBezTo>
                        <a:pt x="52388" y="31147"/>
                        <a:pt x="49149" y="35814"/>
                        <a:pt x="46768" y="41624"/>
                      </a:cubicBezTo>
                      <a:cubicBezTo>
                        <a:pt x="44386" y="47434"/>
                        <a:pt x="42196" y="54483"/>
                        <a:pt x="40386" y="62865"/>
                      </a:cubicBezTo>
                      <a:lnTo>
                        <a:pt x="22193" y="148590"/>
                      </a:lnTo>
                      <a:lnTo>
                        <a:pt x="0" y="148590"/>
                      </a:lnTo>
                      <a:lnTo>
                        <a:pt x="31337" y="1524"/>
                      </a:lnTo>
                      <a:lnTo>
                        <a:pt x="53435" y="1524"/>
                      </a:lnTo>
                      <a:lnTo>
                        <a:pt x="49530" y="19526"/>
                      </a:lnTo>
                      <a:lnTo>
                        <a:pt x="49530" y="1952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1" name="Freeform: Shape 110">
                  <a:extLst>
                    <a:ext uri="{FF2B5EF4-FFF2-40B4-BE49-F238E27FC236}">
                      <a16:creationId xmlns:a16="http://schemas.microsoft.com/office/drawing/2014/main" id="{4E2CF9CD-ADAA-464D-B953-3222F14B65C6}"/>
                    </a:ext>
                  </a:extLst>
                </p:cNvPr>
                <p:cNvSpPr/>
                <p:nvPr/>
              </p:nvSpPr>
              <p:spPr>
                <a:xfrm>
                  <a:off x="6673664" y="3342226"/>
                  <a:ext cx="140272" cy="150399"/>
                </a:xfrm>
                <a:custGeom>
                  <a:avLst/>
                  <a:gdLst>
                    <a:gd name="connsiteX0" fmla="*/ 127948 w 140272"/>
                    <a:gd name="connsiteY0" fmla="*/ 104203 h 150399"/>
                    <a:gd name="connsiteX1" fmla="*/ 126805 w 140272"/>
                    <a:gd name="connsiteY1" fmla="*/ 109537 h 150399"/>
                    <a:gd name="connsiteX2" fmla="*/ 116708 w 140272"/>
                    <a:gd name="connsiteY2" fmla="*/ 132302 h 150399"/>
                    <a:gd name="connsiteX3" fmla="*/ 100230 w 140272"/>
                    <a:gd name="connsiteY3" fmla="*/ 144494 h 150399"/>
                    <a:gd name="connsiteX4" fmla="*/ 79275 w 140272"/>
                    <a:gd name="connsiteY4" fmla="*/ 149352 h 150399"/>
                    <a:gd name="connsiteX5" fmla="*/ 55463 w 140272"/>
                    <a:gd name="connsiteY5" fmla="*/ 150400 h 150399"/>
                    <a:gd name="connsiteX6" fmla="*/ 21744 w 140272"/>
                    <a:gd name="connsiteY6" fmla="*/ 146590 h 150399"/>
                    <a:gd name="connsiteX7" fmla="*/ 4409 w 140272"/>
                    <a:gd name="connsiteY7" fmla="*/ 134017 h 150399"/>
                    <a:gd name="connsiteX8" fmla="*/ 122 w 140272"/>
                    <a:gd name="connsiteY8" fmla="*/ 110776 h 150399"/>
                    <a:gd name="connsiteX9" fmla="*/ 5456 w 140272"/>
                    <a:gd name="connsiteY9" fmla="*/ 75343 h 150399"/>
                    <a:gd name="connsiteX10" fmla="*/ 16220 w 140272"/>
                    <a:gd name="connsiteY10" fmla="*/ 37814 h 150399"/>
                    <a:gd name="connsiteX11" fmla="*/ 31460 w 140272"/>
                    <a:gd name="connsiteY11" fmla="*/ 14859 h 150399"/>
                    <a:gd name="connsiteX12" fmla="*/ 54129 w 140272"/>
                    <a:gd name="connsiteY12" fmla="*/ 3238 h 150399"/>
                    <a:gd name="connsiteX13" fmla="*/ 87467 w 140272"/>
                    <a:gd name="connsiteY13" fmla="*/ 0 h 150399"/>
                    <a:gd name="connsiteX14" fmla="*/ 116899 w 140272"/>
                    <a:gd name="connsiteY14" fmla="*/ 2476 h 150399"/>
                    <a:gd name="connsiteX15" fmla="*/ 134139 w 140272"/>
                    <a:gd name="connsiteY15" fmla="*/ 12097 h 150399"/>
                    <a:gd name="connsiteX16" fmla="*/ 140235 w 140272"/>
                    <a:gd name="connsiteY16" fmla="*/ 32004 h 150399"/>
                    <a:gd name="connsiteX17" fmla="*/ 136235 w 140272"/>
                    <a:gd name="connsiteY17" fmla="*/ 65151 h 150399"/>
                    <a:gd name="connsiteX18" fmla="*/ 133187 w 140272"/>
                    <a:gd name="connsiteY18" fmla="*/ 80010 h 150399"/>
                    <a:gd name="connsiteX19" fmla="*/ 27269 w 140272"/>
                    <a:gd name="connsiteY19" fmla="*/ 80010 h 150399"/>
                    <a:gd name="connsiteX20" fmla="*/ 22506 w 140272"/>
                    <a:gd name="connsiteY20" fmla="*/ 107633 h 150399"/>
                    <a:gd name="connsiteX21" fmla="*/ 24602 w 140272"/>
                    <a:gd name="connsiteY21" fmla="*/ 123444 h 150399"/>
                    <a:gd name="connsiteX22" fmla="*/ 36127 w 140272"/>
                    <a:gd name="connsiteY22" fmla="*/ 130588 h 150399"/>
                    <a:gd name="connsiteX23" fmla="*/ 59177 w 140272"/>
                    <a:gd name="connsiteY23" fmla="*/ 132302 h 150399"/>
                    <a:gd name="connsiteX24" fmla="*/ 78227 w 140272"/>
                    <a:gd name="connsiteY24" fmla="*/ 131731 h 150399"/>
                    <a:gd name="connsiteX25" fmla="*/ 91372 w 140272"/>
                    <a:gd name="connsiteY25" fmla="*/ 128778 h 150399"/>
                    <a:gd name="connsiteX26" fmla="*/ 99659 w 140272"/>
                    <a:gd name="connsiteY26" fmla="*/ 121920 h 150399"/>
                    <a:gd name="connsiteX27" fmla="*/ 104326 w 140272"/>
                    <a:gd name="connsiteY27" fmla="*/ 109633 h 150399"/>
                    <a:gd name="connsiteX28" fmla="*/ 105469 w 140272"/>
                    <a:gd name="connsiteY28" fmla="*/ 104013 h 150399"/>
                    <a:gd name="connsiteX29" fmla="*/ 128138 w 140272"/>
                    <a:gd name="connsiteY29" fmla="*/ 104013 h 150399"/>
                    <a:gd name="connsiteX30" fmla="*/ 113946 w 140272"/>
                    <a:gd name="connsiteY30" fmla="*/ 62294 h 150399"/>
                    <a:gd name="connsiteX31" fmla="*/ 116994 w 140272"/>
                    <a:gd name="connsiteY31" fmla="*/ 37814 h 150399"/>
                    <a:gd name="connsiteX32" fmla="*/ 114041 w 140272"/>
                    <a:gd name="connsiteY32" fmla="*/ 24479 h 150399"/>
                    <a:gd name="connsiteX33" fmla="*/ 103373 w 140272"/>
                    <a:gd name="connsiteY33" fmla="*/ 19050 h 150399"/>
                    <a:gd name="connsiteX34" fmla="*/ 83371 w 140272"/>
                    <a:gd name="connsiteY34" fmla="*/ 18097 h 150399"/>
                    <a:gd name="connsiteX35" fmla="*/ 59463 w 140272"/>
                    <a:gd name="connsiteY35" fmla="*/ 20193 h 150399"/>
                    <a:gd name="connsiteX36" fmla="*/ 45461 w 140272"/>
                    <a:gd name="connsiteY36" fmla="*/ 27432 h 150399"/>
                    <a:gd name="connsiteX37" fmla="*/ 37270 w 140272"/>
                    <a:gd name="connsiteY37" fmla="*/ 41148 h 150399"/>
                    <a:gd name="connsiteX38" fmla="*/ 30983 w 140272"/>
                    <a:gd name="connsiteY38" fmla="*/ 62294 h 150399"/>
                    <a:gd name="connsiteX39" fmla="*/ 113851 w 140272"/>
                    <a:gd name="connsiteY39" fmla="*/ 62294 h 150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0272" h="150399">
                      <a:moveTo>
                        <a:pt x="127948" y="104203"/>
                      </a:moveTo>
                      <a:lnTo>
                        <a:pt x="126805" y="109537"/>
                      </a:lnTo>
                      <a:cubicBezTo>
                        <a:pt x="124709" y="119253"/>
                        <a:pt x="121376" y="126873"/>
                        <a:pt x="116708" y="132302"/>
                      </a:cubicBezTo>
                      <a:cubicBezTo>
                        <a:pt x="112041" y="137827"/>
                        <a:pt x="106517" y="141923"/>
                        <a:pt x="100230" y="144494"/>
                      </a:cubicBezTo>
                      <a:cubicBezTo>
                        <a:pt x="93848" y="147161"/>
                        <a:pt x="86895" y="148781"/>
                        <a:pt x="79275" y="149352"/>
                      </a:cubicBezTo>
                      <a:cubicBezTo>
                        <a:pt x="71560" y="150019"/>
                        <a:pt x="63654" y="150400"/>
                        <a:pt x="55463" y="150400"/>
                      </a:cubicBezTo>
                      <a:cubicBezTo>
                        <a:pt x="41175" y="150400"/>
                        <a:pt x="29840" y="149161"/>
                        <a:pt x="21744" y="146590"/>
                      </a:cubicBezTo>
                      <a:cubicBezTo>
                        <a:pt x="13648" y="144113"/>
                        <a:pt x="7838" y="139827"/>
                        <a:pt x="4409" y="134017"/>
                      </a:cubicBezTo>
                      <a:cubicBezTo>
                        <a:pt x="980" y="128111"/>
                        <a:pt x="-449" y="120396"/>
                        <a:pt x="122" y="110776"/>
                      </a:cubicBezTo>
                      <a:cubicBezTo>
                        <a:pt x="694" y="101156"/>
                        <a:pt x="2504" y="89345"/>
                        <a:pt x="5456" y="75343"/>
                      </a:cubicBezTo>
                      <a:cubicBezTo>
                        <a:pt x="8600" y="60008"/>
                        <a:pt x="12219" y="47530"/>
                        <a:pt x="16220" y="37814"/>
                      </a:cubicBezTo>
                      <a:cubicBezTo>
                        <a:pt x="20220" y="28099"/>
                        <a:pt x="25364" y="20479"/>
                        <a:pt x="31460" y="14859"/>
                      </a:cubicBezTo>
                      <a:cubicBezTo>
                        <a:pt x="37556" y="9239"/>
                        <a:pt x="45176" y="5429"/>
                        <a:pt x="54129" y="3238"/>
                      </a:cubicBezTo>
                      <a:cubicBezTo>
                        <a:pt x="63083" y="1143"/>
                        <a:pt x="74227" y="0"/>
                        <a:pt x="87467" y="0"/>
                      </a:cubicBezTo>
                      <a:cubicBezTo>
                        <a:pt x="99468" y="0"/>
                        <a:pt x="109184" y="857"/>
                        <a:pt x="116899" y="2476"/>
                      </a:cubicBezTo>
                      <a:cubicBezTo>
                        <a:pt x="124519" y="4191"/>
                        <a:pt x="130329" y="7334"/>
                        <a:pt x="134139" y="12097"/>
                      </a:cubicBezTo>
                      <a:cubicBezTo>
                        <a:pt x="137949" y="16859"/>
                        <a:pt x="140045" y="23527"/>
                        <a:pt x="140235" y="32004"/>
                      </a:cubicBezTo>
                      <a:cubicBezTo>
                        <a:pt x="140521" y="40481"/>
                        <a:pt x="139187" y="51530"/>
                        <a:pt x="136235" y="65151"/>
                      </a:cubicBezTo>
                      <a:lnTo>
                        <a:pt x="133187" y="80010"/>
                      </a:lnTo>
                      <a:lnTo>
                        <a:pt x="27269" y="80010"/>
                      </a:lnTo>
                      <a:cubicBezTo>
                        <a:pt x="24887" y="91535"/>
                        <a:pt x="23268" y="100774"/>
                        <a:pt x="22506" y="107633"/>
                      </a:cubicBezTo>
                      <a:cubicBezTo>
                        <a:pt x="21744" y="114490"/>
                        <a:pt x="22506" y="119824"/>
                        <a:pt x="24602" y="123444"/>
                      </a:cubicBezTo>
                      <a:cubicBezTo>
                        <a:pt x="26697" y="127063"/>
                        <a:pt x="30602" y="129445"/>
                        <a:pt x="36127" y="130588"/>
                      </a:cubicBezTo>
                      <a:cubicBezTo>
                        <a:pt x="41651" y="131731"/>
                        <a:pt x="49271" y="132302"/>
                        <a:pt x="59177" y="132302"/>
                      </a:cubicBezTo>
                      <a:cubicBezTo>
                        <a:pt x="66702" y="132302"/>
                        <a:pt x="72989" y="132112"/>
                        <a:pt x="78227" y="131731"/>
                      </a:cubicBezTo>
                      <a:cubicBezTo>
                        <a:pt x="83466" y="131350"/>
                        <a:pt x="87848" y="130397"/>
                        <a:pt x="91372" y="128778"/>
                      </a:cubicBezTo>
                      <a:cubicBezTo>
                        <a:pt x="94896" y="127254"/>
                        <a:pt x="97658" y="124873"/>
                        <a:pt x="99659" y="121920"/>
                      </a:cubicBezTo>
                      <a:cubicBezTo>
                        <a:pt x="101659" y="118967"/>
                        <a:pt x="103183" y="114776"/>
                        <a:pt x="104326" y="109633"/>
                      </a:cubicBezTo>
                      <a:lnTo>
                        <a:pt x="105469" y="104013"/>
                      </a:lnTo>
                      <a:lnTo>
                        <a:pt x="128138" y="104013"/>
                      </a:lnTo>
                      <a:close/>
                      <a:moveTo>
                        <a:pt x="113946" y="62294"/>
                      </a:moveTo>
                      <a:cubicBezTo>
                        <a:pt x="115851" y="51816"/>
                        <a:pt x="116804" y="43625"/>
                        <a:pt x="116994" y="37814"/>
                      </a:cubicBezTo>
                      <a:cubicBezTo>
                        <a:pt x="117185" y="31909"/>
                        <a:pt x="116232" y="27432"/>
                        <a:pt x="114041" y="24479"/>
                      </a:cubicBezTo>
                      <a:cubicBezTo>
                        <a:pt x="111851" y="21526"/>
                        <a:pt x="108326" y="19717"/>
                        <a:pt x="103373" y="19050"/>
                      </a:cubicBezTo>
                      <a:cubicBezTo>
                        <a:pt x="98420" y="18383"/>
                        <a:pt x="91753" y="18097"/>
                        <a:pt x="83371" y="18097"/>
                      </a:cubicBezTo>
                      <a:cubicBezTo>
                        <a:pt x="73274" y="18097"/>
                        <a:pt x="65273" y="18764"/>
                        <a:pt x="59463" y="20193"/>
                      </a:cubicBezTo>
                      <a:cubicBezTo>
                        <a:pt x="53558" y="21622"/>
                        <a:pt x="48986" y="24003"/>
                        <a:pt x="45461" y="27432"/>
                      </a:cubicBezTo>
                      <a:cubicBezTo>
                        <a:pt x="41937" y="30861"/>
                        <a:pt x="39270" y="35433"/>
                        <a:pt x="37270" y="41148"/>
                      </a:cubicBezTo>
                      <a:cubicBezTo>
                        <a:pt x="35365" y="46863"/>
                        <a:pt x="33269" y="53911"/>
                        <a:pt x="30983" y="62294"/>
                      </a:cubicBezTo>
                      <a:lnTo>
                        <a:pt x="113851" y="6229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2" name="Freeform: Shape 111">
                  <a:extLst>
                    <a:ext uri="{FF2B5EF4-FFF2-40B4-BE49-F238E27FC236}">
                      <a16:creationId xmlns:a16="http://schemas.microsoft.com/office/drawing/2014/main" id="{4B086BC2-60F8-4FA0-A35C-75E51840D171}"/>
                    </a:ext>
                  </a:extLst>
                </p:cNvPr>
                <p:cNvSpPr/>
                <p:nvPr/>
              </p:nvSpPr>
              <p:spPr>
                <a:xfrm>
                  <a:off x="6262306" y="3344893"/>
                  <a:ext cx="56578" cy="146113"/>
                </a:xfrm>
                <a:custGeom>
                  <a:avLst/>
                  <a:gdLst>
                    <a:gd name="connsiteX0" fmla="*/ 56579 w 56578"/>
                    <a:gd name="connsiteY0" fmla="*/ 124206 h 146113"/>
                    <a:gd name="connsiteX1" fmla="*/ 26670 w 56578"/>
                    <a:gd name="connsiteY1" fmla="*/ 124206 h 146113"/>
                    <a:gd name="connsiteX2" fmla="*/ 52006 w 56578"/>
                    <a:gd name="connsiteY2" fmla="*/ 0 h 146113"/>
                    <a:gd name="connsiteX3" fmla="*/ 29908 w 56578"/>
                    <a:gd name="connsiteY3" fmla="*/ 0 h 146113"/>
                    <a:gd name="connsiteX4" fmla="*/ 0 w 56578"/>
                    <a:gd name="connsiteY4" fmla="*/ 146114 h 146113"/>
                    <a:gd name="connsiteX5" fmla="*/ 22193 w 56578"/>
                    <a:gd name="connsiteY5" fmla="*/ 146114 h 146113"/>
                    <a:gd name="connsiteX6" fmla="*/ 22193 w 56578"/>
                    <a:gd name="connsiteY6" fmla="*/ 146114 h 146113"/>
                    <a:gd name="connsiteX7" fmla="*/ 56579 w 56578"/>
                    <a:gd name="connsiteY7" fmla="*/ 146114 h 146113"/>
                    <a:gd name="connsiteX8" fmla="*/ 56579 w 56578"/>
                    <a:gd name="connsiteY8" fmla="*/ 124206 h 146113"/>
                    <a:gd name="connsiteX9" fmla="*/ 56579 w 56578"/>
                    <a:gd name="connsiteY9" fmla="*/ 124206 h 14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578" h="146113">
                      <a:moveTo>
                        <a:pt x="56579" y="124206"/>
                      </a:moveTo>
                      <a:lnTo>
                        <a:pt x="26670" y="124206"/>
                      </a:lnTo>
                      <a:lnTo>
                        <a:pt x="52006" y="0"/>
                      </a:lnTo>
                      <a:lnTo>
                        <a:pt x="29908" y="0"/>
                      </a:lnTo>
                      <a:lnTo>
                        <a:pt x="0" y="146114"/>
                      </a:lnTo>
                      <a:lnTo>
                        <a:pt x="22193" y="146114"/>
                      </a:lnTo>
                      <a:lnTo>
                        <a:pt x="22193" y="146114"/>
                      </a:lnTo>
                      <a:lnTo>
                        <a:pt x="56579" y="146114"/>
                      </a:lnTo>
                      <a:lnTo>
                        <a:pt x="56579" y="124206"/>
                      </a:lnTo>
                      <a:lnTo>
                        <a:pt x="56579" y="12420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13" name="Freeform: Shape 112">
                  <a:extLst>
                    <a:ext uri="{FF2B5EF4-FFF2-40B4-BE49-F238E27FC236}">
                      <a16:creationId xmlns:a16="http://schemas.microsoft.com/office/drawing/2014/main" id="{BF3A6391-2B28-4883-8A97-A3FDDBAF8153}"/>
                    </a:ext>
                  </a:extLst>
                </p:cNvPr>
                <p:cNvSpPr/>
                <p:nvPr/>
              </p:nvSpPr>
              <p:spPr>
                <a:xfrm>
                  <a:off x="5381625" y="3233737"/>
                  <a:ext cx="391667" cy="391667"/>
                </a:xfrm>
                <a:custGeom>
                  <a:avLst/>
                  <a:gdLst>
                    <a:gd name="connsiteX0" fmla="*/ 276797 w 391667"/>
                    <a:gd name="connsiteY0" fmla="*/ 187643 h 391667"/>
                    <a:gd name="connsiteX1" fmla="*/ 200120 w 391667"/>
                    <a:gd name="connsiteY1" fmla="*/ 267462 h 391667"/>
                    <a:gd name="connsiteX2" fmla="*/ 200501 w 391667"/>
                    <a:gd name="connsiteY2" fmla="*/ 284512 h 391667"/>
                    <a:gd name="connsiteX3" fmla="*/ 205645 w 391667"/>
                    <a:gd name="connsiteY3" fmla="*/ 306324 h 391667"/>
                    <a:gd name="connsiteX4" fmla="*/ 156305 w 391667"/>
                    <a:gd name="connsiteY4" fmla="*/ 333470 h 391667"/>
                    <a:gd name="connsiteX5" fmla="*/ 168021 w 391667"/>
                    <a:gd name="connsiteY5" fmla="*/ 294037 h 391667"/>
                    <a:gd name="connsiteX6" fmla="*/ 159353 w 391667"/>
                    <a:gd name="connsiteY6" fmla="*/ 261271 h 391667"/>
                    <a:gd name="connsiteX7" fmla="*/ 194215 w 391667"/>
                    <a:gd name="connsiteY7" fmla="*/ 221456 h 391667"/>
                    <a:gd name="connsiteX8" fmla="*/ 218980 w 391667"/>
                    <a:gd name="connsiteY8" fmla="*/ 223742 h 391667"/>
                    <a:gd name="connsiteX9" fmla="*/ 229267 w 391667"/>
                    <a:gd name="connsiteY9" fmla="*/ 207931 h 391667"/>
                    <a:gd name="connsiteX10" fmla="*/ 196310 w 391667"/>
                    <a:gd name="connsiteY10" fmla="*/ 204692 h 391667"/>
                    <a:gd name="connsiteX11" fmla="*/ 195548 w 391667"/>
                    <a:gd name="connsiteY11" fmla="*/ 202216 h 391667"/>
                    <a:gd name="connsiteX12" fmla="*/ 186881 w 391667"/>
                    <a:gd name="connsiteY12" fmla="*/ 189929 h 391667"/>
                    <a:gd name="connsiteX13" fmla="*/ 233934 w 391667"/>
                    <a:gd name="connsiteY13" fmla="*/ 191643 h 391667"/>
                    <a:gd name="connsiteX14" fmla="*/ 234506 w 391667"/>
                    <a:gd name="connsiteY14" fmla="*/ 183737 h 391667"/>
                    <a:gd name="connsiteX15" fmla="*/ 231743 w 391667"/>
                    <a:gd name="connsiteY15" fmla="*/ 171545 h 391667"/>
                    <a:gd name="connsiteX16" fmla="*/ 165830 w 391667"/>
                    <a:gd name="connsiteY16" fmla="*/ 176975 h 391667"/>
                    <a:gd name="connsiteX17" fmla="*/ 162687 w 391667"/>
                    <a:gd name="connsiteY17" fmla="*/ 175641 h 391667"/>
                    <a:gd name="connsiteX18" fmla="*/ 143542 w 391667"/>
                    <a:gd name="connsiteY18" fmla="*/ 165735 h 391667"/>
                    <a:gd name="connsiteX19" fmla="*/ 223742 w 391667"/>
                    <a:gd name="connsiteY19" fmla="*/ 153448 h 391667"/>
                    <a:gd name="connsiteX20" fmla="*/ 218599 w 391667"/>
                    <a:gd name="connsiteY20" fmla="*/ 144018 h 391667"/>
                    <a:gd name="connsiteX21" fmla="*/ 216122 w 391667"/>
                    <a:gd name="connsiteY21" fmla="*/ 135255 h 391667"/>
                    <a:gd name="connsiteX22" fmla="*/ 126778 w 391667"/>
                    <a:gd name="connsiteY22" fmla="*/ 152210 h 391667"/>
                    <a:gd name="connsiteX23" fmla="*/ 116205 w 391667"/>
                    <a:gd name="connsiteY23" fmla="*/ 138684 h 391667"/>
                    <a:gd name="connsiteX24" fmla="*/ 218885 w 391667"/>
                    <a:gd name="connsiteY24" fmla="*/ 118967 h 391667"/>
                    <a:gd name="connsiteX25" fmla="*/ 230696 w 391667"/>
                    <a:gd name="connsiteY25" fmla="*/ 102775 h 391667"/>
                    <a:gd name="connsiteX26" fmla="*/ 109347 w 391667"/>
                    <a:gd name="connsiteY26" fmla="*/ 123539 h 391667"/>
                    <a:gd name="connsiteX27" fmla="*/ 105918 w 391667"/>
                    <a:gd name="connsiteY27" fmla="*/ 100870 h 391667"/>
                    <a:gd name="connsiteX28" fmla="*/ 260318 w 391667"/>
                    <a:gd name="connsiteY28" fmla="*/ 82391 h 391667"/>
                    <a:gd name="connsiteX29" fmla="*/ 291941 w 391667"/>
                    <a:gd name="connsiteY29" fmla="*/ 92107 h 391667"/>
                    <a:gd name="connsiteX30" fmla="*/ 264986 w 391667"/>
                    <a:gd name="connsiteY30" fmla="*/ 118015 h 391667"/>
                    <a:gd name="connsiteX31" fmla="*/ 276797 w 391667"/>
                    <a:gd name="connsiteY31" fmla="*/ 187738 h 391667"/>
                    <a:gd name="connsiteX32" fmla="*/ 276797 w 391667"/>
                    <a:gd name="connsiteY32" fmla="*/ 187738 h 391667"/>
                    <a:gd name="connsiteX33" fmla="*/ 195834 w 391667"/>
                    <a:gd name="connsiteY33" fmla="*/ 0 h 391667"/>
                    <a:gd name="connsiteX34" fmla="*/ 0 w 391667"/>
                    <a:gd name="connsiteY34" fmla="*/ 195834 h 391667"/>
                    <a:gd name="connsiteX35" fmla="*/ 195834 w 391667"/>
                    <a:gd name="connsiteY35" fmla="*/ 391668 h 391667"/>
                    <a:gd name="connsiteX36" fmla="*/ 391668 w 391667"/>
                    <a:gd name="connsiteY36" fmla="*/ 195834 h 391667"/>
                    <a:gd name="connsiteX37" fmla="*/ 195834 w 391667"/>
                    <a:gd name="connsiteY37" fmla="*/ 0 h 391667"/>
                    <a:gd name="connsiteX38" fmla="*/ 195834 w 391667"/>
                    <a:gd name="connsiteY38" fmla="*/ 0 h 39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91667" h="391667">
                      <a:moveTo>
                        <a:pt x="276797" y="187643"/>
                      </a:moveTo>
                      <a:cubicBezTo>
                        <a:pt x="277273" y="243935"/>
                        <a:pt x="213169" y="253079"/>
                        <a:pt x="200120" y="267462"/>
                      </a:cubicBezTo>
                      <a:cubicBezTo>
                        <a:pt x="188976" y="279749"/>
                        <a:pt x="200501" y="284512"/>
                        <a:pt x="200501" y="284512"/>
                      </a:cubicBezTo>
                      <a:cubicBezTo>
                        <a:pt x="200501" y="284512"/>
                        <a:pt x="213646" y="293084"/>
                        <a:pt x="205645" y="306324"/>
                      </a:cubicBezTo>
                      <a:cubicBezTo>
                        <a:pt x="198406" y="318325"/>
                        <a:pt x="163163" y="331089"/>
                        <a:pt x="156305" y="333470"/>
                      </a:cubicBezTo>
                      <a:cubicBezTo>
                        <a:pt x="164211" y="329946"/>
                        <a:pt x="194691" y="304991"/>
                        <a:pt x="168021" y="294037"/>
                      </a:cubicBezTo>
                      <a:cubicBezTo>
                        <a:pt x="139637" y="282416"/>
                        <a:pt x="159353" y="261271"/>
                        <a:pt x="159353" y="261271"/>
                      </a:cubicBezTo>
                      <a:cubicBezTo>
                        <a:pt x="164211" y="254127"/>
                        <a:pt x="186500" y="238887"/>
                        <a:pt x="194215" y="221456"/>
                      </a:cubicBezTo>
                      <a:cubicBezTo>
                        <a:pt x="202502" y="220885"/>
                        <a:pt x="210979" y="221742"/>
                        <a:pt x="218980" y="223742"/>
                      </a:cubicBezTo>
                      <a:cubicBezTo>
                        <a:pt x="223171" y="218980"/>
                        <a:pt x="226695" y="213646"/>
                        <a:pt x="229267" y="207931"/>
                      </a:cubicBezTo>
                      <a:cubicBezTo>
                        <a:pt x="218885" y="204692"/>
                        <a:pt x="207359" y="203454"/>
                        <a:pt x="196310" y="204692"/>
                      </a:cubicBezTo>
                      <a:cubicBezTo>
                        <a:pt x="196120" y="203835"/>
                        <a:pt x="195834" y="203073"/>
                        <a:pt x="195548" y="202216"/>
                      </a:cubicBezTo>
                      <a:cubicBezTo>
                        <a:pt x="194119" y="198120"/>
                        <a:pt x="191357" y="194024"/>
                        <a:pt x="186881" y="189929"/>
                      </a:cubicBezTo>
                      <a:cubicBezTo>
                        <a:pt x="202025" y="185452"/>
                        <a:pt x="219170" y="186404"/>
                        <a:pt x="233934" y="191643"/>
                      </a:cubicBezTo>
                      <a:cubicBezTo>
                        <a:pt x="234315" y="189071"/>
                        <a:pt x="234506" y="186404"/>
                        <a:pt x="234506" y="183737"/>
                      </a:cubicBezTo>
                      <a:cubicBezTo>
                        <a:pt x="234029" y="179546"/>
                        <a:pt x="232981" y="175451"/>
                        <a:pt x="231743" y="171545"/>
                      </a:cubicBezTo>
                      <a:cubicBezTo>
                        <a:pt x="210312" y="167259"/>
                        <a:pt x="186214" y="168402"/>
                        <a:pt x="165830" y="176975"/>
                      </a:cubicBezTo>
                      <a:cubicBezTo>
                        <a:pt x="164783" y="176498"/>
                        <a:pt x="163735" y="176117"/>
                        <a:pt x="162687" y="175641"/>
                      </a:cubicBezTo>
                      <a:cubicBezTo>
                        <a:pt x="155448" y="172593"/>
                        <a:pt x="149066" y="169259"/>
                        <a:pt x="143542" y="165735"/>
                      </a:cubicBezTo>
                      <a:cubicBezTo>
                        <a:pt x="167450" y="152781"/>
                        <a:pt x="197358" y="149257"/>
                        <a:pt x="223742" y="153448"/>
                      </a:cubicBezTo>
                      <a:cubicBezTo>
                        <a:pt x="222028" y="150305"/>
                        <a:pt x="220313" y="147161"/>
                        <a:pt x="218599" y="144018"/>
                      </a:cubicBezTo>
                      <a:cubicBezTo>
                        <a:pt x="217265" y="141065"/>
                        <a:pt x="216503" y="138113"/>
                        <a:pt x="216122" y="135255"/>
                      </a:cubicBezTo>
                      <a:cubicBezTo>
                        <a:pt x="186404" y="131445"/>
                        <a:pt x="152972" y="136493"/>
                        <a:pt x="126778" y="152210"/>
                      </a:cubicBezTo>
                      <a:cubicBezTo>
                        <a:pt x="122492" y="147733"/>
                        <a:pt x="119063" y="143256"/>
                        <a:pt x="116205" y="138684"/>
                      </a:cubicBezTo>
                      <a:cubicBezTo>
                        <a:pt x="145828" y="119920"/>
                        <a:pt x="184594" y="114109"/>
                        <a:pt x="218885" y="118967"/>
                      </a:cubicBezTo>
                      <a:cubicBezTo>
                        <a:pt x="221552" y="113157"/>
                        <a:pt x="225743" y="107728"/>
                        <a:pt x="230696" y="102775"/>
                      </a:cubicBezTo>
                      <a:cubicBezTo>
                        <a:pt x="166021" y="90869"/>
                        <a:pt x="117539" y="118396"/>
                        <a:pt x="109347" y="123539"/>
                      </a:cubicBezTo>
                      <a:cubicBezTo>
                        <a:pt x="106680" y="115253"/>
                        <a:pt x="105918" y="107442"/>
                        <a:pt x="105918" y="100870"/>
                      </a:cubicBezTo>
                      <a:cubicBezTo>
                        <a:pt x="163068" y="68199"/>
                        <a:pt x="223171" y="73724"/>
                        <a:pt x="260318" y="82391"/>
                      </a:cubicBezTo>
                      <a:cubicBezTo>
                        <a:pt x="274987" y="85820"/>
                        <a:pt x="286036" y="89821"/>
                        <a:pt x="291941" y="92107"/>
                      </a:cubicBezTo>
                      <a:cubicBezTo>
                        <a:pt x="291941" y="92107"/>
                        <a:pt x="276225" y="103442"/>
                        <a:pt x="264986" y="118015"/>
                      </a:cubicBezTo>
                      <a:cubicBezTo>
                        <a:pt x="243935" y="145352"/>
                        <a:pt x="276511" y="157544"/>
                        <a:pt x="276797" y="187738"/>
                      </a:cubicBezTo>
                      <a:lnTo>
                        <a:pt x="276797" y="187738"/>
                      </a:lnTo>
                      <a:close/>
                      <a:moveTo>
                        <a:pt x="195834" y="0"/>
                      </a:moveTo>
                      <a:cubicBezTo>
                        <a:pt x="87630" y="0"/>
                        <a:pt x="0" y="87630"/>
                        <a:pt x="0" y="195834"/>
                      </a:cubicBezTo>
                      <a:cubicBezTo>
                        <a:pt x="0" y="304038"/>
                        <a:pt x="87630" y="391668"/>
                        <a:pt x="195834" y="391668"/>
                      </a:cubicBezTo>
                      <a:cubicBezTo>
                        <a:pt x="304038" y="391668"/>
                        <a:pt x="391668" y="304038"/>
                        <a:pt x="391668" y="195834"/>
                      </a:cubicBezTo>
                      <a:cubicBezTo>
                        <a:pt x="391668" y="87630"/>
                        <a:pt x="303943" y="0"/>
                        <a:pt x="195834" y="0"/>
                      </a:cubicBezTo>
                      <a:lnTo>
                        <a:pt x="195834"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54" name="Group 53">
              <a:extLst>
                <a:ext uri="{FF2B5EF4-FFF2-40B4-BE49-F238E27FC236}">
                  <a16:creationId xmlns:a16="http://schemas.microsoft.com/office/drawing/2014/main" id="{0EB25B70-9520-4D19-B5F8-84941388DBCD}"/>
                </a:ext>
              </a:extLst>
            </p:cNvPr>
            <p:cNvGrpSpPr/>
            <p:nvPr userDrawn="1"/>
          </p:nvGrpSpPr>
          <p:grpSpPr>
            <a:xfrm>
              <a:off x="8215186" y="1729940"/>
              <a:ext cx="785459" cy="218095"/>
              <a:chOff x="3752157" y="4227000"/>
              <a:chExt cx="1432179" cy="397667"/>
            </a:xfrm>
          </p:grpSpPr>
          <p:sp>
            <p:nvSpPr>
              <p:cNvPr id="93" name="Freeform: Shape 92">
                <a:extLst>
                  <a:ext uri="{FF2B5EF4-FFF2-40B4-BE49-F238E27FC236}">
                    <a16:creationId xmlns:a16="http://schemas.microsoft.com/office/drawing/2014/main" id="{452DDE09-6BC9-4D48-8EEA-D0A8E3A77210}"/>
                  </a:ext>
                </a:extLst>
              </p:cNvPr>
              <p:cNvSpPr/>
              <p:nvPr/>
            </p:nvSpPr>
            <p:spPr>
              <a:xfrm>
                <a:off x="4904300" y="4320630"/>
                <a:ext cx="119919" cy="214788"/>
              </a:xfrm>
              <a:custGeom>
                <a:avLst/>
                <a:gdLst>
                  <a:gd name="connsiteX0" fmla="*/ 116967 w 119919"/>
                  <a:gd name="connsiteY0" fmla="*/ 0 h 214788"/>
                  <a:gd name="connsiteX1" fmla="*/ 86963 w 119919"/>
                  <a:gd name="connsiteY1" fmla="*/ 0 h 214788"/>
                  <a:gd name="connsiteX2" fmla="*/ 29527 w 119919"/>
                  <a:gd name="connsiteY2" fmla="*/ 105632 h 214788"/>
                  <a:gd name="connsiteX3" fmla="*/ 29527 w 119919"/>
                  <a:gd name="connsiteY3" fmla="*/ 0 h 214788"/>
                  <a:gd name="connsiteX4" fmla="*/ 0 w 119919"/>
                  <a:gd name="connsiteY4" fmla="*/ 0 h 214788"/>
                  <a:gd name="connsiteX5" fmla="*/ 0 w 119919"/>
                  <a:gd name="connsiteY5" fmla="*/ 214789 h 214788"/>
                  <a:gd name="connsiteX6" fmla="*/ 29527 w 119919"/>
                  <a:gd name="connsiteY6" fmla="*/ 214789 h 214788"/>
                  <a:gd name="connsiteX7" fmla="*/ 29527 w 119919"/>
                  <a:gd name="connsiteY7" fmla="*/ 107823 h 214788"/>
                  <a:gd name="connsiteX8" fmla="*/ 89249 w 119919"/>
                  <a:gd name="connsiteY8" fmla="*/ 214789 h 214788"/>
                  <a:gd name="connsiteX9" fmla="*/ 119920 w 119919"/>
                  <a:gd name="connsiteY9" fmla="*/ 214789 h 214788"/>
                  <a:gd name="connsiteX10" fmla="*/ 57721 w 119919"/>
                  <a:gd name="connsiteY10" fmla="*/ 106013 h 214788"/>
                  <a:gd name="connsiteX11" fmla="*/ 116967 w 119919"/>
                  <a:gd name="connsiteY11" fmla="*/ 0 h 21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919" h="214788">
                    <a:moveTo>
                      <a:pt x="116967" y="0"/>
                    </a:moveTo>
                    <a:lnTo>
                      <a:pt x="86963" y="0"/>
                    </a:lnTo>
                    <a:cubicBezTo>
                      <a:pt x="72676" y="29147"/>
                      <a:pt x="29813" y="104775"/>
                      <a:pt x="29527" y="105632"/>
                    </a:cubicBezTo>
                    <a:lnTo>
                      <a:pt x="29527" y="0"/>
                    </a:lnTo>
                    <a:lnTo>
                      <a:pt x="0" y="0"/>
                    </a:lnTo>
                    <a:lnTo>
                      <a:pt x="0" y="214789"/>
                    </a:lnTo>
                    <a:lnTo>
                      <a:pt x="29527" y="214789"/>
                    </a:lnTo>
                    <a:lnTo>
                      <a:pt x="29527" y="107823"/>
                    </a:lnTo>
                    <a:cubicBezTo>
                      <a:pt x="29527" y="107823"/>
                      <a:pt x="72009" y="187262"/>
                      <a:pt x="89249" y="214789"/>
                    </a:cubicBezTo>
                    <a:lnTo>
                      <a:pt x="119920" y="214789"/>
                    </a:lnTo>
                    <a:cubicBezTo>
                      <a:pt x="115634" y="208026"/>
                      <a:pt x="57817" y="106013"/>
                      <a:pt x="57721" y="106013"/>
                    </a:cubicBezTo>
                    <a:cubicBezTo>
                      <a:pt x="58579" y="106013"/>
                      <a:pt x="116967" y="0"/>
                      <a:pt x="116967" y="0"/>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4417C0D6-5EC0-4080-92DE-46A3EAA037CD}"/>
                  </a:ext>
                </a:extLst>
              </p:cNvPr>
              <p:cNvSpPr/>
              <p:nvPr/>
            </p:nvSpPr>
            <p:spPr>
              <a:xfrm>
                <a:off x="4205546" y="4320440"/>
                <a:ext cx="83820" cy="214979"/>
              </a:xfrm>
              <a:custGeom>
                <a:avLst/>
                <a:gdLst>
                  <a:gd name="connsiteX0" fmla="*/ 83820 w 83820"/>
                  <a:gd name="connsiteY0" fmla="*/ 190310 h 214979"/>
                  <a:gd name="connsiteX1" fmla="*/ 30194 w 83820"/>
                  <a:gd name="connsiteY1" fmla="*/ 190310 h 214979"/>
                  <a:gd name="connsiteX2" fmla="*/ 30194 w 83820"/>
                  <a:gd name="connsiteY2" fmla="*/ 119729 h 214979"/>
                  <a:gd name="connsiteX3" fmla="*/ 83820 w 83820"/>
                  <a:gd name="connsiteY3" fmla="*/ 119729 h 214979"/>
                  <a:gd name="connsiteX4" fmla="*/ 83820 w 83820"/>
                  <a:gd name="connsiteY4" fmla="*/ 95440 h 214979"/>
                  <a:gd name="connsiteX5" fmla="*/ 29528 w 83820"/>
                  <a:gd name="connsiteY5" fmla="*/ 95440 h 214979"/>
                  <a:gd name="connsiteX6" fmla="*/ 29528 w 83820"/>
                  <a:gd name="connsiteY6" fmla="*/ 24289 h 214979"/>
                  <a:gd name="connsiteX7" fmla="*/ 83820 w 83820"/>
                  <a:gd name="connsiteY7" fmla="*/ 24289 h 214979"/>
                  <a:gd name="connsiteX8" fmla="*/ 83820 w 83820"/>
                  <a:gd name="connsiteY8" fmla="*/ 0 h 214979"/>
                  <a:gd name="connsiteX9" fmla="*/ 0 w 83820"/>
                  <a:gd name="connsiteY9" fmla="*/ 0 h 214979"/>
                  <a:gd name="connsiteX10" fmla="*/ 0 w 83820"/>
                  <a:gd name="connsiteY10" fmla="*/ 214979 h 214979"/>
                  <a:gd name="connsiteX11" fmla="*/ 83820 w 83820"/>
                  <a:gd name="connsiteY11" fmla="*/ 214979 h 214979"/>
                  <a:gd name="connsiteX12" fmla="*/ 83820 w 83820"/>
                  <a:gd name="connsiteY12" fmla="*/ 190310 h 214979"/>
                  <a:gd name="connsiteX13" fmla="*/ 83820 w 83820"/>
                  <a:gd name="connsiteY13" fmla="*/ 190310 h 2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20" h="214979">
                    <a:moveTo>
                      <a:pt x="83820" y="190310"/>
                    </a:moveTo>
                    <a:lnTo>
                      <a:pt x="30194" y="190310"/>
                    </a:lnTo>
                    <a:lnTo>
                      <a:pt x="30194" y="119729"/>
                    </a:lnTo>
                    <a:lnTo>
                      <a:pt x="83820" y="119729"/>
                    </a:lnTo>
                    <a:lnTo>
                      <a:pt x="83820" y="95440"/>
                    </a:lnTo>
                    <a:lnTo>
                      <a:pt x="29528" y="95440"/>
                    </a:lnTo>
                    <a:lnTo>
                      <a:pt x="29528" y="24289"/>
                    </a:lnTo>
                    <a:lnTo>
                      <a:pt x="83820" y="24289"/>
                    </a:lnTo>
                    <a:lnTo>
                      <a:pt x="83820" y="0"/>
                    </a:lnTo>
                    <a:lnTo>
                      <a:pt x="0" y="0"/>
                    </a:lnTo>
                    <a:lnTo>
                      <a:pt x="0" y="214979"/>
                    </a:lnTo>
                    <a:lnTo>
                      <a:pt x="83820" y="214979"/>
                    </a:lnTo>
                    <a:lnTo>
                      <a:pt x="83820" y="190310"/>
                    </a:lnTo>
                    <a:lnTo>
                      <a:pt x="83820" y="1903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B5181F88-1AFC-47A8-A403-E25ECB32B202}"/>
                  </a:ext>
                </a:extLst>
              </p:cNvPr>
              <p:cNvSpPr/>
              <p:nvPr/>
            </p:nvSpPr>
            <p:spPr>
              <a:xfrm>
                <a:off x="4743138" y="4320440"/>
                <a:ext cx="83819" cy="214979"/>
              </a:xfrm>
              <a:custGeom>
                <a:avLst/>
                <a:gdLst>
                  <a:gd name="connsiteX0" fmla="*/ 83820 w 83819"/>
                  <a:gd name="connsiteY0" fmla="*/ 190310 h 214979"/>
                  <a:gd name="connsiteX1" fmla="*/ 30194 w 83819"/>
                  <a:gd name="connsiteY1" fmla="*/ 190310 h 214979"/>
                  <a:gd name="connsiteX2" fmla="*/ 30194 w 83819"/>
                  <a:gd name="connsiteY2" fmla="*/ 119729 h 214979"/>
                  <a:gd name="connsiteX3" fmla="*/ 83820 w 83819"/>
                  <a:gd name="connsiteY3" fmla="*/ 119729 h 214979"/>
                  <a:gd name="connsiteX4" fmla="*/ 83820 w 83819"/>
                  <a:gd name="connsiteY4" fmla="*/ 95440 h 214979"/>
                  <a:gd name="connsiteX5" fmla="*/ 29432 w 83819"/>
                  <a:gd name="connsiteY5" fmla="*/ 95440 h 214979"/>
                  <a:gd name="connsiteX6" fmla="*/ 29432 w 83819"/>
                  <a:gd name="connsiteY6" fmla="*/ 24289 h 214979"/>
                  <a:gd name="connsiteX7" fmla="*/ 83820 w 83819"/>
                  <a:gd name="connsiteY7" fmla="*/ 24289 h 214979"/>
                  <a:gd name="connsiteX8" fmla="*/ 83820 w 83819"/>
                  <a:gd name="connsiteY8" fmla="*/ 0 h 214979"/>
                  <a:gd name="connsiteX9" fmla="*/ 0 w 83819"/>
                  <a:gd name="connsiteY9" fmla="*/ 0 h 214979"/>
                  <a:gd name="connsiteX10" fmla="*/ 0 w 83819"/>
                  <a:gd name="connsiteY10" fmla="*/ 214979 h 214979"/>
                  <a:gd name="connsiteX11" fmla="*/ 83820 w 83819"/>
                  <a:gd name="connsiteY11" fmla="*/ 214979 h 214979"/>
                  <a:gd name="connsiteX12" fmla="*/ 83820 w 83819"/>
                  <a:gd name="connsiteY12" fmla="*/ 190310 h 214979"/>
                  <a:gd name="connsiteX13" fmla="*/ 83820 w 83819"/>
                  <a:gd name="connsiteY13" fmla="*/ 190310 h 214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819" h="214979">
                    <a:moveTo>
                      <a:pt x="83820" y="190310"/>
                    </a:moveTo>
                    <a:lnTo>
                      <a:pt x="30194" y="190310"/>
                    </a:lnTo>
                    <a:lnTo>
                      <a:pt x="30194" y="119729"/>
                    </a:lnTo>
                    <a:lnTo>
                      <a:pt x="83820" y="119729"/>
                    </a:lnTo>
                    <a:lnTo>
                      <a:pt x="83820" y="95440"/>
                    </a:lnTo>
                    <a:lnTo>
                      <a:pt x="29432" y="95440"/>
                    </a:lnTo>
                    <a:lnTo>
                      <a:pt x="29432" y="24289"/>
                    </a:lnTo>
                    <a:lnTo>
                      <a:pt x="83820" y="24289"/>
                    </a:lnTo>
                    <a:lnTo>
                      <a:pt x="83820" y="0"/>
                    </a:lnTo>
                    <a:lnTo>
                      <a:pt x="0" y="0"/>
                    </a:lnTo>
                    <a:lnTo>
                      <a:pt x="0" y="214979"/>
                    </a:lnTo>
                    <a:lnTo>
                      <a:pt x="83820" y="214979"/>
                    </a:lnTo>
                    <a:lnTo>
                      <a:pt x="83820" y="190310"/>
                    </a:lnTo>
                    <a:lnTo>
                      <a:pt x="83820" y="1903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C68129DF-D038-4278-A336-331D5425F2E4}"/>
                  </a:ext>
                </a:extLst>
              </p:cNvPr>
              <p:cNvSpPr/>
              <p:nvPr/>
            </p:nvSpPr>
            <p:spPr>
              <a:xfrm>
                <a:off x="4568735" y="4320345"/>
                <a:ext cx="101536" cy="215074"/>
              </a:xfrm>
              <a:custGeom>
                <a:avLst/>
                <a:gdLst>
                  <a:gd name="connsiteX0" fmla="*/ 40005 w 101536"/>
                  <a:gd name="connsiteY0" fmla="*/ 98012 h 215074"/>
                  <a:gd name="connsiteX1" fmla="*/ 29146 w 101536"/>
                  <a:gd name="connsiteY1" fmla="*/ 98012 h 215074"/>
                  <a:gd name="connsiteX2" fmla="*/ 29146 w 101536"/>
                  <a:gd name="connsiteY2" fmla="*/ 24670 h 215074"/>
                  <a:gd name="connsiteX3" fmla="*/ 37814 w 101536"/>
                  <a:gd name="connsiteY3" fmla="*/ 24670 h 215074"/>
                  <a:gd name="connsiteX4" fmla="*/ 67437 w 101536"/>
                  <a:gd name="connsiteY4" fmla="*/ 61341 h 215074"/>
                  <a:gd name="connsiteX5" fmla="*/ 40005 w 101536"/>
                  <a:gd name="connsiteY5" fmla="*/ 98012 h 215074"/>
                  <a:gd name="connsiteX6" fmla="*/ 64389 w 101536"/>
                  <a:gd name="connsiteY6" fmla="*/ 119824 h 215074"/>
                  <a:gd name="connsiteX7" fmla="*/ 65437 w 101536"/>
                  <a:gd name="connsiteY7" fmla="*/ 119634 h 215074"/>
                  <a:gd name="connsiteX8" fmla="*/ 65246 w 101536"/>
                  <a:gd name="connsiteY8" fmla="*/ 119539 h 215074"/>
                  <a:gd name="connsiteX9" fmla="*/ 97631 w 101536"/>
                  <a:gd name="connsiteY9" fmla="*/ 61722 h 215074"/>
                  <a:gd name="connsiteX10" fmla="*/ 97631 w 101536"/>
                  <a:gd name="connsiteY10" fmla="*/ 61722 h 215074"/>
                  <a:gd name="connsiteX11" fmla="*/ 97631 w 101536"/>
                  <a:gd name="connsiteY11" fmla="*/ 61436 h 215074"/>
                  <a:gd name="connsiteX12" fmla="*/ 97631 w 101536"/>
                  <a:gd name="connsiteY12" fmla="*/ 61150 h 215074"/>
                  <a:gd name="connsiteX13" fmla="*/ 97631 w 101536"/>
                  <a:gd name="connsiteY13" fmla="*/ 61150 h 215074"/>
                  <a:gd name="connsiteX14" fmla="*/ 37147 w 101536"/>
                  <a:gd name="connsiteY14" fmla="*/ 0 h 215074"/>
                  <a:gd name="connsiteX15" fmla="*/ 0 w 101536"/>
                  <a:gd name="connsiteY15" fmla="*/ 0 h 215074"/>
                  <a:gd name="connsiteX16" fmla="*/ 0 w 101536"/>
                  <a:gd name="connsiteY16" fmla="*/ 215075 h 215074"/>
                  <a:gd name="connsiteX17" fmla="*/ 29146 w 101536"/>
                  <a:gd name="connsiteY17" fmla="*/ 215075 h 215074"/>
                  <a:gd name="connsiteX18" fmla="*/ 29146 w 101536"/>
                  <a:gd name="connsiteY18" fmla="*/ 99632 h 215074"/>
                  <a:gd name="connsiteX19" fmla="*/ 29242 w 101536"/>
                  <a:gd name="connsiteY19" fmla="*/ 99632 h 215074"/>
                  <a:gd name="connsiteX20" fmla="*/ 73342 w 101536"/>
                  <a:gd name="connsiteY20" fmla="*/ 215075 h 215074"/>
                  <a:gd name="connsiteX21" fmla="*/ 101536 w 101536"/>
                  <a:gd name="connsiteY21" fmla="*/ 215075 h 215074"/>
                  <a:gd name="connsiteX22" fmla="*/ 64389 w 101536"/>
                  <a:gd name="connsiteY22" fmla="*/ 119824 h 21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536" h="215074">
                    <a:moveTo>
                      <a:pt x="40005" y="98012"/>
                    </a:moveTo>
                    <a:lnTo>
                      <a:pt x="29146" y="98012"/>
                    </a:lnTo>
                    <a:lnTo>
                      <a:pt x="29146" y="24670"/>
                    </a:lnTo>
                    <a:lnTo>
                      <a:pt x="37814" y="24670"/>
                    </a:lnTo>
                    <a:cubicBezTo>
                      <a:pt x="57245" y="25051"/>
                      <a:pt x="67246" y="29242"/>
                      <a:pt x="67437" y="61341"/>
                    </a:cubicBezTo>
                    <a:cubicBezTo>
                      <a:pt x="67342" y="92297"/>
                      <a:pt x="58007" y="97346"/>
                      <a:pt x="40005" y="98012"/>
                    </a:cubicBezTo>
                    <a:moveTo>
                      <a:pt x="64389" y="119824"/>
                    </a:moveTo>
                    <a:cubicBezTo>
                      <a:pt x="64389" y="119824"/>
                      <a:pt x="65056" y="119634"/>
                      <a:pt x="65437" y="119634"/>
                    </a:cubicBezTo>
                    <a:cubicBezTo>
                      <a:pt x="65437" y="119634"/>
                      <a:pt x="65437" y="119539"/>
                      <a:pt x="65246" y="119539"/>
                    </a:cubicBezTo>
                    <a:cubicBezTo>
                      <a:pt x="85820" y="113824"/>
                      <a:pt x="97536" y="98584"/>
                      <a:pt x="97631" y="61722"/>
                    </a:cubicBezTo>
                    <a:lnTo>
                      <a:pt x="97631" y="61722"/>
                    </a:lnTo>
                    <a:cubicBezTo>
                      <a:pt x="97631" y="61722"/>
                      <a:pt x="97631" y="61532"/>
                      <a:pt x="97631" y="61436"/>
                    </a:cubicBezTo>
                    <a:cubicBezTo>
                      <a:pt x="97631" y="61341"/>
                      <a:pt x="97631" y="61246"/>
                      <a:pt x="97631" y="61150"/>
                    </a:cubicBezTo>
                    <a:lnTo>
                      <a:pt x="97631" y="61150"/>
                    </a:lnTo>
                    <a:cubicBezTo>
                      <a:pt x="97441" y="9811"/>
                      <a:pt x="75343" y="0"/>
                      <a:pt x="37147" y="0"/>
                    </a:cubicBezTo>
                    <a:lnTo>
                      <a:pt x="0" y="0"/>
                    </a:lnTo>
                    <a:lnTo>
                      <a:pt x="0" y="215075"/>
                    </a:lnTo>
                    <a:lnTo>
                      <a:pt x="29146" y="215075"/>
                    </a:lnTo>
                    <a:lnTo>
                      <a:pt x="29146" y="99632"/>
                    </a:lnTo>
                    <a:lnTo>
                      <a:pt x="29242" y="99632"/>
                    </a:lnTo>
                    <a:cubicBezTo>
                      <a:pt x="30194" y="102108"/>
                      <a:pt x="64960" y="194500"/>
                      <a:pt x="73342" y="215075"/>
                    </a:cubicBezTo>
                    <a:lnTo>
                      <a:pt x="101536" y="215075"/>
                    </a:lnTo>
                    <a:cubicBezTo>
                      <a:pt x="95059" y="199930"/>
                      <a:pt x="65437" y="122396"/>
                      <a:pt x="64389" y="119824"/>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3BBE63B5-4E62-4228-B3F1-F8FE4EE1403E}"/>
                  </a:ext>
                </a:extLst>
              </p:cNvPr>
              <p:cNvSpPr/>
              <p:nvPr/>
            </p:nvSpPr>
            <p:spPr>
              <a:xfrm>
                <a:off x="4370519" y="4320535"/>
                <a:ext cx="115919" cy="218217"/>
              </a:xfrm>
              <a:custGeom>
                <a:avLst/>
                <a:gdLst>
                  <a:gd name="connsiteX0" fmla="*/ 86963 w 115919"/>
                  <a:gd name="connsiteY0" fmla="*/ 0 h 218217"/>
                  <a:gd name="connsiteX1" fmla="*/ 86963 w 115919"/>
                  <a:gd name="connsiteY1" fmla="*/ 156591 h 218217"/>
                  <a:gd name="connsiteX2" fmla="*/ 58007 w 115919"/>
                  <a:gd name="connsiteY2" fmla="*/ 191834 h 218217"/>
                  <a:gd name="connsiteX3" fmla="*/ 29432 w 115919"/>
                  <a:gd name="connsiteY3" fmla="*/ 156591 h 218217"/>
                  <a:gd name="connsiteX4" fmla="*/ 29432 w 115919"/>
                  <a:gd name="connsiteY4" fmla="*/ 0 h 218217"/>
                  <a:gd name="connsiteX5" fmla="*/ 0 w 115919"/>
                  <a:gd name="connsiteY5" fmla="*/ 0 h 218217"/>
                  <a:gd name="connsiteX6" fmla="*/ 0 w 115919"/>
                  <a:gd name="connsiteY6" fmla="*/ 156591 h 218217"/>
                  <a:gd name="connsiteX7" fmla="*/ 15145 w 115919"/>
                  <a:gd name="connsiteY7" fmla="*/ 201168 h 218217"/>
                  <a:gd name="connsiteX8" fmla="*/ 58007 w 115919"/>
                  <a:gd name="connsiteY8" fmla="*/ 218218 h 218217"/>
                  <a:gd name="connsiteX9" fmla="*/ 100775 w 115919"/>
                  <a:gd name="connsiteY9" fmla="*/ 201168 h 218217"/>
                  <a:gd name="connsiteX10" fmla="*/ 115919 w 115919"/>
                  <a:gd name="connsiteY10" fmla="*/ 156591 h 218217"/>
                  <a:gd name="connsiteX11" fmla="*/ 115919 w 115919"/>
                  <a:gd name="connsiteY11" fmla="*/ 0 h 218217"/>
                  <a:gd name="connsiteX12" fmla="*/ 86963 w 115919"/>
                  <a:gd name="connsiteY12" fmla="*/ 0 h 218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919" h="218217">
                    <a:moveTo>
                      <a:pt x="86963" y="0"/>
                    </a:moveTo>
                    <a:lnTo>
                      <a:pt x="86963" y="156591"/>
                    </a:lnTo>
                    <a:cubicBezTo>
                      <a:pt x="86963" y="177356"/>
                      <a:pt x="75057" y="191834"/>
                      <a:pt x="58007" y="191834"/>
                    </a:cubicBezTo>
                    <a:cubicBezTo>
                      <a:pt x="40958" y="191834"/>
                      <a:pt x="29432" y="177356"/>
                      <a:pt x="29432" y="156591"/>
                    </a:cubicBezTo>
                    <a:lnTo>
                      <a:pt x="29432" y="0"/>
                    </a:lnTo>
                    <a:lnTo>
                      <a:pt x="0" y="0"/>
                    </a:lnTo>
                    <a:lnTo>
                      <a:pt x="0" y="156591"/>
                    </a:lnTo>
                    <a:cubicBezTo>
                      <a:pt x="0" y="174879"/>
                      <a:pt x="5239" y="190310"/>
                      <a:pt x="15145" y="201168"/>
                    </a:cubicBezTo>
                    <a:cubicBezTo>
                      <a:pt x="25718" y="212789"/>
                      <a:pt x="39433" y="218218"/>
                      <a:pt x="58007" y="218218"/>
                    </a:cubicBezTo>
                    <a:cubicBezTo>
                      <a:pt x="76581" y="218218"/>
                      <a:pt x="89916" y="213170"/>
                      <a:pt x="100775" y="201168"/>
                    </a:cubicBezTo>
                    <a:cubicBezTo>
                      <a:pt x="110681" y="190310"/>
                      <a:pt x="115919" y="174879"/>
                      <a:pt x="115919" y="156591"/>
                    </a:cubicBezTo>
                    <a:lnTo>
                      <a:pt x="115919" y="0"/>
                    </a:lnTo>
                    <a:lnTo>
                      <a:pt x="86963"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98" name="Graphic 1242">
                <a:extLst>
                  <a:ext uri="{FF2B5EF4-FFF2-40B4-BE49-F238E27FC236}">
                    <a16:creationId xmlns:a16="http://schemas.microsoft.com/office/drawing/2014/main" id="{57F08AEF-31D8-4299-8AA9-8246492037ED}"/>
                  </a:ext>
                </a:extLst>
              </p:cNvPr>
              <p:cNvGrpSpPr/>
              <p:nvPr/>
            </p:nvGrpSpPr>
            <p:grpSpPr>
              <a:xfrm>
                <a:off x="3752157" y="4227000"/>
                <a:ext cx="1432179" cy="308419"/>
                <a:chOff x="3752157" y="4227000"/>
                <a:chExt cx="1432179" cy="308419"/>
              </a:xfrm>
              <a:solidFill>
                <a:srgbClr val="A1ABB3"/>
              </a:solidFill>
            </p:grpSpPr>
            <p:sp>
              <p:nvSpPr>
                <p:cNvPr id="103" name="Freeform: Shape 102">
                  <a:extLst>
                    <a:ext uri="{FF2B5EF4-FFF2-40B4-BE49-F238E27FC236}">
                      <a16:creationId xmlns:a16="http://schemas.microsoft.com/office/drawing/2014/main" id="{6C07231F-852B-4B26-90D2-1E911B12532F}"/>
                    </a:ext>
                  </a:extLst>
                </p:cNvPr>
                <p:cNvSpPr/>
                <p:nvPr/>
              </p:nvSpPr>
              <p:spPr>
                <a:xfrm>
                  <a:off x="5060511" y="4320630"/>
                  <a:ext cx="123825" cy="214788"/>
                </a:xfrm>
                <a:custGeom>
                  <a:avLst/>
                  <a:gdLst>
                    <a:gd name="connsiteX0" fmla="*/ 94488 w 123825"/>
                    <a:gd name="connsiteY0" fmla="*/ 214789 h 214788"/>
                    <a:gd name="connsiteX1" fmla="*/ 123825 w 123825"/>
                    <a:gd name="connsiteY1" fmla="*/ 214789 h 214788"/>
                    <a:gd name="connsiteX2" fmla="*/ 75533 w 123825"/>
                    <a:gd name="connsiteY2" fmla="*/ 0 h 214788"/>
                    <a:gd name="connsiteX3" fmla="*/ 51911 w 123825"/>
                    <a:gd name="connsiteY3" fmla="*/ 0 h 214788"/>
                    <a:gd name="connsiteX4" fmla="*/ 0 w 123825"/>
                    <a:gd name="connsiteY4" fmla="*/ 214789 h 214788"/>
                    <a:gd name="connsiteX5" fmla="*/ 30671 w 123825"/>
                    <a:gd name="connsiteY5" fmla="*/ 214789 h 214788"/>
                    <a:gd name="connsiteX6" fmla="*/ 41338 w 123825"/>
                    <a:gd name="connsiteY6" fmla="*/ 164592 h 214788"/>
                    <a:gd name="connsiteX7" fmla="*/ 83629 w 123825"/>
                    <a:gd name="connsiteY7" fmla="*/ 164592 h 214788"/>
                    <a:gd name="connsiteX8" fmla="*/ 94488 w 123825"/>
                    <a:gd name="connsiteY8" fmla="*/ 214789 h 214788"/>
                    <a:gd name="connsiteX9" fmla="*/ 46577 w 123825"/>
                    <a:gd name="connsiteY9" fmla="*/ 140303 h 214788"/>
                    <a:gd name="connsiteX10" fmla="*/ 62293 w 123825"/>
                    <a:gd name="connsiteY10" fmla="*/ 66484 h 214788"/>
                    <a:gd name="connsiteX11" fmla="*/ 78296 w 123825"/>
                    <a:gd name="connsiteY11" fmla="*/ 140303 h 214788"/>
                    <a:gd name="connsiteX12" fmla="*/ 46482 w 123825"/>
                    <a:gd name="connsiteY12" fmla="*/ 140303 h 21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825" h="214788">
                      <a:moveTo>
                        <a:pt x="94488" y="214789"/>
                      </a:moveTo>
                      <a:lnTo>
                        <a:pt x="123825" y="214789"/>
                      </a:lnTo>
                      <a:lnTo>
                        <a:pt x="75533" y="0"/>
                      </a:lnTo>
                      <a:lnTo>
                        <a:pt x="51911" y="0"/>
                      </a:lnTo>
                      <a:lnTo>
                        <a:pt x="0" y="214789"/>
                      </a:lnTo>
                      <a:lnTo>
                        <a:pt x="30671" y="214789"/>
                      </a:lnTo>
                      <a:cubicBezTo>
                        <a:pt x="30671" y="214789"/>
                        <a:pt x="35528" y="192215"/>
                        <a:pt x="41338" y="164592"/>
                      </a:cubicBezTo>
                      <a:lnTo>
                        <a:pt x="83629" y="164592"/>
                      </a:lnTo>
                      <a:cubicBezTo>
                        <a:pt x="89345" y="191072"/>
                        <a:pt x="94107" y="212979"/>
                        <a:pt x="94488" y="214789"/>
                      </a:cubicBezTo>
                      <a:moveTo>
                        <a:pt x="46577" y="140303"/>
                      </a:moveTo>
                      <a:cubicBezTo>
                        <a:pt x="53816" y="106299"/>
                        <a:pt x="61055" y="72200"/>
                        <a:pt x="62293" y="66484"/>
                      </a:cubicBezTo>
                      <a:cubicBezTo>
                        <a:pt x="63532" y="72390"/>
                        <a:pt x="70961" y="106394"/>
                        <a:pt x="78296" y="140303"/>
                      </a:cubicBezTo>
                      <a:lnTo>
                        <a:pt x="46482" y="14030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4" name="Freeform: Shape 103">
                  <a:extLst>
                    <a:ext uri="{FF2B5EF4-FFF2-40B4-BE49-F238E27FC236}">
                      <a16:creationId xmlns:a16="http://schemas.microsoft.com/office/drawing/2014/main" id="{AA5C4B3E-F992-42E6-8CD1-C3CE99945B1B}"/>
                    </a:ext>
                  </a:extLst>
                </p:cNvPr>
                <p:cNvSpPr/>
                <p:nvPr/>
              </p:nvSpPr>
              <p:spPr>
                <a:xfrm>
                  <a:off x="3752157" y="4227000"/>
                  <a:ext cx="301942" cy="161639"/>
                </a:xfrm>
                <a:custGeom>
                  <a:avLst/>
                  <a:gdLst>
                    <a:gd name="connsiteX0" fmla="*/ 150971 w 301942"/>
                    <a:gd name="connsiteY0" fmla="*/ 42958 h 161639"/>
                    <a:gd name="connsiteX1" fmla="*/ 42958 w 301942"/>
                    <a:gd name="connsiteY1" fmla="*/ 150876 h 161639"/>
                    <a:gd name="connsiteX2" fmla="*/ 43434 w 301942"/>
                    <a:gd name="connsiteY2" fmla="*/ 161544 h 161639"/>
                    <a:gd name="connsiteX3" fmla="*/ 381 w 301942"/>
                    <a:gd name="connsiteY3" fmla="*/ 161544 h 161639"/>
                    <a:gd name="connsiteX4" fmla="*/ 0 w 301942"/>
                    <a:gd name="connsiteY4" fmla="*/ 150876 h 161639"/>
                    <a:gd name="connsiteX5" fmla="*/ 150971 w 301942"/>
                    <a:gd name="connsiteY5" fmla="*/ 0 h 161639"/>
                    <a:gd name="connsiteX6" fmla="*/ 301943 w 301942"/>
                    <a:gd name="connsiteY6" fmla="*/ 150971 h 161639"/>
                    <a:gd name="connsiteX7" fmla="*/ 301562 w 301942"/>
                    <a:gd name="connsiteY7" fmla="*/ 161639 h 161639"/>
                    <a:gd name="connsiteX8" fmla="*/ 258413 w 301942"/>
                    <a:gd name="connsiteY8" fmla="*/ 161639 h 161639"/>
                    <a:gd name="connsiteX9" fmla="*/ 258985 w 301942"/>
                    <a:gd name="connsiteY9" fmla="*/ 150971 h 161639"/>
                    <a:gd name="connsiteX10" fmla="*/ 150971 w 301942"/>
                    <a:gd name="connsiteY10" fmla="*/ 43053 h 161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942" h="161639">
                      <a:moveTo>
                        <a:pt x="150971" y="42958"/>
                      </a:moveTo>
                      <a:cubicBezTo>
                        <a:pt x="91345" y="42958"/>
                        <a:pt x="42958" y="91250"/>
                        <a:pt x="42958" y="150876"/>
                      </a:cubicBezTo>
                      <a:cubicBezTo>
                        <a:pt x="42958" y="154496"/>
                        <a:pt x="43148" y="158020"/>
                        <a:pt x="43434" y="161544"/>
                      </a:cubicBezTo>
                      <a:lnTo>
                        <a:pt x="381" y="161544"/>
                      </a:lnTo>
                      <a:cubicBezTo>
                        <a:pt x="191" y="158020"/>
                        <a:pt x="0" y="154496"/>
                        <a:pt x="0" y="150876"/>
                      </a:cubicBezTo>
                      <a:cubicBezTo>
                        <a:pt x="0" y="67532"/>
                        <a:pt x="67532" y="0"/>
                        <a:pt x="150971" y="0"/>
                      </a:cubicBezTo>
                      <a:cubicBezTo>
                        <a:pt x="234410" y="0"/>
                        <a:pt x="301943" y="67532"/>
                        <a:pt x="301943" y="150971"/>
                      </a:cubicBezTo>
                      <a:cubicBezTo>
                        <a:pt x="301943" y="154591"/>
                        <a:pt x="301847" y="158115"/>
                        <a:pt x="301562" y="161639"/>
                      </a:cubicBezTo>
                      <a:lnTo>
                        <a:pt x="258413" y="161639"/>
                      </a:lnTo>
                      <a:cubicBezTo>
                        <a:pt x="258699" y="158115"/>
                        <a:pt x="258985" y="154591"/>
                        <a:pt x="258985" y="150971"/>
                      </a:cubicBezTo>
                      <a:cubicBezTo>
                        <a:pt x="258985" y="91345"/>
                        <a:pt x="210598" y="43053"/>
                        <a:pt x="150971" y="43053"/>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99" name="Freeform: Shape 98">
                <a:extLst>
                  <a:ext uri="{FF2B5EF4-FFF2-40B4-BE49-F238E27FC236}">
                    <a16:creationId xmlns:a16="http://schemas.microsoft.com/office/drawing/2014/main" id="{AD08521F-435B-450E-A272-CB2E21298FB9}"/>
                  </a:ext>
                </a:extLst>
              </p:cNvPr>
              <p:cNvSpPr/>
              <p:nvPr/>
            </p:nvSpPr>
            <p:spPr>
              <a:xfrm>
                <a:off x="3795400" y="4388543"/>
                <a:ext cx="215741" cy="98393"/>
              </a:xfrm>
              <a:custGeom>
                <a:avLst/>
                <a:gdLst>
                  <a:gd name="connsiteX0" fmla="*/ 30956 w 215741"/>
                  <a:gd name="connsiteY0" fmla="*/ 0 h 98393"/>
                  <a:gd name="connsiteX1" fmla="*/ 107823 w 215741"/>
                  <a:gd name="connsiteY1" fmla="*/ 67532 h 98393"/>
                  <a:gd name="connsiteX2" fmla="*/ 184690 w 215741"/>
                  <a:gd name="connsiteY2" fmla="*/ 0 h 98393"/>
                  <a:gd name="connsiteX3" fmla="*/ 215741 w 215741"/>
                  <a:gd name="connsiteY3" fmla="*/ 0 h 98393"/>
                  <a:gd name="connsiteX4" fmla="*/ 107918 w 215741"/>
                  <a:gd name="connsiteY4" fmla="*/ 98393 h 98393"/>
                  <a:gd name="connsiteX5" fmla="*/ 0 w 215741"/>
                  <a:gd name="connsiteY5" fmla="*/ 0 h 98393"/>
                  <a:gd name="connsiteX6" fmla="*/ 31052 w 215741"/>
                  <a:gd name="connsiteY6" fmla="*/ 0 h 9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741" h="98393">
                    <a:moveTo>
                      <a:pt x="30956" y="0"/>
                    </a:moveTo>
                    <a:cubicBezTo>
                      <a:pt x="35814" y="38100"/>
                      <a:pt x="68390" y="67532"/>
                      <a:pt x="107823" y="67532"/>
                    </a:cubicBezTo>
                    <a:cubicBezTo>
                      <a:pt x="147257" y="67532"/>
                      <a:pt x="179832" y="38100"/>
                      <a:pt x="184690" y="0"/>
                    </a:cubicBezTo>
                    <a:lnTo>
                      <a:pt x="215741" y="0"/>
                    </a:lnTo>
                    <a:cubicBezTo>
                      <a:pt x="210788" y="55150"/>
                      <a:pt x="164306" y="98393"/>
                      <a:pt x="107918" y="98393"/>
                    </a:cubicBezTo>
                    <a:cubicBezTo>
                      <a:pt x="51530" y="98393"/>
                      <a:pt x="5048" y="55150"/>
                      <a:pt x="0" y="0"/>
                    </a:cubicBezTo>
                    <a:lnTo>
                      <a:pt x="31052"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0" name="Freeform: Shape 99">
                <a:extLst>
                  <a:ext uri="{FF2B5EF4-FFF2-40B4-BE49-F238E27FC236}">
                    <a16:creationId xmlns:a16="http://schemas.microsoft.com/office/drawing/2014/main" id="{39734A14-2CAA-4457-9704-3E263E1D82DB}"/>
                  </a:ext>
                </a:extLst>
              </p:cNvPr>
              <p:cNvSpPr/>
              <p:nvPr/>
            </p:nvSpPr>
            <p:spPr>
              <a:xfrm>
                <a:off x="3850550" y="4530085"/>
                <a:ext cx="104203" cy="21240"/>
              </a:xfrm>
              <a:custGeom>
                <a:avLst/>
                <a:gdLst>
                  <a:gd name="connsiteX0" fmla="*/ 10573 w 104203"/>
                  <a:gd name="connsiteY0" fmla="*/ 21241 h 21240"/>
                  <a:gd name="connsiteX1" fmla="*/ 93631 w 104203"/>
                  <a:gd name="connsiteY1" fmla="*/ 21241 h 21240"/>
                  <a:gd name="connsiteX2" fmla="*/ 104204 w 104203"/>
                  <a:gd name="connsiteY2" fmla="*/ 10668 h 21240"/>
                  <a:gd name="connsiteX3" fmla="*/ 93631 w 104203"/>
                  <a:gd name="connsiteY3" fmla="*/ 0 h 21240"/>
                  <a:gd name="connsiteX4" fmla="*/ 10573 w 104203"/>
                  <a:gd name="connsiteY4" fmla="*/ 0 h 21240"/>
                  <a:gd name="connsiteX5" fmla="*/ 0 w 104203"/>
                  <a:gd name="connsiteY5" fmla="*/ 10668 h 21240"/>
                  <a:gd name="connsiteX6" fmla="*/ 10573 w 104203"/>
                  <a:gd name="connsiteY6" fmla="*/ 21241 h 2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03" h="21240">
                    <a:moveTo>
                      <a:pt x="10573" y="21241"/>
                    </a:moveTo>
                    <a:lnTo>
                      <a:pt x="93631" y="21241"/>
                    </a:lnTo>
                    <a:cubicBezTo>
                      <a:pt x="99441" y="21241"/>
                      <a:pt x="104204" y="16478"/>
                      <a:pt x="104204" y="10668"/>
                    </a:cubicBezTo>
                    <a:cubicBezTo>
                      <a:pt x="104204" y="4858"/>
                      <a:pt x="99441" y="0"/>
                      <a:pt x="93631" y="0"/>
                    </a:cubicBezTo>
                    <a:lnTo>
                      <a:pt x="10573" y="0"/>
                    </a:lnTo>
                    <a:cubicBezTo>
                      <a:pt x="4763" y="0"/>
                      <a:pt x="0" y="4763"/>
                      <a:pt x="0" y="10668"/>
                    </a:cubicBezTo>
                    <a:cubicBezTo>
                      <a:pt x="0" y="16574"/>
                      <a:pt x="4763" y="21241"/>
                      <a:pt x="10573" y="21241"/>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1" name="Freeform: Shape 100">
                <a:extLst>
                  <a:ext uri="{FF2B5EF4-FFF2-40B4-BE49-F238E27FC236}">
                    <a16:creationId xmlns:a16="http://schemas.microsoft.com/office/drawing/2014/main" id="{C841CFCF-20F4-433B-9363-24B3D5AA8D23}"/>
                  </a:ext>
                </a:extLst>
              </p:cNvPr>
              <p:cNvSpPr/>
              <p:nvPr/>
            </p:nvSpPr>
            <p:spPr>
              <a:xfrm>
                <a:off x="3850740" y="4560756"/>
                <a:ext cx="104203" cy="21145"/>
              </a:xfrm>
              <a:custGeom>
                <a:avLst/>
                <a:gdLst>
                  <a:gd name="connsiteX0" fmla="*/ 10573 w 104203"/>
                  <a:gd name="connsiteY0" fmla="*/ 21145 h 21145"/>
                  <a:gd name="connsiteX1" fmla="*/ 93631 w 104203"/>
                  <a:gd name="connsiteY1" fmla="*/ 21145 h 21145"/>
                  <a:gd name="connsiteX2" fmla="*/ 104204 w 104203"/>
                  <a:gd name="connsiteY2" fmla="*/ 10573 h 21145"/>
                  <a:gd name="connsiteX3" fmla="*/ 93631 w 104203"/>
                  <a:gd name="connsiteY3" fmla="*/ 0 h 21145"/>
                  <a:gd name="connsiteX4" fmla="*/ 10573 w 104203"/>
                  <a:gd name="connsiteY4" fmla="*/ 0 h 21145"/>
                  <a:gd name="connsiteX5" fmla="*/ 0 w 104203"/>
                  <a:gd name="connsiteY5" fmla="*/ 10573 h 21145"/>
                  <a:gd name="connsiteX6" fmla="*/ 10573 w 104203"/>
                  <a:gd name="connsiteY6" fmla="*/ 21145 h 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203" h="21145">
                    <a:moveTo>
                      <a:pt x="10573" y="21145"/>
                    </a:moveTo>
                    <a:lnTo>
                      <a:pt x="93631" y="21145"/>
                    </a:lnTo>
                    <a:cubicBezTo>
                      <a:pt x="99441" y="21145"/>
                      <a:pt x="104204" y="16383"/>
                      <a:pt x="104204" y="10573"/>
                    </a:cubicBezTo>
                    <a:cubicBezTo>
                      <a:pt x="104204" y="4763"/>
                      <a:pt x="99441" y="0"/>
                      <a:pt x="93631" y="0"/>
                    </a:cubicBezTo>
                    <a:lnTo>
                      <a:pt x="10573" y="0"/>
                    </a:lnTo>
                    <a:cubicBezTo>
                      <a:pt x="4763" y="0"/>
                      <a:pt x="0" y="4763"/>
                      <a:pt x="0" y="10573"/>
                    </a:cubicBezTo>
                    <a:cubicBezTo>
                      <a:pt x="0" y="16383"/>
                      <a:pt x="4763" y="21145"/>
                      <a:pt x="10573" y="21145"/>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02" name="Freeform: Shape 101">
                <a:extLst>
                  <a:ext uri="{FF2B5EF4-FFF2-40B4-BE49-F238E27FC236}">
                    <a16:creationId xmlns:a16="http://schemas.microsoft.com/office/drawing/2014/main" id="{85D9D12E-F063-416E-A076-A4A09A4BC0E7}"/>
                  </a:ext>
                </a:extLst>
              </p:cNvPr>
              <p:cNvSpPr/>
              <p:nvPr/>
            </p:nvSpPr>
            <p:spPr>
              <a:xfrm>
                <a:off x="3884554" y="4589997"/>
                <a:ext cx="34671" cy="34670"/>
              </a:xfrm>
              <a:custGeom>
                <a:avLst/>
                <a:gdLst>
                  <a:gd name="connsiteX0" fmla="*/ 0 w 34671"/>
                  <a:gd name="connsiteY0" fmla="*/ 17335 h 34670"/>
                  <a:gd name="connsiteX1" fmla="*/ 17336 w 34671"/>
                  <a:gd name="connsiteY1" fmla="*/ 0 h 34670"/>
                  <a:gd name="connsiteX2" fmla="*/ 34671 w 34671"/>
                  <a:gd name="connsiteY2" fmla="*/ 17335 h 34670"/>
                  <a:gd name="connsiteX3" fmla="*/ 17336 w 34671"/>
                  <a:gd name="connsiteY3" fmla="*/ 34671 h 34670"/>
                  <a:gd name="connsiteX4" fmla="*/ 0 w 34671"/>
                  <a:gd name="connsiteY4" fmla="*/ 17335 h 34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671" h="34670">
                    <a:moveTo>
                      <a:pt x="0" y="17335"/>
                    </a:moveTo>
                    <a:cubicBezTo>
                      <a:pt x="0" y="7715"/>
                      <a:pt x="7811" y="0"/>
                      <a:pt x="17336" y="0"/>
                    </a:cubicBezTo>
                    <a:cubicBezTo>
                      <a:pt x="26860" y="0"/>
                      <a:pt x="34671" y="7715"/>
                      <a:pt x="34671" y="17335"/>
                    </a:cubicBezTo>
                    <a:cubicBezTo>
                      <a:pt x="34671" y="26956"/>
                      <a:pt x="26860" y="34671"/>
                      <a:pt x="17336" y="34671"/>
                    </a:cubicBezTo>
                    <a:cubicBezTo>
                      <a:pt x="7811" y="34671"/>
                      <a:pt x="0" y="26860"/>
                      <a:pt x="0" y="17335"/>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5" name="Group 54">
              <a:extLst>
                <a:ext uri="{FF2B5EF4-FFF2-40B4-BE49-F238E27FC236}">
                  <a16:creationId xmlns:a16="http://schemas.microsoft.com/office/drawing/2014/main" id="{58FBBC21-86C7-4ED0-A2CC-AE9606EEB15A}"/>
                </a:ext>
              </a:extLst>
            </p:cNvPr>
            <p:cNvGrpSpPr/>
            <p:nvPr userDrawn="1"/>
          </p:nvGrpSpPr>
          <p:grpSpPr>
            <a:xfrm>
              <a:off x="9285241" y="1732264"/>
              <a:ext cx="920363" cy="213446"/>
              <a:chOff x="5848165" y="5132284"/>
              <a:chExt cx="2355762" cy="546337"/>
            </a:xfrm>
          </p:grpSpPr>
          <p:sp>
            <p:nvSpPr>
              <p:cNvPr id="83" name="Freeform: Shape 82">
                <a:extLst>
                  <a:ext uri="{FF2B5EF4-FFF2-40B4-BE49-F238E27FC236}">
                    <a16:creationId xmlns:a16="http://schemas.microsoft.com/office/drawing/2014/main" id="{AB2174CB-8E9E-4265-A171-7A8CA88D2680}"/>
                  </a:ext>
                </a:extLst>
              </p:cNvPr>
              <p:cNvSpPr/>
              <p:nvPr/>
            </p:nvSpPr>
            <p:spPr>
              <a:xfrm>
                <a:off x="6014047" y="5594831"/>
                <a:ext cx="218535" cy="83790"/>
              </a:xfrm>
              <a:custGeom>
                <a:avLst/>
                <a:gdLst>
                  <a:gd name="connsiteX0" fmla="*/ 218535 w 218535"/>
                  <a:gd name="connsiteY0" fmla="*/ 60012 h 83790"/>
                  <a:gd name="connsiteX1" fmla="*/ 218535 w 218535"/>
                  <a:gd name="connsiteY1" fmla="*/ 53785 h 83790"/>
                  <a:gd name="connsiteX2" fmla="*/ 100775 w 218535"/>
                  <a:gd name="connsiteY2" fmla="*/ 0 h 83790"/>
                  <a:gd name="connsiteX3" fmla="*/ 0 w 218535"/>
                  <a:gd name="connsiteY3" fmla="*/ 53785 h 83790"/>
                  <a:gd name="connsiteX4" fmla="*/ 566 w 218535"/>
                  <a:gd name="connsiteY4" fmla="*/ 62277 h 83790"/>
                  <a:gd name="connsiteX5" fmla="*/ 106437 w 218535"/>
                  <a:gd name="connsiteY5" fmla="*/ 83791 h 83790"/>
                  <a:gd name="connsiteX6" fmla="*/ 217403 w 218535"/>
                  <a:gd name="connsiteY6" fmla="*/ 60012 h 8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535" h="83790">
                    <a:moveTo>
                      <a:pt x="218535" y="60012"/>
                    </a:moveTo>
                    <a:cubicBezTo>
                      <a:pt x="218535" y="60012"/>
                      <a:pt x="218535" y="56049"/>
                      <a:pt x="218535" y="53785"/>
                    </a:cubicBezTo>
                    <a:cubicBezTo>
                      <a:pt x="218535" y="16985"/>
                      <a:pt x="181169" y="0"/>
                      <a:pt x="100775" y="0"/>
                    </a:cubicBezTo>
                    <a:cubicBezTo>
                      <a:pt x="36800" y="0"/>
                      <a:pt x="0" y="19815"/>
                      <a:pt x="0" y="53785"/>
                    </a:cubicBezTo>
                    <a:cubicBezTo>
                      <a:pt x="0" y="56615"/>
                      <a:pt x="0" y="59446"/>
                      <a:pt x="566" y="62277"/>
                    </a:cubicBezTo>
                    <a:cubicBezTo>
                      <a:pt x="32837" y="75865"/>
                      <a:pt x="68505" y="83791"/>
                      <a:pt x="106437" y="83791"/>
                    </a:cubicBezTo>
                    <a:cubicBezTo>
                      <a:pt x="146068" y="83791"/>
                      <a:pt x="183434" y="75298"/>
                      <a:pt x="217403" y="60012"/>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DC362329-79D7-4B46-8904-308B537E518F}"/>
                  </a:ext>
                </a:extLst>
              </p:cNvPr>
              <p:cNvSpPr/>
              <p:nvPr/>
            </p:nvSpPr>
            <p:spPr>
              <a:xfrm>
                <a:off x="6033297" y="5274954"/>
                <a:ext cx="169845" cy="171544"/>
              </a:xfrm>
              <a:custGeom>
                <a:avLst/>
                <a:gdLst>
                  <a:gd name="connsiteX0" fmla="*/ 85489 w 169845"/>
                  <a:gd name="connsiteY0" fmla="*/ 171544 h 171544"/>
                  <a:gd name="connsiteX1" fmla="*/ 169846 w 169845"/>
                  <a:gd name="connsiteY1" fmla="*/ 87188 h 171544"/>
                  <a:gd name="connsiteX2" fmla="*/ 82658 w 169845"/>
                  <a:gd name="connsiteY2" fmla="*/ 0 h 171544"/>
                  <a:gd name="connsiteX3" fmla="*/ 0 w 169845"/>
                  <a:gd name="connsiteY3" fmla="*/ 82658 h 171544"/>
                  <a:gd name="connsiteX4" fmla="*/ 85489 w 169845"/>
                  <a:gd name="connsiteY4" fmla="*/ 170978 h 171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845" h="171544">
                    <a:moveTo>
                      <a:pt x="85489" y="171544"/>
                    </a:moveTo>
                    <a:cubicBezTo>
                      <a:pt x="138141" y="171544"/>
                      <a:pt x="169846" y="139840"/>
                      <a:pt x="169846" y="87188"/>
                    </a:cubicBezTo>
                    <a:cubicBezTo>
                      <a:pt x="169846" y="34535"/>
                      <a:pt x="136443" y="0"/>
                      <a:pt x="82658" y="0"/>
                    </a:cubicBezTo>
                    <a:cubicBezTo>
                      <a:pt x="32271" y="0"/>
                      <a:pt x="0" y="32271"/>
                      <a:pt x="0" y="82658"/>
                    </a:cubicBezTo>
                    <a:cubicBezTo>
                      <a:pt x="0" y="138707"/>
                      <a:pt x="31138" y="170978"/>
                      <a:pt x="85489" y="170978"/>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7989B78B-D8A6-43C7-88DF-BAD426D55497}"/>
                  </a:ext>
                </a:extLst>
              </p:cNvPr>
              <p:cNvSpPr/>
              <p:nvPr/>
            </p:nvSpPr>
            <p:spPr>
              <a:xfrm>
                <a:off x="5848165" y="5132284"/>
                <a:ext cx="546337" cy="498214"/>
              </a:xfrm>
              <a:custGeom>
                <a:avLst/>
                <a:gdLst>
                  <a:gd name="connsiteX0" fmla="*/ 272886 w 546337"/>
                  <a:gd name="connsiteY0" fmla="*/ 0 h 498214"/>
                  <a:gd name="connsiteX1" fmla="*/ 0 w 546337"/>
                  <a:gd name="connsiteY1" fmla="*/ 272886 h 498214"/>
                  <a:gd name="connsiteX2" fmla="*/ 118892 w 546337"/>
                  <a:gd name="connsiteY2" fmla="*/ 498215 h 498214"/>
                  <a:gd name="connsiteX3" fmla="*/ 175507 w 546337"/>
                  <a:gd name="connsiteY3" fmla="*/ 449526 h 498214"/>
                  <a:gd name="connsiteX4" fmla="*/ 131914 w 546337"/>
                  <a:gd name="connsiteY4" fmla="*/ 393476 h 498214"/>
                  <a:gd name="connsiteX5" fmla="*/ 181169 w 546337"/>
                  <a:gd name="connsiteY5" fmla="*/ 331766 h 498214"/>
                  <a:gd name="connsiteX6" fmla="*/ 134744 w 546337"/>
                  <a:gd name="connsiteY6" fmla="*/ 230990 h 498214"/>
                  <a:gd name="connsiteX7" fmla="*/ 272886 w 546337"/>
                  <a:gd name="connsiteY7" fmla="*/ 100209 h 498214"/>
                  <a:gd name="connsiteX8" fmla="*/ 360073 w 546337"/>
                  <a:gd name="connsiteY8" fmla="*/ 127384 h 498214"/>
                  <a:gd name="connsiteX9" fmla="*/ 428012 w 546337"/>
                  <a:gd name="connsiteY9" fmla="*/ 95114 h 498214"/>
                  <a:gd name="connsiteX10" fmla="*/ 438202 w 546337"/>
                  <a:gd name="connsiteY10" fmla="*/ 95114 h 498214"/>
                  <a:gd name="connsiteX11" fmla="*/ 438202 w 546337"/>
                  <a:gd name="connsiteY11" fmla="*/ 145501 h 498214"/>
                  <a:gd name="connsiteX12" fmla="*/ 426313 w 546337"/>
                  <a:gd name="connsiteY12" fmla="*/ 145501 h 498214"/>
                  <a:gd name="connsiteX13" fmla="*/ 384418 w 546337"/>
                  <a:gd name="connsiteY13" fmla="*/ 156258 h 498214"/>
                  <a:gd name="connsiteX14" fmla="*/ 404799 w 546337"/>
                  <a:gd name="connsiteY14" fmla="*/ 229292 h 498214"/>
                  <a:gd name="connsiteX15" fmla="*/ 269489 w 546337"/>
                  <a:gd name="connsiteY15" fmla="*/ 358941 h 498214"/>
                  <a:gd name="connsiteX16" fmla="*/ 214572 w 546337"/>
                  <a:gd name="connsiteY16" fmla="*/ 351015 h 498214"/>
                  <a:gd name="connsiteX17" fmla="*/ 184000 w 546337"/>
                  <a:gd name="connsiteY17" fmla="*/ 383286 h 498214"/>
                  <a:gd name="connsiteX18" fmla="*/ 253637 w 546337"/>
                  <a:gd name="connsiteY18" fmla="*/ 411027 h 498214"/>
                  <a:gd name="connsiteX19" fmla="*/ 289870 w 546337"/>
                  <a:gd name="connsiteY19" fmla="*/ 413858 h 498214"/>
                  <a:gd name="connsiteX20" fmla="*/ 435372 w 546337"/>
                  <a:gd name="connsiteY20" fmla="*/ 493685 h 498214"/>
                  <a:gd name="connsiteX21" fmla="*/ 546338 w 546337"/>
                  <a:gd name="connsiteY21" fmla="*/ 274018 h 498214"/>
                  <a:gd name="connsiteX22" fmla="*/ 272886 w 546337"/>
                  <a:gd name="connsiteY22" fmla="*/ 0 h 498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6337" h="498214">
                    <a:moveTo>
                      <a:pt x="272886" y="0"/>
                    </a:moveTo>
                    <a:cubicBezTo>
                      <a:pt x="122289" y="0"/>
                      <a:pt x="0" y="122289"/>
                      <a:pt x="0" y="272886"/>
                    </a:cubicBezTo>
                    <a:cubicBezTo>
                      <a:pt x="0" y="366301"/>
                      <a:pt x="46991" y="448959"/>
                      <a:pt x="118892" y="498215"/>
                    </a:cubicBezTo>
                    <a:cubicBezTo>
                      <a:pt x="126252" y="477267"/>
                      <a:pt x="143803" y="461981"/>
                      <a:pt x="175507" y="449526"/>
                    </a:cubicBezTo>
                    <a:cubicBezTo>
                      <a:pt x="146068" y="438769"/>
                      <a:pt x="131914" y="420652"/>
                      <a:pt x="131914" y="393476"/>
                    </a:cubicBezTo>
                    <a:cubicBezTo>
                      <a:pt x="131914" y="366301"/>
                      <a:pt x="150597" y="349316"/>
                      <a:pt x="181169" y="331766"/>
                    </a:cubicBezTo>
                    <a:cubicBezTo>
                      <a:pt x="150597" y="309120"/>
                      <a:pt x="134744" y="275150"/>
                      <a:pt x="134744" y="230990"/>
                    </a:cubicBezTo>
                    <a:cubicBezTo>
                      <a:pt x="134744" y="150031"/>
                      <a:pt x="187397" y="100209"/>
                      <a:pt x="272886" y="100209"/>
                    </a:cubicBezTo>
                    <a:cubicBezTo>
                      <a:pt x="307421" y="100209"/>
                      <a:pt x="336861" y="109268"/>
                      <a:pt x="360073" y="127384"/>
                    </a:cubicBezTo>
                    <a:cubicBezTo>
                      <a:pt x="386116" y="104738"/>
                      <a:pt x="406498" y="95114"/>
                      <a:pt x="428012" y="95114"/>
                    </a:cubicBezTo>
                    <a:lnTo>
                      <a:pt x="438202" y="95114"/>
                    </a:lnTo>
                    <a:lnTo>
                      <a:pt x="438202" y="145501"/>
                    </a:lnTo>
                    <a:lnTo>
                      <a:pt x="426313" y="145501"/>
                    </a:lnTo>
                    <a:cubicBezTo>
                      <a:pt x="405366" y="145501"/>
                      <a:pt x="391212" y="147200"/>
                      <a:pt x="384418" y="156258"/>
                    </a:cubicBezTo>
                    <a:cubicBezTo>
                      <a:pt x="398572" y="176640"/>
                      <a:pt x="404799" y="199286"/>
                      <a:pt x="404799" y="229292"/>
                    </a:cubicBezTo>
                    <a:cubicBezTo>
                      <a:pt x="404799" y="309120"/>
                      <a:pt x="353280" y="358941"/>
                      <a:pt x="269489" y="358941"/>
                    </a:cubicBezTo>
                    <a:cubicBezTo>
                      <a:pt x="251938" y="358941"/>
                      <a:pt x="233255" y="356110"/>
                      <a:pt x="214572" y="351015"/>
                    </a:cubicBezTo>
                    <a:cubicBezTo>
                      <a:pt x="195323" y="358375"/>
                      <a:pt x="184000" y="370264"/>
                      <a:pt x="184000" y="383286"/>
                    </a:cubicBezTo>
                    <a:cubicBezTo>
                      <a:pt x="184000" y="405932"/>
                      <a:pt x="207212" y="407630"/>
                      <a:pt x="253637" y="411027"/>
                    </a:cubicBezTo>
                    <a:lnTo>
                      <a:pt x="289870" y="413858"/>
                    </a:lnTo>
                    <a:cubicBezTo>
                      <a:pt x="377058" y="422350"/>
                      <a:pt x="425747" y="437636"/>
                      <a:pt x="435372" y="493685"/>
                    </a:cubicBezTo>
                    <a:cubicBezTo>
                      <a:pt x="502744" y="443864"/>
                      <a:pt x="546338" y="364036"/>
                      <a:pt x="546338" y="274018"/>
                    </a:cubicBezTo>
                    <a:cubicBezTo>
                      <a:pt x="546338" y="122289"/>
                      <a:pt x="424049" y="0"/>
                      <a:pt x="272886" y="0"/>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69FAB3E4-ADAB-450E-9381-D5EA5B604E87}"/>
                  </a:ext>
                </a:extLst>
              </p:cNvPr>
              <p:cNvSpPr/>
              <p:nvPr/>
            </p:nvSpPr>
            <p:spPr>
              <a:xfrm>
                <a:off x="6513961" y="5251742"/>
                <a:ext cx="234953" cy="378190"/>
              </a:xfrm>
              <a:custGeom>
                <a:avLst/>
                <a:gdLst>
                  <a:gd name="connsiteX0" fmla="*/ 176640 w 234953"/>
                  <a:gd name="connsiteY0" fmla="*/ 25477 h 378190"/>
                  <a:gd name="connsiteX1" fmla="*/ 114363 w 234953"/>
                  <a:gd name="connsiteY1" fmla="*/ 5095 h 378190"/>
                  <a:gd name="connsiteX2" fmla="*/ 14154 w 234953"/>
                  <a:gd name="connsiteY2" fmla="*/ 100209 h 378190"/>
                  <a:gd name="connsiteX3" fmla="*/ 48689 w 234953"/>
                  <a:gd name="connsiteY3" fmla="*/ 173809 h 378190"/>
                  <a:gd name="connsiteX4" fmla="*/ 12455 w 234953"/>
                  <a:gd name="connsiteY4" fmla="*/ 217403 h 378190"/>
                  <a:gd name="connsiteX5" fmla="*/ 43594 w 234953"/>
                  <a:gd name="connsiteY5" fmla="*/ 258166 h 378190"/>
                  <a:gd name="connsiteX6" fmla="*/ 0 w 234953"/>
                  <a:gd name="connsiteY6" fmla="*/ 311950 h 378190"/>
                  <a:gd name="connsiteX7" fmla="*/ 111532 w 234953"/>
                  <a:gd name="connsiteY7" fmla="*/ 378190 h 378190"/>
                  <a:gd name="connsiteX8" fmla="*/ 233821 w 234953"/>
                  <a:gd name="connsiteY8" fmla="*/ 304590 h 378190"/>
                  <a:gd name="connsiteX9" fmla="*/ 126818 w 234953"/>
                  <a:gd name="connsiteY9" fmla="*/ 230990 h 378190"/>
                  <a:gd name="connsiteX10" fmla="*/ 100775 w 234953"/>
                  <a:gd name="connsiteY10" fmla="*/ 229292 h 378190"/>
                  <a:gd name="connsiteX11" fmla="*/ 50954 w 234953"/>
                  <a:gd name="connsiteY11" fmla="*/ 209477 h 378190"/>
                  <a:gd name="connsiteX12" fmla="*/ 73034 w 234953"/>
                  <a:gd name="connsiteY12" fmla="*/ 186264 h 378190"/>
                  <a:gd name="connsiteX13" fmla="*/ 112664 w 234953"/>
                  <a:gd name="connsiteY13" fmla="*/ 191926 h 378190"/>
                  <a:gd name="connsiteX14" fmla="*/ 210609 w 234953"/>
                  <a:gd name="connsiteY14" fmla="*/ 97944 h 378190"/>
                  <a:gd name="connsiteX15" fmla="*/ 195323 w 234953"/>
                  <a:gd name="connsiteY15" fmla="*/ 44160 h 378190"/>
                  <a:gd name="connsiteX16" fmla="*/ 225895 w 234953"/>
                  <a:gd name="connsiteY16" fmla="*/ 37366 h 378190"/>
                  <a:gd name="connsiteX17" fmla="*/ 233821 w 234953"/>
                  <a:gd name="connsiteY17" fmla="*/ 37366 h 378190"/>
                  <a:gd name="connsiteX18" fmla="*/ 234954 w 234953"/>
                  <a:gd name="connsiteY18" fmla="*/ 1132 h 378190"/>
                  <a:gd name="connsiteX19" fmla="*/ 227027 w 234953"/>
                  <a:gd name="connsiteY19" fmla="*/ 0 h 378190"/>
                  <a:gd name="connsiteX20" fmla="*/ 177206 w 234953"/>
                  <a:gd name="connsiteY20" fmla="*/ 23778 h 378190"/>
                  <a:gd name="connsiteX21" fmla="*/ 37932 w 234953"/>
                  <a:gd name="connsiteY21" fmla="*/ 305156 h 378190"/>
                  <a:gd name="connsiteX22" fmla="*/ 110400 w 234953"/>
                  <a:gd name="connsiteY22" fmla="*/ 266658 h 378190"/>
                  <a:gd name="connsiteX23" fmla="*/ 195323 w 234953"/>
                  <a:gd name="connsiteY23" fmla="*/ 305156 h 378190"/>
                  <a:gd name="connsiteX24" fmla="*/ 110966 w 234953"/>
                  <a:gd name="connsiteY24" fmla="*/ 344787 h 378190"/>
                  <a:gd name="connsiteX25" fmla="*/ 37932 w 234953"/>
                  <a:gd name="connsiteY25" fmla="*/ 305156 h 378190"/>
                  <a:gd name="connsiteX26" fmla="*/ 51520 w 234953"/>
                  <a:gd name="connsiteY26" fmla="*/ 95114 h 378190"/>
                  <a:gd name="connsiteX27" fmla="*/ 110966 w 234953"/>
                  <a:gd name="connsiteY27" fmla="*/ 35668 h 378190"/>
                  <a:gd name="connsiteX28" fmla="*/ 173809 w 234953"/>
                  <a:gd name="connsiteY28" fmla="*/ 98511 h 378190"/>
                  <a:gd name="connsiteX29" fmla="*/ 113231 w 234953"/>
                  <a:gd name="connsiteY29" fmla="*/ 159089 h 378190"/>
                  <a:gd name="connsiteX30" fmla="*/ 51520 w 234953"/>
                  <a:gd name="connsiteY30" fmla="*/ 95114 h 378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4953" h="378190">
                    <a:moveTo>
                      <a:pt x="176640" y="25477"/>
                    </a:moveTo>
                    <a:cubicBezTo>
                      <a:pt x="160787" y="11889"/>
                      <a:pt x="139274" y="5095"/>
                      <a:pt x="114363" y="5095"/>
                    </a:cubicBezTo>
                    <a:cubicBezTo>
                      <a:pt x="52652" y="5095"/>
                      <a:pt x="14154" y="41329"/>
                      <a:pt x="14154" y="100209"/>
                    </a:cubicBezTo>
                    <a:cubicBezTo>
                      <a:pt x="14154" y="133046"/>
                      <a:pt x="25477" y="157391"/>
                      <a:pt x="48689" y="173809"/>
                    </a:cubicBezTo>
                    <a:cubicBezTo>
                      <a:pt x="26043" y="185132"/>
                      <a:pt x="12455" y="197021"/>
                      <a:pt x="12455" y="217403"/>
                    </a:cubicBezTo>
                    <a:cubicBezTo>
                      <a:pt x="12455" y="237784"/>
                      <a:pt x="22646" y="250240"/>
                      <a:pt x="43594" y="258166"/>
                    </a:cubicBezTo>
                    <a:cubicBezTo>
                      <a:pt x="13021" y="271187"/>
                      <a:pt x="0" y="286473"/>
                      <a:pt x="0" y="311950"/>
                    </a:cubicBezTo>
                    <a:cubicBezTo>
                      <a:pt x="0" y="356110"/>
                      <a:pt x="37366" y="378190"/>
                      <a:pt x="111532" y="378190"/>
                    </a:cubicBezTo>
                    <a:cubicBezTo>
                      <a:pt x="191360" y="378190"/>
                      <a:pt x="233821" y="352713"/>
                      <a:pt x="233821" y="304590"/>
                    </a:cubicBezTo>
                    <a:cubicBezTo>
                      <a:pt x="233821" y="250806"/>
                      <a:pt x="197587" y="237784"/>
                      <a:pt x="126818" y="230990"/>
                    </a:cubicBezTo>
                    <a:lnTo>
                      <a:pt x="100775" y="229292"/>
                    </a:lnTo>
                    <a:cubicBezTo>
                      <a:pt x="67372" y="227027"/>
                      <a:pt x="50954" y="225895"/>
                      <a:pt x="50954" y="209477"/>
                    </a:cubicBezTo>
                    <a:cubicBezTo>
                      <a:pt x="50954" y="200418"/>
                      <a:pt x="59446" y="191360"/>
                      <a:pt x="73034" y="186264"/>
                    </a:cubicBezTo>
                    <a:cubicBezTo>
                      <a:pt x="86621" y="190227"/>
                      <a:pt x="99643" y="191926"/>
                      <a:pt x="112664" y="191926"/>
                    </a:cubicBezTo>
                    <a:cubicBezTo>
                      <a:pt x="173243" y="191926"/>
                      <a:pt x="210609" y="155692"/>
                      <a:pt x="210609" y="97944"/>
                    </a:cubicBezTo>
                    <a:cubicBezTo>
                      <a:pt x="210609" y="75865"/>
                      <a:pt x="206080" y="59446"/>
                      <a:pt x="195323" y="44160"/>
                    </a:cubicBezTo>
                    <a:cubicBezTo>
                      <a:pt x="200418" y="39065"/>
                      <a:pt x="210609" y="37366"/>
                      <a:pt x="225895" y="37366"/>
                    </a:cubicBezTo>
                    <a:lnTo>
                      <a:pt x="233821" y="37366"/>
                    </a:lnTo>
                    <a:lnTo>
                      <a:pt x="234954" y="1132"/>
                    </a:lnTo>
                    <a:lnTo>
                      <a:pt x="227027" y="0"/>
                    </a:lnTo>
                    <a:cubicBezTo>
                      <a:pt x="211175" y="0"/>
                      <a:pt x="195889" y="7360"/>
                      <a:pt x="177206" y="23778"/>
                    </a:cubicBezTo>
                    <a:moveTo>
                      <a:pt x="37932" y="305156"/>
                    </a:moveTo>
                    <a:cubicBezTo>
                      <a:pt x="37932" y="280812"/>
                      <a:pt x="64541" y="266658"/>
                      <a:pt x="110400" y="266658"/>
                    </a:cubicBezTo>
                    <a:cubicBezTo>
                      <a:pt x="168147" y="266658"/>
                      <a:pt x="195323" y="279113"/>
                      <a:pt x="195323" y="305156"/>
                    </a:cubicBezTo>
                    <a:cubicBezTo>
                      <a:pt x="195323" y="331200"/>
                      <a:pt x="167581" y="344787"/>
                      <a:pt x="110966" y="344787"/>
                    </a:cubicBezTo>
                    <a:cubicBezTo>
                      <a:pt x="63409" y="344787"/>
                      <a:pt x="37932" y="331200"/>
                      <a:pt x="37932" y="305156"/>
                    </a:cubicBezTo>
                    <a:moveTo>
                      <a:pt x="51520" y="95114"/>
                    </a:moveTo>
                    <a:cubicBezTo>
                      <a:pt x="51520" y="58880"/>
                      <a:pt x="74732" y="35668"/>
                      <a:pt x="110966" y="35668"/>
                    </a:cubicBezTo>
                    <a:cubicBezTo>
                      <a:pt x="149464" y="35668"/>
                      <a:pt x="173809" y="59446"/>
                      <a:pt x="173809" y="98511"/>
                    </a:cubicBezTo>
                    <a:cubicBezTo>
                      <a:pt x="173809" y="137575"/>
                      <a:pt x="151163" y="159089"/>
                      <a:pt x="113231" y="159089"/>
                    </a:cubicBezTo>
                    <a:cubicBezTo>
                      <a:pt x="75298" y="159089"/>
                      <a:pt x="51520" y="135877"/>
                      <a:pt x="51520" y="95114"/>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E362BB20-654E-4314-BA42-5B69F0ED4A20}"/>
                  </a:ext>
                </a:extLst>
              </p:cNvPr>
              <p:cNvSpPr/>
              <p:nvPr/>
            </p:nvSpPr>
            <p:spPr>
              <a:xfrm>
                <a:off x="6768729" y="5256837"/>
                <a:ext cx="226461" cy="280245"/>
              </a:xfrm>
              <a:custGeom>
                <a:avLst/>
                <a:gdLst>
                  <a:gd name="connsiteX0" fmla="*/ 0 w 226461"/>
                  <a:gd name="connsiteY0" fmla="*/ 139840 h 280245"/>
                  <a:gd name="connsiteX1" fmla="*/ 113231 w 226461"/>
                  <a:gd name="connsiteY1" fmla="*/ 280246 h 280245"/>
                  <a:gd name="connsiteX2" fmla="*/ 226461 w 226461"/>
                  <a:gd name="connsiteY2" fmla="*/ 139840 h 280245"/>
                  <a:gd name="connsiteX3" fmla="*/ 113231 w 226461"/>
                  <a:gd name="connsiteY3" fmla="*/ 0 h 280245"/>
                  <a:gd name="connsiteX4" fmla="*/ 0 w 226461"/>
                  <a:gd name="connsiteY4" fmla="*/ 139840 h 280245"/>
                  <a:gd name="connsiteX5" fmla="*/ 40197 w 226461"/>
                  <a:gd name="connsiteY5" fmla="*/ 139840 h 280245"/>
                  <a:gd name="connsiteX6" fmla="*/ 113231 w 226461"/>
                  <a:gd name="connsiteY6" fmla="*/ 33969 h 280245"/>
                  <a:gd name="connsiteX7" fmla="*/ 185698 w 226461"/>
                  <a:gd name="connsiteY7" fmla="*/ 140406 h 280245"/>
                  <a:gd name="connsiteX8" fmla="*/ 113231 w 226461"/>
                  <a:gd name="connsiteY8" fmla="*/ 246843 h 280245"/>
                  <a:gd name="connsiteX9" fmla="*/ 40197 w 226461"/>
                  <a:gd name="connsiteY9" fmla="*/ 139840 h 280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461" h="280245">
                    <a:moveTo>
                      <a:pt x="0" y="139840"/>
                    </a:moveTo>
                    <a:cubicBezTo>
                      <a:pt x="0" y="229292"/>
                      <a:pt x="41329" y="280246"/>
                      <a:pt x="113231" y="280246"/>
                    </a:cubicBezTo>
                    <a:cubicBezTo>
                      <a:pt x="185132" y="280246"/>
                      <a:pt x="226461" y="229292"/>
                      <a:pt x="226461" y="139840"/>
                    </a:cubicBezTo>
                    <a:cubicBezTo>
                      <a:pt x="226461" y="50388"/>
                      <a:pt x="185132" y="0"/>
                      <a:pt x="113231" y="0"/>
                    </a:cubicBezTo>
                    <a:cubicBezTo>
                      <a:pt x="41329" y="0"/>
                      <a:pt x="0" y="50954"/>
                      <a:pt x="0" y="139840"/>
                    </a:cubicBezTo>
                    <a:moveTo>
                      <a:pt x="40197" y="139840"/>
                    </a:moveTo>
                    <a:cubicBezTo>
                      <a:pt x="40197" y="70769"/>
                      <a:pt x="65674" y="33969"/>
                      <a:pt x="113231" y="33969"/>
                    </a:cubicBezTo>
                    <a:cubicBezTo>
                      <a:pt x="160787" y="33969"/>
                      <a:pt x="185698" y="70769"/>
                      <a:pt x="185698" y="140406"/>
                    </a:cubicBezTo>
                    <a:cubicBezTo>
                      <a:pt x="185698" y="210043"/>
                      <a:pt x="160221" y="246843"/>
                      <a:pt x="113231" y="246843"/>
                    </a:cubicBezTo>
                    <a:cubicBezTo>
                      <a:pt x="66240" y="246843"/>
                      <a:pt x="40197" y="208910"/>
                      <a:pt x="40197" y="139840"/>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3DEF3902-450A-4B56-B3E1-56D1257E772E}"/>
                  </a:ext>
                </a:extLst>
              </p:cNvPr>
              <p:cNvSpPr/>
              <p:nvPr/>
            </p:nvSpPr>
            <p:spPr>
              <a:xfrm>
                <a:off x="7017837" y="5175877"/>
                <a:ext cx="143236" cy="361205"/>
              </a:xfrm>
              <a:custGeom>
                <a:avLst/>
                <a:gdLst>
                  <a:gd name="connsiteX0" fmla="*/ 40197 w 143236"/>
                  <a:gd name="connsiteY0" fmla="*/ 87188 h 361205"/>
                  <a:gd name="connsiteX1" fmla="*/ 0 w 143236"/>
                  <a:gd name="connsiteY1" fmla="*/ 87188 h 361205"/>
                  <a:gd name="connsiteX2" fmla="*/ 0 w 143236"/>
                  <a:gd name="connsiteY2" fmla="*/ 120024 h 361205"/>
                  <a:gd name="connsiteX3" fmla="*/ 40197 w 143236"/>
                  <a:gd name="connsiteY3" fmla="*/ 120024 h 361205"/>
                  <a:gd name="connsiteX4" fmla="*/ 40197 w 143236"/>
                  <a:gd name="connsiteY4" fmla="*/ 307987 h 361205"/>
                  <a:gd name="connsiteX5" fmla="*/ 102474 w 143236"/>
                  <a:gd name="connsiteY5" fmla="*/ 361206 h 361205"/>
                  <a:gd name="connsiteX6" fmla="*/ 142671 w 143236"/>
                  <a:gd name="connsiteY6" fmla="*/ 355544 h 361205"/>
                  <a:gd name="connsiteX7" fmla="*/ 143237 w 143236"/>
                  <a:gd name="connsiteY7" fmla="*/ 355544 h 361205"/>
                  <a:gd name="connsiteX8" fmla="*/ 143237 w 143236"/>
                  <a:gd name="connsiteY8" fmla="*/ 322141 h 361205"/>
                  <a:gd name="connsiteX9" fmla="*/ 140972 w 143236"/>
                  <a:gd name="connsiteY9" fmla="*/ 322141 h 361205"/>
                  <a:gd name="connsiteX10" fmla="*/ 116061 w 143236"/>
                  <a:gd name="connsiteY10" fmla="*/ 326670 h 361205"/>
                  <a:gd name="connsiteX11" fmla="*/ 81526 w 143236"/>
                  <a:gd name="connsiteY11" fmla="*/ 291003 h 361205"/>
                  <a:gd name="connsiteX12" fmla="*/ 81526 w 143236"/>
                  <a:gd name="connsiteY12" fmla="*/ 119458 h 361205"/>
                  <a:gd name="connsiteX13" fmla="*/ 141538 w 143236"/>
                  <a:gd name="connsiteY13" fmla="*/ 119458 h 361205"/>
                  <a:gd name="connsiteX14" fmla="*/ 141538 w 143236"/>
                  <a:gd name="connsiteY14" fmla="*/ 86621 h 361205"/>
                  <a:gd name="connsiteX15" fmla="*/ 80394 w 143236"/>
                  <a:gd name="connsiteY15" fmla="*/ 86621 h 361205"/>
                  <a:gd name="connsiteX16" fmla="*/ 80394 w 143236"/>
                  <a:gd name="connsiteY16" fmla="*/ 0 h 361205"/>
                  <a:gd name="connsiteX17" fmla="*/ 40197 w 143236"/>
                  <a:gd name="connsiteY17" fmla="*/ 0 h 361205"/>
                  <a:gd name="connsiteX18" fmla="*/ 40197 w 143236"/>
                  <a:gd name="connsiteY18" fmla="*/ 86621 h 36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3236" h="361205">
                    <a:moveTo>
                      <a:pt x="40197" y="87188"/>
                    </a:moveTo>
                    <a:lnTo>
                      <a:pt x="0" y="87188"/>
                    </a:lnTo>
                    <a:lnTo>
                      <a:pt x="0" y="120024"/>
                    </a:lnTo>
                    <a:lnTo>
                      <a:pt x="40197" y="120024"/>
                    </a:lnTo>
                    <a:lnTo>
                      <a:pt x="40197" y="307987"/>
                    </a:lnTo>
                    <a:cubicBezTo>
                      <a:pt x="40197" y="343655"/>
                      <a:pt x="61145" y="361206"/>
                      <a:pt x="102474" y="361206"/>
                    </a:cubicBezTo>
                    <a:cubicBezTo>
                      <a:pt x="118326" y="361206"/>
                      <a:pt x="131348" y="359507"/>
                      <a:pt x="142671" y="355544"/>
                    </a:cubicBezTo>
                    <a:lnTo>
                      <a:pt x="143237" y="355544"/>
                    </a:lnTo>
                    <a:lnTo>
                      <a:pt x="143237" y="322141"/>
                    </a:lnTo>
                    <a:lnTo>
                      <a:pt x="140972" y="322141"/>
                    </a:lnTo>
                    <a:lnTo>
                      <a:pt x="116061" y="326670"/>
                    </a:lnTo>
                    <a:cubicBezTo>
                      <a:pt x="86055" y="326670"/>
                      <a:pt x="81526" y="318744"/>
                      <a:pt x="81526" y="291003"/>
                    </a:cubicBezTo>
                    <a:lnTo>
                      <a:pt x="81526" y="119458"/>
                    </a:lnTo>
                    <a:lnTo>
                      <a:pt x="141538" y="119458"/>
                    </a:lnTo>
                    <a:lnTo>
                      <a:pt x="141538" y="86621"/>
                    </a:lnTo>
                    <a:lnTo>
                      <a:pt x="80394" y="86621"/>
                    </a:lnTo>
                    <a:lnTo>
                      <a:pt x="80394" y="0"/>
                    </a:lnTo>
                    <a:lnTo>
                      <a:pt x="40197" y="0"/>
                    </a:lnTo>
                    <a:lnTo>
                      <a:pt x="40197" y="86621"/>
                    </a:ln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62C0B333-12EF-4506-9449-57F3D2AA5A1E}"/>
                  </a:ext>
                </a:extLst>
              </p:cNvPr>
              <p:cNvSpPr/>
              <p:nvPr/>
            </p:nvSpPr>
            <p:spPr>
              <a:xfrm>
                <a:off x="7212593" y="5175877"/>
                <a:ext cx="202682" cy="355544"/>
              </a:xfrm>
              <a:custGeom>
                <a:avLst/>
                <a:gdLst>
                  <a:gd name="connsiteX0" fmla="*/ 0 w 202682"/>
                  <a:gd name="connsiteY0" fmla="*/ 0 h 355544"/>
                  <a:gd name="connsiteX1" fmla="*/ 0 w 202682"/>
                  <a:gd name="connsiteY1" fmla="*/ 355544 h 355544"/>
                  <a:gd name="connsiteX2" fmla="*/ 39065 w 202682"/>
                  <a:gd name="connsiteY2" fmla="*/ 355544 h 355544"/>
                  <a:gd name="connsiteX3" fmla="*/ 39065 w 202682"/>
                  <a:gd name="connsiteY3" fmla="*/ 155126 h 355544"/>
                  <a:gd name="connsiteX4" fmla="*/ 119458 w 202682"/>
                  <a:gd name="connsiteY4" fmla="*/ 115495 h 355544"/>
                  <a:gd name="connsiteX5" fmla="*/ 164184 w 202682"/>
                  <a:gd name="connsiteY5" fmla="*/ 170412 h 355544"/>
                  <a:gd name="connsiteX6" fmla="*/ 164184 w 202682"/>
                  <a:gd name="connsiteY6" fmla="*/ 355544 h 355544"/>
                  <a:gd name="connsiteX7" fmla="*/ 202683 w 202682"/>
                  <a:gd name="connsiteY7" fmla="*/ 355544 h 355544"/>
                  <a:gd name="connsiteX8" fmla="*/ 202683 w 202682"/>
                  <a:gd name="connsiteY8" fmla="*/ 156824 h 355544"/>
                  <a:gd name="connsiteX9" fmla="*/ 129083 w 202682"/>
                  <a:gd name="connsiteY9" fmla="*/ 81526 h 355544"/>
                  <a:gd name="connsiteX10" fmla="*/ 39065 w 202682"/>
                  <a:gd name="connsiteY10" fmla="*/ 124554 h 355544"/>
                  <a:gd name="connsiteX11" fmla="*/ 39065 w 202682"/>
                  <a:gd name="connsiteY11" fmla="*/ 0 h 355544"/>
                  <a:gd name="connsiteX12" fmla="*/ 0 w 202682"/>
                  <a:gd name="connsiteY12" fmla="*/ 0 h 355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2682" h="355544">
                    <a:moveTo>
                      <a:pt x="0" y="0"/>
                    </a:moveTo>
                    <a:lnTo>
                      <a:pt x="0" y="355544"/>
                    </a:lnTo>
                    <a:lnTo>
                      <a:pt x="39065" y="355544"/>
                    </a:lnTo>
                    <a:lnTo>
                      <a:pt x="39065" y="155126"/>
                    </a:lnTo>
                    <a:cubicBezTo>
                      <a:pt x="64541" y="128517"/>
                      <a:pt x="90585" y="115495"/>
                      <a:pt x="119458" y="115495"/>
                    </a:cubicBezTo>
                    <a:cubicBezTo>
                      <a:pt x="151729" y="115495"/>
                      <a:pt x="164184" y="130781"/>
                      <a:pt x="164184" y="170412"/>
                    </a:cubicBezTo>
                    <a:lnTo>
                      <a:pt x="164184" y="355544"/>
                    </a:lnTo>
                    <a:lnTo>
                      <a:pt x="202683" y="355544"/>
                    </a:lnTo>
                    <a:lnTo>
                      <a:pt x="202683" y="156824"/>
                    </a:lnTo>
                    <a:cubicBezTo>
                      <a:pt x="202683" y="108701"/>
                      <a:pt x="176074" y="81526"/>
                      <a:pt x="129083" y="81526"/>
                    </a:cubicBezTo>
                    <a:cubicBezTo>
                      <a:pt x="95680" y="81526"/>
                      <a:pt x="68504" y="94548"/>
                      <a:pt x="39065" y="124554"/>
                    </a:cubicBezTo>
                    <a:lnTo>
                      <a:pt x="39065" y="0"/>
                    </a:lnTo>
                    <a:lnTo>
                      <a:pt x="0" y="0"/>
                    </a:ln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D73C3A47-A38A-406E-871A-EDB7A5B63556}"/>
                  </a:ext>
                </a:extLst>
              </p:cNvPr>
              <p:cNvSpPr/>
              <p:nvPr/>
            </p:nvSpPr>
            <p:spPr>
              <a:xfrm>
                <a:off x="7474722" y="5256837"/>
                <a:ext cx="206645" cy="280245"/>
              </a:xfrm>
              <a:custGeom>
                <a:avLst/>
                <a:gdLst>
                  <a:gd name="connsiteX0" fmla="*/ 9058 w 206645"/>
                  <a:gd name="connsiteY0" fmla="*/ 57748 h 280245"/>
                  <a:gd name="connsiteX1" fmla="*/ 41895 w 206645"/>
                  <a:gd name="connsiteY1" fmla="*/ 76431 h 280245"/>
                  <a:gd name="connsiteX2" fmla="*/ 108135 w 206645"/>
                  <a:gd name="connsiteY2" fmla="*/ 34535 h 280245"/>
                  <a:gd name="connsiteX3" fmla="*/ 160787 w 206645"/>
                  <a:gd name="connsiteY3" fmla="*/ 75865 h 280245"/>
                  <a:gd name="connsiteX4" fmla="*/ 160787 w 206645"/>
                  <a:gd name="connsiteY4" fmla="*/ 95680 h 280245"/>
                  <a:gd name="connsiteX5" fmla="*/ 0 w 206645"/>
                  <a:gd name="connsiteY5" fmla="*/ 204947 h 280245"/>
                  <a:gd name="connsiteX6" fmla="*/ 74732 w 206645"/>
                  <a:gd name="connsiteY6" fmla="*/ 280246 h 280245"/>
                  <a:gd name="connsiteX7" fmla="*/ 159089 w 206645"/>
                  <a:gd name="connsiteY7" fmla="*/ 240615 h 280245"/>
                  <a:gd name="connsiteX8" fmla="*/ 163052 w 206645"/>
                  <a:gd name="connsiteY8" fmla="*/ 275150 h 280245"/>
                  <a:gd name="connsiteX9" fmla="*/ 205514 w 206645"/>
                  <a:gd name="connsiteY9" fmla="*/ 275150 h 280245"/>
                  <a:gd name="connsiteX10" fmla="*/ 206646 w 206645"/>
                  <a:gd name="connsiteY10" fmla="*/ 270055 h 280245"/>
                  <a:gd name="connsiteX11" fmla="*/ 200984 w 206645"/>
                  <a:gd name="connsiteY11" fmla="*/ 230990 h 280245"/>
                  <a:gd name="connsiteX12" fmla="*/ 200984 w 206645"/>
                  <a:gd name="connsiteY12" fmla="*/ 80960 h 280245"/>
                  <a:gd name="connsiteX13" fmla="*/ 109834 w 206645"/>
                  <a:gd name="connsiteY13" fmla="*/ 0 h 280245"/>
                  <a:gd name="connsiteX14" fmla="*/ 8492 w 206645"/>
                  <a:gd name="connsiteY14" fmla="*/ 57748 h 280245"/>
                  <a:gd name="connsiteX15" fmla="*/ 38498 w 206645"/>
                  <a:gd name="connsiteY15" fmla="*/ 205514 h 280245"/>
                  <a:gd name="connsiteX16" fmla="*/ 160221 w 206645"/>
                  <a:gd name="connsiteY16" fmla="*/ 131914 h 280245"/>
                  <a:gd name="connsiteX17" fmla="*/ 160221 w 206645"/>
                  <a:gd name="connsiteY17" fmla="*/ 204381 h 280245"/>
                  <a:gd name="connsiteX18" fmla="*/ 80960 w 206645"/>
                  <a:gd name="connsiteY18" fmla="*/ 244578 h 280245"/>
                  <a:gd name="connsiteX19" fmla="*/ 38498 w 206645"/>
                  <a:gd name="connsiteY19" fmla="*/ 205514 h 280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6645" h="280245">
                    <a:moveTo>
                      <a:pt x="9058" y="57748"/>
                    </a:moveTo>
                    <a:cubicBezTo>
                      <a:pt x="9058" y="57748"/>
                      <a:pt x="41895" y="76431"/>
                      <a:pt x="41895" y="76431"/>
                    </a:cubicBezTo>
                    <a:cubicBezTo>
                      <a:pt x="56615" y="48689"/>
                      <a:pt x="79261" y="34535"/>
                      <a:pt x="108135" y="34535"/>
                    </a:cubicBezTo>
                    <a:cubicBezTo>
                      <a:pt x="139274" y="34535"/>
                      <a:pt x="160787" y="51520"/>
                      <a:pt x="160787" y="75865"/>
                    </a:cubicBezTo>
                    <a:lnTo>
                      <a:pt x="160787" y="95680"/>
                    </a:lnTo>
                    <a:cubicBezTo>
                      <a:pt x="45292" y="117194"/>
                      <a:pt x="0" y="147766"/>
                      <a:pt x="0" y="204947"/>
                    </a:cubicBezTo>
                    <a:cubicBezTo>
                      <a:pt x="0" y="249107"/>
                      <a:pt x="30572" y="280246"/>
                      <a:pt x="74732" y="280246"/>
                    </a:cubicBezTo>
                    <a:cubicBezTo>
                      <a:pt x="106437" y="280246"/>
                      <a:pt x="134745" y="266658"/>
                      <a:pt x="159089" y="240615"/>
                    </a:cubicBezTo>
                    <a:cubicBezTo>
                      <a:pt x="159089" y="244012"/>
                      <a:pt x="163052" y="275150"/>
                      <a:pt x="163052" y="275150"/>
                    </a:cubicBezTo>
                    <a:lnTo>
                      <a:pt x="205514" y="275150"/>
                    </a:lnTo>
                    <a:lnTo>
                      <a:pt x="206646" y="270055"/>
                    </a:lnTo>
                    <a:cubicBezTo>
                      <a:pt x="202683" y="257600"/>
                      <a:pt x="200984" y="245144"/>
                      <a:pt x="200984" y="230990"/>
                    </a:cubicBezTo>
                    <a:lnTo>
                      <a:pt x="200984" y="80960"/>
                    </a:lnTo>
                    <a:cubicBezTo>
                      <a:pt x="200984" y="29440"/>
                      <a:pt x="167581" y="0"/>
                      <a:pt x="109834" y="0"/>
                    </a:cubicBezTo>
                    <a:cubicBezTo>
                      <a:pt x="62843" y="0"/>
                      <a:pt x="28874" y="19249"/>
                      <a:pt x="8492" y="57748"/>
                    </a:cubicBezTo>
                    <a:moveTo>
                      <a:pt x="38498" y="205514"/>
                    </a:moveTo>
                    <a:cubicBezTo>
                      <a:pt x="38498" y="170412"/>
                      <a:pt x="72468" y="149464"/>
                      <a:pt x="160221" y="131914"/>
                    </a:cubicBezTo>
                    <a:lnTo>
                      <a:pt x="160221" y="204381"/>
                    </a:lnTo>
                    <a:cubicBezTo>
                      <a:pt x="129083" y="231557"/>
                      <a:pt x="103606" y="244578"/>
                      <a:pt x="80960" y="244578"/>
                    </a:cubicBezTo>
                    <a:cubicBezTo>
                      <a:pt x="54917" y="244578"/>
                      <a:pt x="38498" y="229858"/>
                      <a:pt x="38498" y="205514"/>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EC6616C9-16BE-4862-96F3-2416B5E84ED7}"/>
                  </a:ext>
                </a:extLst>
              </p:cNvPr>
              <p:cNvSpPr/>
              <p:nvPr/>
            </p:nvSpPr>
            <p:spPr>
              <a:xfrm>
                <a:off x="7753836" y="5257403"/>
                <a:ext cx="347617" cy="274018"/>
              </a:xfrm>
              <a:custGeom>
                <a:avLst/>
                <a:gdLst>
                  <a:gd name="connsiteX0" fmla="*/ 187397 w 347617"/>
                  <a:gd name="connsiteY0" fmla="*/ 45292 h 274018"/>
                  <a:gd name="connsiteX1" fmla="*/ 123421 w 347617"/>
                  <a:gd name="connsiteY1" fmla="*/ 0 h 274018"/>
                  <a:gd name="connsiteX2" fmla="*/ 36800 w 347617"/>
                  <a:gd name="connsiteY2" fmla="*/ 43594 h 274018"/>
                  <a:gd name="connsiteX3" fmla="*/ 36800 w 347617"/>
                  <a:gd name="connsiteY3" fmla="*/ 5662 h 274018"/>
                  <a:gd name="connsiteX4" fmla="*/ 0 w 347617"/>
                  <a:gd name="connsiteY4" fmla="*/ 5662 h 274018"/>
                  <a:gd name="connsiteX5" fmla="*/ 0 w 347617"/>
                  <a:gd name="connsiteY5" fmla="*/ 274018 h 274018"/>
                  <a:gd name="connsiteX6" fmla="*/ 39064 w 347617"/>
                  <a:gd name="connsiteY6" fmla="*/ 274018 h 274018"/>
                  <a:gd name="connsiteX7" fmla="*/ 39064 w 347617"/>
                  <a:gd name="connsiteY7" fmla="*/ 73600 h 274018"/>
                  <a:gd name="connsiteX8" fmla="*/ 113231 w 347617"/>
                  <a:gd name="connsiteY8" fmla="*/ 33969 h 274018"/>
                  <a:gd name="connsiteX9" fmla="*/ 155126 w 347617"/>
                  <a:gd name="connsiteY9" fmla="*/ 87754 h 274018"/>
                  <a:gd name="connsiteX10" fmla="*/ 155126 w 347617"/>
                  <a:gd name="connsiteY10" fmla="*/ 274018 h 274018"/>
                  <a:gd name="connsiteX11" fmla="*/ 192492 w 347617"/>
                  <a:gd name="connsiteY11" fmla="*/ 274018 h 274018"/>
                  <a:gd name="connsiteX12" fmla="*/ 192492 w 347617"/>
                  <a:gd name="connsiteY12" fmla="*/ 73600 h 274018"/>
                  <a:gd name="connsiteX13" fmla="*/ 267224 w 347617"/>
                  <a:gd name="connsiteY13" fmla="*/ 33969 h 274018"/>
                  <a:gd name="connsiteX14" fmla="*/ 308553 w 347617"/>
                  <a:gd name="connsiteY14" fmla="*/ 87188 h 274018"/>
                  <a:gd name="connsiteX15" fmla="*/ 308553 w 347617"/>
                  <a:gd name="connsiteY15" fmla="*/ 274018 h 274018"/>
                  <a:gd name="connsiteX16" fmla="*/ 347618 w 347617"/>
                  <a:gd name="connsiteY16" fmla="*/ 274018 h 274018"/>
                  <a:gd name="connsiteX17" fmla="*/ 347618 w 347617"/>
                  <a:gd name="connsiteY17" fmla="*/ 75298 h 274018"/>
                  <a:gd name="connsiteX18" fmla="*/ 277981 w 347617"/>
                  <a:gd name="connsiteY18" fmla="*/ 0 h 274018"/>
                  <a:gd name="connsiteX19" fmla="*/ 188529 w 347617"/>
                  <a:gd name="connsiteY19" fmla="*/ 45292 h 274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7617" h="274018">
                    <a:moveTo>
                      <a:pt x="187397" y="45292"/>
                    </a:moveTo>
                    <a:cubicBezTo>
                      <a:pt x="179471" y="15852"/>
                      <a:pt x="156824" y="0"/>
                      <a:pt x="123421" y="0"/>
                    </a:cubicBezTo>
                    <a:cubicBezTo>
                      <a:pt x="90018" y="0"/>
                      <a:pt x="66240" y="13022"/>
                      <a:pt x="36800" y="43594"/>
                    </a:cubicBezTo>
                    <a:lnTo>
                      <a:pt x="36800" y="5662"/>
                    </a:lnTo>
                    <a:lnTo>
                      <a:pt x="0" y="5662"/>
                    </a:lnTo>
                    <a:lnTo>
                      <a:pt x="0" y="274018"/>
                    </a:lnTo>
                    <a:lnTo>
                      <a:pt x="39064" y="274018"/>
                    </a:lnTo>
                    <a:lnTo>
                      <a:pt x="39064" y="73600"/>
                    </a:lnTo>
                    <a:cubicBezTo>
                      <a:pt x="64541" y="45858"/>
                      <a:pt x="86621" y="33969"/>
                      <a:pt x="113231" y="33969"/>
                    </a:cubicBezTo>
                    <a:cubicBezTo>
                      <a:pt x="142671" y="33969"/>
                      <a:pt x="155126" y="49821"/>
                      <a:pt x="155126" y="87754"/>
                    </a:cubicBezTo>
                    <a:lnTo>
                      <a:pt x="155126" y="274018"/>
                    </a:lnTo>
                    <a:lnTo>
                      <a:pt x="192492" y="274018"/>
                    </a:lnTo>
                    <a:lnTo>
                      <a:pt x="192492" y="73600"/>
                    </a:lnTo>
                    <a:cubicBezTo>
                      <a:pt x="216837" y="46991"/>
                      <a:pt x="240049" y="33969"/>
                      <a:pt x="267224" y="33969"/>
                    </a:cubicBezTo>
                    <a:cubicBezTo>
                      <a:pt x="296664" y="33969"/>
                      <a:pt x="308553" y="49255"/>
                      <a:pt x="308553" y="87188"/>
                    </a:cubicBezTo>
                    <a:lnTo>
                      <a:pt x="308553" y="274018"/>
                    </a:lnTo>
                    <a:lnTo>
                      <a:pt x="347618" y="274018"/>
                    </a:lnTo>
                    <a:lnTo>
                      <a:pt x="347618" y="75298"/>
                    </a:lnTo>
                    <a:cubicBezTo>
                      <a:pt x="347618" y="27175"/>
                      <a:pt x="322141" y="0"/>
                      <a:pt x="277981" y="0"/>
                    </a:cubicBezTo>
                    <a:cubicBezTo>
                      <a:pt x="245144" y="0"/>
                      <a:pt x="217969" y="13588"/>
                      <a:pt x="188529" y="45292"/>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2782182D-7CE3-4BF9-AB37-7A2FE27F1951}"/>
                  </a:ext>
                </a:extLst>
              </p:cNvPr>
              <p:cNvSpPr/>
              <p:nvPr/>
            </p:nvSpPr>
            <p:spPr>
              <a:xfrm>
                <a:off x="8125798" y="5214376"/>
                <a:ext cx="78129" cy="78129"/>
              </a:xfrm>
              <a:custGeom>
                <a:avLst/>
                <a:gdLst>
                  <a:gd name="connsiteX0" fmla="*/ 39064 w 78129"/>
                  <a:gd name="connsiteY0" fmla="*/ 78129 h 78129"/>
                  <a:gd name="connsiteX1" fmla="*/ 0 w 78129"/>
                  <a:gd name="connsiteY1" fmla="*/ 39065 h 78129"/>
                  <a:gd name="connsiteX2" fmla="*/ 39064 w 78129"/>
                  <a:gd name="connsiteY2" fmla="*/ 0 h 78129"/>
                  <a:gd name="connsiteX3" fmla="*/ 78129 w 78129"/>
                  <a:gd name="connsiteY3" fmla="*/ 39065 h 78129"/>
                  <a:gd name="connsiteX4" fmla="*/ 39064 w 78129"/>
                  <a:gd name="connsiteY4" fmla="*/ 78129 h 78129"/>
                  <a:gd name="connsiteX5" fmla="*/ 39064 w 78129"/>
                  <a:gd name="connsiteY5" fmla="*/ 6794 h 78129"/>
                  <a:gd name="connsiteX6" fmla="*/ 6228 w 78129"/>
                  <a:gd name="connsiteY6" fmla="*/ 39631 h 78129"/>
                  <a:gd name="connsiteX7" fmla="*/ 39064 w 78129"/>
                  <a:gd name="connsiteY7" fmla="*/ 72468 h 78129"/>
                  <a:gd name="connsiteX8" fmla="*/ 71901 w 78129"/>
                  <a:gd name="connsiteY8" fmla="*/ 39631 h 78129"/>
                  <a:gd name="connsiteX9" fmla="*/ 39064 w 78129"/>
                  <a:gd name="connsiteY9" fmla="*/ 6794 h 78129"/>
                  <a:gd name="connsiteX10" fmla="*/ 46991 w 78129"/>
                  <a:gd name="connsiteY10" fmla="*/ 42461 h 78129"/>
                  <a:gd name="connsiteX11" fmla="*/ 54917 w 78129"/>
                  <a:gd name="connsiteY11" fmla="*/ 58314 h 78129"/>
                  <a:gd name="connsiteX12" fmla="*/ 46991 w 78129"/>
                  <a:gd name="connsiteY12" fmla="*/ 58314 h 78129"/>
                  <a:gd name="connsiteX13" fmla="*/ 39064 w 78129"/>
                  <a:gd name="connsiteY13" fmla="*/ 43028 h 78129"/>
                  <a:gd name="connsiteX14" fmla="*/ 31705 w 78129"/>
                  <a:gd name="connsiteY14" fmla="*/ 43028 h 78129"/>
                  <a:gd name="connsiteX15" fmla="*/ 31705 w 78129"/>
                  <a:gd name="connsiteY15" fmla="*/ 58314 h 78129"/>
                  <a:gd name="connsiteX16" fmla="*/ 24911 w 78129"/>
                  <a:gd name="connsiteY16" fmla="*/ 58314 h 78129"/>
                  <a:gd name="connsiteX17" fmla="*/ 24911 w 78129"/>
                  <a:gd name="connsiteY17" fmla="*/ 18683 h 78129"/>
                  <a:gd name="connsiteX18" fmla="*/ 42461 w 78129"/>
                  <a:gd name="connsiteY18" fmla="*/ 18683 h 78129"/>
                  <a:gd name="connsiteX19" fmla="*/ 55483 w 78129"/>
                  <a:gd name="connsiteY19" fmla="*/ 30572 h 78129"/>
                  <a:gd name="connsiteX20" fmla="*/ 46991 w 78129"/>
                  <a:gd name="connsiteY20" fmla="*/ 42461 h 78129"/>
                  <a:gd name="connsiteX21" fmla="*/ 42461 w 78129"/>
                  <a:gd name="connsiteY21" fmla="*/ 25477 h 78129"/>
                  <a:gd name="connsiteX22" fmla="*/ 31705 w 78129"/>
                  <a:gd name="connsiteY22" fmla="*/ 25477 h 78129"/>
                  <a:gd name="connsiteX23" fmla="*/ 31705 w 78129"/>
                  <a:gd name="connsiteY23" fmla="*/ 36800 h 78129"/>
                  <a:gd name="connsiteX24" fmla="*/ 42461 w 78129"/>
                  <a:gd name="connsiteY24" fmla="*/ 36800 h 78129"/>
                  <a:gd name="connsiteX25" fmla="*/ 48689 w 78129"/>
                  <a:gd name="connsiteY25" fmla="*/ 31138 h 78129"/>
                  <a:gd name="connsiteX26" fmla="*/ 42461 w 78129"/>
                  <a:gd name="connsiteY26" fmla="*/ 25477 h 78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8129" h="78129">
                    <a:moveTo>
                      <a:pt x="39064" y="78129"/>
                    </a:moveTo>
                    <a:cubicBezTo>
                      <a:pt x="16985" y="78129"/>
                      <a:pt x="0" y="61145"/>
                      <a:pt x="0" y="39065"/>
                    </a:cubicBezTo>
                    <a:cubicBezTo>
                      <a:pt x="0" y="16985"/>
                      <a:pt x="16985" y="0"/>
                      <a:pt x="39064" y="0"/>
                    </a:cubicBezTo>
                    <a:cubicBezTo>
                      <a:pt x="61145" y="0"/>
                      <a:pt x="78129" y="16985"/>
                      <a:pt x="78129" y="39065"/>
                    </a:cubicBezTo>
                    <a:cubicBezTo>
                      <a:pt x="78129" y="61145"/>
                      <a:pt x="61145" y="78129"/>
                      <a:pt x="39064" y="78129"/>
                    </a:cubicBezTo>
                    <a:moveTo>
                      <a:pt x="39064" y="6794"/>
                    </a:moveTo>
                    <a:cubicBezTo>
                      <a:pt x="20382" y="6794"/>
                      <a:pt x="6228" y="20948"/>
                      <a:pt x="6228" y="39631"/>
                    </a:cubicBezTo>
                    <a:cubicBezTo>
                      <a:pt x="6228" y="58314"/>
                      <a:pt x="20382" y="72468"/>
                      <a:pt x="39064" y="72468"/>
                    </a:cubicBezTo>
                    <a:cubicBezTo>
                      <a:pt x="57748" y="72468"/>
                      <a:pt x="71901" y="58314"/>
                      <a:pt x="71901" y="39631"/>
                    </a:cubicBezTo>
                    <a:cubicBezTo>
                      <a:pt x="71901" y="20948"/>
                      <a:pt x="57748" y="6794"/>
                      <a:pt x="39064" y="6794"/>
                    </a:cubicBezTo>
                    <a:moveTo>
                      <a:pt x="46991" y="42461"/>
                    </a:moveTo>
                    <a:lnTo>
                      <a:pt x="54917" y="58314"/>
                    </a:lnTo>
                    <a:lnTo>
                      <a:pt x="46991" y="58314"/>
                    </a:lnTo>
                    <a:lnTo>
                      <a:pt x="39064" y="43028"/>
                    </a:lnTo>
                    <a:lnTo>
                      <a:pt x="31705" y="43028"/>
                    </a:lnTo>
                    <a:lnTo>
                      <a:pt x="31705" y="58314"/>
                    </a:lnTo>
                    <a:lnTo>
                      <a:pt x="24911" y="58314"/>
                    </a:lnTo>
                    <a:lnTo>
                      <a:pt x="24911" y="18683"/>
                    </a:lnTo>
                    <a:lnTo>
                      <a:pt x="42461" y="18683"/>
                    </a:lnTo>
                    <a:cubicBezTo>
                      <a:pt x="49255" y="18683"/>
                      <a:pt x="55483" y="22646"/>
                      <a:pt x="55483" y="30572"/>
                    </a:cubicBezTo>
                    <a:cubicBezTo>
                      <a:pt x="55483" y="36800"/>
                      <a:pt x="52086" y="40763"/>
                      <a:pt x="46991" y="42461"/>
                    </a:cubicBezTo>
                    <a:moveTo>
                      <a:pt x="42461" y="25477"/>
                    </a:moveTo>
                    <a:lnTo>
                      <a:pt x="31705" y="25477"/>
                    </a:lnTo>
                    <a:lnTo>
                      <a:pt x="31705" y="36800"/>
                    </a:lnTo>
                    <a:lnTo>
                      <a:pt x="42461" y="36800"/>
                    </a:lnTo>
                    <a:cubicBezTo>
                      <a:pt x="45858" y="36800"/>
                      <a:pt x="48689" y="35101"/>
                      <a:pt x="48689" y="31138"/>
                    </a:cubicBezTo>
                    <a:cubicBezTo>
                      <a:pt x="48689" y="27175"/>
                      <a:pt x="45858" y="25477"/>
                      <a:pt x="42461" y="25477"/>
                    </a:cubicBezTo>
                  </a:path>
                </a:pathLst>
              </a:custGeom>
              <a:solidFill>
                <a:srgbClr val="A1ABB2"/>
              </a:solidFill>
              <a:ln w="5647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6" name="Group 55">
              <a:extLst>
                <a:ext uri="{FF2B5EF4-FFF2-40B4-BE49-F238E27FC236}">
                  <a16:creationId xmlns:a16="http://schemas.microsoft.com/office/drawing/2014/main" id="{BED073F9-04FF-4C3B-9C98-D9215FD69929}"/>
                </a:ext>
              </a:extLst>
            </p:cNvPr>
            <p:cNvGrpSpPr/>
            <p:nvPr userDrawn="1"/>
          </p:nvGrpSpPr>
          <p:grpSpPr>
            <a:xfrm>
              <a:off x="10490200" y="1738343"/>
              <a:ext cx="595276" cy="201289"/>
              <a:chOff x="5910262" y="3367001"/>
              <a:chExt cx="1407334" cy="475881"/>
            </a:xfrm>
          </p:grpSpPr>
          <p:sp>
            <p:nvSpPr>
              <p:cNvPr id="57" name="Freeform: Shape 56">
                <a:extLst>
                  <a:ext uri="{FF2B5EF4-FFF2-40B4-BE49-F238E27FC236}">
                    <a16:creationId xmlns:a16="http://schemas.microsoft.com/office/drawing/2014/main" id="{66719CE9-8E9E-4FA1-9304-7FC184A65DF4}"/>
                  </a:ext>
                </a:extLst>
              </p:cNvPr>
              <p:cNvSpPr/>
              <p:nvPr/>
            </p:nvSpPr>
            <p:spPr>
              <a:xfrm>
                <a:off x="7246136" y="3673346"/>
                <a:ext cx="71460" cy="71460"/>
              </a:xfrm>
              <a:custGeom>
                <a:avLst/>
                <a:gdLst>
                  <a:gd name="connsiteX0" fmla="*/ 35730 w 71460"/>
                  <a:gd name="connsiteY0" fmla="*/ 3646 h 71460"/>
                  <a:gd name="connsiteX1" fmla="*/ 3646 w 71460"/>
                  <a:gd name="connsiteY1" fmla="*/ 35730 h 71460"/>
                  <a:gd name="connsiteX2" fmla="*/ 35730 w 71460"/>
                  <a:gd name="connsiteY2" fmla="*/ 67815 h 71460"/>
                  <a:gd name="connsiteX3" fmla="*/ 67815 w 71460"/>
                  <a:gd name="connsiteY3" fmla="*/ 35730 h 71460"/>
                  <a:gd name="connsiteX4" fmla="*/ 35730 w 71460"/>
                  <a:gd name="connsiteY4" fmla="*/ 3646 h 71460"/>
                  <a:gd name="connsiteX5" fmla="*/ 35730 w 71460"/>
                  <a:gd name="connsiteY5" fmla="*/ 71461 h 71460"/>
                  <a:gd name="connsiteX6" fmla="*/ 0 w 71460"/>
                  <a:gd name="connsiteY6" fmla="*/ 35730 h 71460"/>
                  <a:gd name="connsiteX7" fmla="*/ 35730 w 71460"/>
                  <a:gd name="connsiteY7" fmla="*/ 0 h 71460"/>
                  <a:gd name="connsiteX8" fmla="*/ 71461 w 71460"/>
                  <a:gd name="connsiteY8" fmla="*/ 35730 h 71460"/>
                  <a:gd name="connsiteX9" fmla="*/ 35730 w 71460"/>
                  <a:gd name="connsiteY9" fmla="*/ 71461 h 7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460" h="71460">
                    <a:moveTo>
                      <a:pt x="35730" y="3646"/>
                    </a:moveTo>
                    <a:cubicBezTo>
                      <a:pt x="18230" y="3646"/>
                      <a:pt x="3646" y="17865"/>
                      <a:pt x="3646" y="35730"/>
                    </a:cubicBezTo>
                    <a:cubicBezTo>
                      <a:pt x="3646" y="53595"/>
                      <a:pt x="17865" y="67815"/>
                      <a:pt x="35730" y="67815"/>
                    </a:cubicBezTo>
                    <a:cubicBezTo>
                      <a:pt x="53595" y="67815"/>
                      <a:pt x="67815" y="53595"/>
                      <a:pt x="67815" y="35730"/>
                    </a:cubicBezTo>
                    <a:cubicBezTo>
                      <a:pt x="67815" y="17865"/>
                      <a:pt x="53595" y="3646"/>
                      <a:pt x="35730" y="3646"/>
                    </a:cubicBezTo>
                    <a:moveTo>
                      <a:pt x="35730" y="71461"/>
                    </a:moveTo>
                    <a:cubicBezTo>
                      <a:pt x="16042" y="71461"/>
                      <a:pt x="0" y="55418"/>
                      <a:pt x="0" y="35730"/>
                    </a:cubicBezTo>
                    <a:cubicBezTo>
                      <a:pt x="0" y="16042"/>
                      <a:pt x="16042" y="0"/>
                      <a:pt x="35730" y="0"/>
                    </a:cubicBezTo>
                    <a:cubicBezTo>
                      <a:pt x="55418" y="0"/>
                      <a:pt x="71461" y="16042"/>
                      <a:pt x="71461" y="35730"/>
                    </a:cubicBezTo>
                    <a:cubicBezTo>
                      <a:pt x="71461" y="55418"/>
                      <a:pt x="55418" y="71461"/>
                      <a:pt x="35730" y="71461"/>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8" name="Freeform: Shape 57">
                <a:extLst>
                  <a:ext uri="{FF2B5EF4-FFF2-40B4-BE49-F238E27FC236}">
                    <a16:creationId xmlns:a16="http://schemas.microsoft.com/office/drawing/2014/main" id="{AA55372D-BDC0-43BE-B0AD-B5BAC62A64F7}"/>
                  </a:ext>
                </a:extLst>
              </p:cNvPr>
              <p:cNvSpPr/>
              <p:nvPr/>
            </p:nvSpPr>
            <p:spPr>
              <a:xfrm>
                <a:off x="7267647" y="3691940"/>
                <a:ext cx="31355" cy="36094"/>
              </a:xfrm>
              <a:custGeom>
                <a:avLst/>
                <a:gdLst>
                  <a:gd name="connsiteX0" fmla="*/ 4740 w 31355"/>
                  <a:gd name="connsiteY0" fmla="*/ 16042 h 36094"/>
                  <a:gd name="connsiteX1" fmla="*/ 14948 w 31355"/>
                  <a:gd name="connsiteY1" fmla="*/ 16042 h 36094"/>
                  <a:gd name="connsiteX2" fmla="*/ 20053 w 31355"/>
                  <a:gd name="connsiteY2" fmla="*/ 15313 h 36094"/>
                  <a:gd name="connsiteX3" fmla="*/ 22970 w 31355"/>
                  <a:gd name="connsiteY3" fmla="*/ 13125 h 36094"/>
                  <a:gd name="connsiteX4" fmla="*/ 24063 w 31355"/>
                  <a:gd name="connsiteY4" fmla="*/ 9844 h 36094"/>
                  <a:gd name="connsiteX5" fmla="*/ 22240 w 31355"/>
                  <a:gd name="connsiteY5" fmla="*/ 5834 h 36094"/>
                  <a:gd name="connsiteX6" fmla="*/ 16407 w 31355"/>
                  <a:gd name="connsiteY6" fmla="*/ 4375 h 36094"/>
                  <a:gd name="connsiteX7" fmla="*/ 5104 w 31355"/>
                  <a:gd name="connsiteY7" fmla="*/ 4375 h 36094"/>
                  <a:gd name="connsiteX8" fmla="*/ 5104 w 31355"/>
                  <a:gd name="connsiteY8" fmla="*/ 16042 h 36094"/>
                  <a:gd name="connsiteX9" fmla="*/ 5104 w 31355"/>
                  <a:gd name="connsiteY9" fmla="*/ 16042 h 36094"/>
                  <a:gd name="connsiteX10" fmla="*/ 0 w 31355"/>
                  <a:gd name="connsiteY10" fmla="*/ 35730 h 36094"/>
                  <a:gd name="connsiteX11" fmla="*/ 0 w 31355"/>
                  <a:gd name="connsiteY11" fmla="*/ 0 h 36094"/>
                  <a:gd name="connsiteX12" fmla="*/ 15678 w 31355"/>
                  <a:gd name="connsiteY12" fmla="*/ 0 h 36094"/>
                  <a:gd name="connsiteX13" fmla="*/ 22970 w 31355"/>
                  <a:gd name="connsiteY13" fmla="*/ 1094 h 36094"/>
                  <a:gd name="connsiteX14" fmla="*/ 26980 w 31355"/>
                  <a:gd name="connsiteY14" fmla="*/ 4375 h 36094"/>
                  <a:gd name="connsiteX15" fmla="*/ 28438 w 31355"/>
                  <a:gd name="connsiteY15" fmla="*/ 9844 h 36094"/>
                  <a:gd name="connsiteX16" fmla="*/ 25886 w 31355"/>
                  <a:gd name="connsiteY16" fmla="*/ 16407 h 36094"/>
                  <a:gd name="connsiteX17" fmla="*/ 18230 w 31355"/>
                  <a:gd name="connsiteY17" fmla="*/ 19688 h 36094"/>
                  <a:gd name="connsiteX18" fmla="*/ 21147 w 31355"/>
                  <a:gd name="connsiteY18" fmla="*/ 21511 h 36094"/>
                  <a:gd name="connsiteX19" fmla="*/ 25157 w 31355"/>
                  <a:gd name="connsiteY19" fmla="*/ 26251 h 36094"/>
                  <a:gd name="connsiteX20" fmla="*/ 31355 w 31355"/>
                  <a:gd name="connsiteY20" fmla="*/ 36095 h 36094"/>
                  <a:gd name="connsiteX21" fmla="*/ 25522 w 31355"/>
                  <a:gd name="connsiteY21" fmla="*/ 36095 h 36094"/>
                  <a:gd name="connsiteX22" fmla="*/ 20782 w 31355"/>
                  <a:gd name="connsiteY22" fmla="*/ 28803 h 36094"/>
                  <a:gd name="connsiteX23" fmla="*/ 17501 w 31355"/>
                  <a:gd name="connsiteY23" fmla="*/ 24063 h 36094"/>
                  <a:gd name="connsiteX24" fmla="*/ 14948 w 31355"/>
                  <a:gd name="connsiteY24" fmla="*/ 21511 h 36094"/>
                  <a:gd name="connsiteX25" fmla="*/ 12761 w 31355"/>
                  <a:gd name="connsiteY25" fmla="*/ 20417 h 36094"/>
                  <a:gd name="connsiteX26" fmla="*/ 10209 w 31355"/>
                  <a:gd name="connsiteY26" fmla="*/ 20417 h 36094"/>
                  <a:gd name="connsiteX27" fmla="*/ 4740 w 31355"/>
                  <a:gd name="connsiteY27" fmla="*/ 20417 h 36094"/>
                  <a:gd name="connsiteX28" fmla="*/ 4740 w 31355"/>
                  <a:gd name="connsiteY28" fmla="*/ 36095 h 36094"/>
                  <a:gd name="connsiteX29" fmla="*/ 0 w 31355"/>
                  <a:gd name="connsiteY29" fmla="*/ 36095 h 3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355" h="36094">
                    <a:moveTo>
                      <a:pt x="4740" y="16042"/>
                    </a:moveTo>
                    <a:lnTo>
                      <a:pt x="14948" y="16042"/>
                    </a:lnTo>
                    <a:cubicBezTo>
                      <a:pt x="17136" y="16042"/>
                      <a:pt x="18959" y="16042"/>
                      <a:pt x="20053" y="15313"/>
                    </a:cubicBezTo>
                    <a:cubicBezTo>
                      <a:pt x="21147" y="14948"/>
                      <a:pt x="22240" y="14219"/>
                      <a:pt x="22970" y="13125"/>
                    </a:cubicBezTo>
                    <a:cubicBezTo>
                      <a:pt x="23699" y="12032"/>
                      <a:pt x="24063" y="10938"/>
                      <a:pt x="24063" y="9844"/>
                    </a:cubicBezTo>
                    <a:cubicBezTo>
                      <a:pt x="24063" y="8021"/>
                      <a:pt x="23334" y="6927"/>
                      <a:pt x="22240" y="5834"/>
                    </a:cubicBezTo>
                    <a:cubicBezTo>
                      <a:pt x="21147" y="4740"/>
                      <a:pt x="18959" y="4375"/>
                      <a:pt x="16407" y="4375"/>
                    </a:cubicBezTo>
                    <a:lnTo>
                      <a:pt x="5104" y="4375"/>
                    </a:lnTo>
                    <a:lnTo>
                      <a:pt x="5104" y="16042"/>
                    </a:lnTo>
                    <a:lnTo>
                      <a:pt x="5104" y="16042"/>
                    </a:lnTo>
                    <a:close/>
                    <a:moveTo>
                      <a:pt x="0" y="35730"/>
                    </a:moveTo>
                    <a:lnTo>
                      <a:pt x="0" y="0"/>
                    </a:lnTo>
                    <a:lnTo>
                      <a:pt x="15678" y="0"/>
                    </a:lnTo>
                    <a:cubicBezTo>
                      <a:pt x="18959" y="0"/>
                      <a:pt x="21147" y="0"/>
                      <a:pt x="22970" y="1094"/>
                    </a:cubicBezTo>
                    <a:cubicBezTo>
                      <a:pt x="24792" y="1823"/>
                      <a:pt x="25886" y="2917"/>
                      <a:pt x="26980" y="4375"/>
                    </a:cubicBezTo>
                    <a:cubicBezTo>
                      <a:pt x="28074" y="5834"/>
                      <a:pt x="28438" y="7656"/>
                      <a:pt x="28438" y="9844"/>
                    </a:cubicBezTo>
                    <a:cubicBezTo>
                      <a:pt x="28438" y="12396"/>
                      <a:pt x="27709" y="14584"/>
                      <a:pt x="25886" y="16407"/>
                    </a:cubicBezTo>
                    <a:cubicBezTo>
                      <a:pt x="24428" y="18230"/>
                      <a:pt x="21876" y="19324"/>
                      <a:pt x="18230" y="19688"/>
                    </a:cubicBezTo>
                    <a:cubicBezTo>
                      <a:pt x="19323" y="20417"/>
                      <a:pt x="20417" y="20782"/>
                      <a:pt x="21147" y="21511"/>
                    </a:cubicBezTo>
                    <a:cubicBezTo>
                      <a:pt x="22605" y="22605"/>
                      <a:pt x="23699" y="24428"/>
                      <a:pt x="25157" y="26251"/>
                    </a:cubicBezTo>
                    <a:lnTo>
                      <a:pt x="31355" y="36095"/>
                    </a:lnTo>
                    <a:lnTo>
                      <a:pt x="25522" y="36095"/>
                    </a:lnTo>
                    <a:lnTo>
                      <a:pt x="20782" y="28803"/>
                    </a:lnTo>
                    <a:cubicBezTo>
                      <a:pt x="19323" y="26615"/>
                      <a:pt x="18230" y="25157"/>
                      <a:pt x="17501" y="24063"/>
                    </a:cubicBezTo>
                    <a:cubicBezTo>
                      <a:pt x="16771" y="22969"/>
                      <a:pt x="15678" y="22240"/>
                      <a:pt x="14948" y="21511"/>
                    </a:cubicBezTo>
                    <a:cubicBezTo>
                      <a:pt x="14219" y="21146"/>
                      <a:pt x="13490" y="20782"/>
                      <a:pt x="12761" y="20417"/>
                    </a:cubicBezTo>
                    <a:cubicBezTo>
                      <a:pt x="12396" y="20417"/>
                      <a:pt x="11302" y="20417"/>
                      <a:pt x="10209" y="20417"/>
                    </a:cubicBezTo>
                    <a:lnTo>
                      <a:pt x="4740" y="20417"/>
                    </a:lnTo>
                    <a:lnTo>
                      <a:pt x="4740" y="36095"/>
                    </a:lnTo>
                    <a:lnTo>
                      <a:pt x="0" y="36095"/>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9" name="Freeform: Shape 58">
                <a:extLst>
                  <a:ext uri="{FF2B5EF4-FFF2-40B4-BE49-F238E27FC236}">
                    <a16:creationId xmlns:a16="http://schemas.microsoft.com/office/drawing/2014/main" id="{9C58A9BF-B1C3-4FDF-ABC0-D63712B9865C}"/>
                  </a:ext>
                </a:extLst>
              </p:cNvPr>
              <p:cNvSpPr/>
              <p:nvPr/>
            </p:nvSpPr>
            <p:spPr>
              <a:xfrm>
                <a:off x="5968961" y="3575270"/>
                <a:ext cx="300425" cy="267612"/>
              </a:xfrm>
              <a:custGeom>
                <a:avLst/>
                <a:gdLst>
                  <a:gd name="connsiteX0" fmla="*/ 300426 w 300425"/>
                  <a:gd name="connsiteY0" fmla="*/ 67815 h 267612"/>
                  <a:gd name="connsiteX1" fmla="*/ 285113 w 300425"/>
                  <a:gd name="connsiteY1" fmla="*/ 196152 h 267612"/>
                  <a:gd name="connsiteX2" fmla="*/ 214746 w 300425"/>
                  <a:gd name="connsiteY2" fmla="*/ 197246 h 267612"/>
                  <a:gd name="connsiteX3" fmla="*/ 205996 w 300425"/>
                  <a:gd name="connsiteY3" fmla="*/ 267612 h 267612"/>
                  <a:gd name="connsiteX4" fmla="*/ 62710 w 300425"/>
                  <a:gd name="connsiteY4" fmla="*/ 267612 h 267612"/>
                  <a:gd name="connsiteX5" fmla="*/ 70367 w 300425"/>
                  <a:gd name="connsiteY5" fmla="*/ 197975 h 267612"/>
                  <a:gd name="connsiteX6" fmla="*/ 0 w 300425"/>
                  <a:gd name="connsiteY6" fmla="*/ 196152 h 267612"/>
                  <a:gd name="connsiteX7" fmla="*/ 15313 w 300425"/>
                  <a:gd name="connsiteY7" fmla="*/ 71461 h 267612"/>
                  <a:gd name="connsiteX8" fmla="*/ 85680 w 300425"/>
                  <a:gd name="connsiteY8" fmla="*/ 70367 h 267612"/>
                  <a:gd name="connsiteX9" fmla="*/ 95159 w 300425"/>
                  <a:gd name="connsiteY9" fmla="*/ 0 h 267612"/>
                  <a:gd name="connsiteX10" fmla="*/ 235164 w 300425"/>
                  <a:gd name="connsiteY10" fmla="*/ 0 h 267612"/>
                  <a:gd name="connsiteX11" fmla="*/ 72919 w 300425"/>
                  <a:gd name="connsiteY11" fmla="*/ 233705 h 267612"/>
                  <a:gd name="connsiteX12" fmla="*/ 95159 w 300425"/>
                  <a:gd name="connsiteY12" fmla="*/ 212559 h 267612"/>
                  <a:gd name="connsiteX13" fmla="*/ 215111 w 300425"/>
                  <a:gd name="connsiteY13" fmla="*/ 108285 h 267612"/>
                  <a:gd name="connsiteX14" fmla="*/ 300061 w 300425"/>
                  <a:gd name="connsiteY14" fmla="*/ 67815 h 267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0425" h="267612">
                    <a:moveTo>
                      <a:pt x="300426" y="67815"/>
                    </a:moveTo>
                    <a:cubicBezTo>
                      <a:pt x="296780" y="108285"/>
                      <a:pt x="290217" y="154588"/>
                      <a:pt x="285113" y="196152"/>
                    </a:cubicBezTo>
                    <a:cubicBezTo>
                      <a:pt x="263602" y="198339"/>
                      <a:pt x="237716" y="196517"/>
                      <a:pt x="214746" y="197246"/>
                    </a:cubicBezTo>
                    <a:cubicBezTo>
                      <a:pt x="211465" y="220215"/>
                      <a:pt x="208548" y="243549"/>
                      <a:pt x="205996" y="267612"/>
                    </a:cubicBezTo>
                    <a:lnTo>
                      <a:pt x="62710" y="267612"/>
                    </a:lnTo>
                    <a:cubicBezTo>
                      <a:pt x="64169" y="243549"/>
                      <a:pt x="68544" y="221674"/>
                      <a:pt x="70367" y="197975"/>
                    </a:cubicBezTo>
                    <a:cubicBezTo>
                      <a:pt x="49220" y="195058"/>
                      <a:pt x="21146" y="199069"/>
                      <a:pt x="0" y="196152"/>
                    </a:cubicBezTo>
                    <a:cubicBezTo>
                      <a:pt x="5104" y="154588"/>
                      <a:pt x="9844" y="112660"/>
                      <a:pt x="15313" y="71461"/>
                    </a:cubicBezTo>
                    <a:cubicBezTo>
                      <a:pt x="36824" y="69273"/>
                      <a:pt x="62710" y="71096"/>
                      <a:pt x="85680" y="70367"/>
                    </a:cubicBezTo>
                    <a:cubicBezTo>
                      <a:pt x="89690" y="47397"/>
                      <a:pt x="90784" y="22240"/>
                      <a:pt x="95159" y="0"/>
                    </a:cubicBezTo>
                    <a:lnTo>
                      <a:pt x="235164" y="0"/>
                    </a:lnTo>
                    <a:cubicBezTo>
                      <a:pt x="160422" y="57606"/>
                      <a:pt x="101722" y="130525"/>
                      <a:pt x="72919" y="233705"/>
                    </a:cubicBezTo>
                    <a:cubicBezTo>
                      <a:pt x="82034" y="229330"/>
                      <a:pt x="88596" y="220215"/>
                      <a:pt x="95159" y="212559"/>
                    </a:cubicBezTo>
                    <a:cubicBezTo>
                      <a:pt x="129431" y="173182"/>
                      <a:pt x="170266" y="139640"/>
                      <a:pt x="215111" y="108285"/>
                    </a:cubicBezTo>
                    <a:cubicBezTo>
                      <a:pt x="240997" y="90055"/>
                      <a:pt x="261050" y="70731"/>
                      <a:pt x="300061" y="67815"/>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C0F0814B-872A-4CEE-9BA5-338624F69810}"/>
                  </a:ext>
                </a:extLst>
              </p:cNvPr>
              <p:cNvSpPr/>
              <p:nvPr/>
            </p:nvSpPr>
            <p:spPr>
              <a:xfrm>
                <a:off x="5910262" y="3369639"/>
                <a:ext cx="164796" cy="169536"/>
              </a:xfrm>
              <a:custGeom>
                <a:avLst/>
                <a:gdLst>
                  <a:gd name="connsiteX0" fmla="*/ 24792 w 164796"/>
                  <a:gd name="connsiteY0" fmla="*/ 0 h 169536"/>
                  <a:gd name="connsiteX1" fmla="*/ 67085 w 164796"/>
                  <a:gd name="connsiteY1" fmla="*/ 0 h 169536"/>
                  <a:gd name="connsiteX2" fmla="*/ 57606 w 164796"/>
                  <a:gd name="connsiteY2" fmla="*/ 65627 h 169536"/>
                  <a:gd name="connsiteX3" fmla="*/ 112660 w 164796"/>
                  <a:gd name="connsiteY3" fmla="*/ 65627 h 169536"/>
                  <a:gd name="connsiteX4" fmla="*/ 122139 w 164796"/>
                  <a:gd name="connsiteY4" fmla="*/ 0 h 169536"/>
                  <a:gd name="connsiteX5" fmla="*/ 164797 w 164796"/>
                  <a:gd name="connsiteY5" fmla="*/ 0 h 169536"/>
                  <a:gd name="connsiteX6" fmla="*/ 139640 w 164796"/>
                  <a:gd name="connsiteY6" fmla="*/ 169536 h 169536"/>
                  <a:gd name="connsiteX7" fmla="*/ 97347 w 164796"/>
                  <a:gd name="connsiteY7" fmla="*/ 169536 h 169536"/>
                  <a:gd name="connsiteX8" fmla="*/ 107191 w 164796"/>
                  <a:gd name="connsiteY8" fmla="*/ 100264 h 169536"/>
                  <a:gd name="connsiteX9" fmla="*/ 52502 w 164796"/>
                  <a:gd name="connsiteY9" fmla="*/ 100264 h 169536"/>
                  <a:gd name="connsiteX10" fmla="*/ 42293 w 164796"/>
                  <a:gd name="connsiteY10" fmla="*/ 169536 h 169536"/>
                  <a:gd name="connsiteX11" fmla="*/ 0 w 164796"/>
                  <a:gd name="connsiteY11" fmla="*/ 169536 h 169536"/>
                  <a:gd name="connsiteX12" fmla="*/ 24792 w 164796"/>
                  <a:gd name="connsiteY12" fmla="*/ 0 h 169536"/>
                  <a:gd name="connsiteX13" fmla="*/ 24792 w 164796"/>
                  <a:gd name="connsiteY13"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796" h="169536">
                    <a:moveTo>
                      <a:pt x="24792" y="0"/>
                    </a:moveTo>
                    <a:lnTo>
                      <a:pt x="67085" y="0"/>
                    </a:lnTo>
                    <a:lnTo>
                      <a:pt x="57606" y="65627"/>
                    </a:lnTo>
                    <a:lnTo>
                      <a:pt x="112660" y="65627"/>
                    </a:lnTo>
                    <a:lnTo>
                      <a:pt x="122139" y="0"/>
                    </a:lnTo>
                    <a:lnTo>
                      <a:pt x="164797" y="0"/>
                    </a:lnTo>
                    <a:lnTo>
                      <a:pt x="139640" y="169536"/>
                    </a:lnTo>
                    <a:lnTo>
                      <a:pt x="97347" y="169536"/>
                    </a:lnTo>
                    <a:lnTo>
                      <a:pt x="107191" y="100264"/>
                    </a:lnTo>
                    <a:lnTo>
                      <a:pt x="52502" y="100264"/>
                    </a:lnTo>
                    <a:lnTo>
                      <a:pt x="42293" y="169536"/>
                    </a:lnTo>
                    <a:lnTo>
                      <a:pt x="0" y="169536"/>
                    </a:lnTo>
                    <a:lnTo>
                      <a:pt x="24792" y="0"/>
                    </a:lnTo>
                    <a:lnTo>
                      <a:pt x="2479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1" name="Freeform: Shape 60">
                <a:extLst>
                  <a:ext uri="{FF2B5EF4-FFF2-40B4-BE49-F238E27FC236}">
                    <a16:creationId xmlns:a16="http://schemas.microsoft.com/office/drawing/2014/main" id="{64F0DE59-0212-469B-B7C8-2C0734D7C2C2}"/>
                  </a:ext>
                </a:extLst>
              </p:cNvPr>
              <p:cNvSpPr/>
              <p:nvPr/>
            </p:nvSpPr>
            <p:spPr>
              <a:xfrm>
                <a:off x="6083079" y="3369639"/>
                <a:ext cx="109013" cy="169536"/>
              </a:xfrm>
              <a:custGeom>
                <a:avLst/>
                <a:gdLst>
                  <a:gd name="connsiteX0" fmla="*/ 90784 w 109013"/>
                  <a:gd name="connsiteY0" fmla="*/ 131983 h 169536"/>
                  <a:gd name="connsiteX1" fmla="*/ 85680 w 109013"/>
                  <a:gd name="connsiteY1" fmla="*/ 169536 h 169536"/>
                  <a:gd name="connsiteX2" fmla="*/ 0 w 109013"/>
                  <a:gd name="connsiteY2" fmla="*/ 169536 h 169536"/>
                  <a:gd name="connsiteX3" fmla="*/ 23699 w 109013"/>
                  <a:gd name="connsiteY3" fmla="*/ 0 h 169536"/>
                  <a:gd name="connsiteX4" fmla="*/ 109014 w 109013"/>
                  <a:gd name="connsiteY4" fmla="*/ 0 h 169536"/>
                  <a:gd name="connsiteX5" fmla="*/ 103545 w 109013"/>
                  <a:gd name="connsiteY5" fmla="*/ 39012 h 169536"/>
                  <a:gd name="connsiteX6" fmla="*/ 57606 w 109013"/>
                  <a:gd name="connsiteY6" fmla="*/ 39012 h 169536"/>
                  <a:gd name="connsiteX7" fmla="*/ 53960 w 109013"/>
                  <a:gd name="connsiteY7" fmla="*/ 66721 h 169536"/>
                  <a:gd name="connsiteX8" fmla="*/ 96618 w 109013"/>
                  <a:gd name="connsiteY8" fmla="*/ 66721 h 169536"/>
                  <a:gd name="connsiteX9" fmla="*/ 91513 w 109013"/>
                  <a:gd name="connsiteY9" fmla="*/ 103545 h 169536"/>
                  <a:gd name="connsiteX10" fmla="*/ 48856 w 109013"/>
                  <a:gd name="connsiteY10" fmla="*/ 103545 h 169536"/>
                  <a:gd name="connsiteX11" fmla="*/ 44845 w 109013"/>
                  <a:gd name="connsiteY11" fmla="*/ 131983 h 169536"/>
                  <a:gd name="connsiteX12" fmla="*/ 90784 w 109013"/>
                  <a:gd name="connsiteY12" fmla="*/ 131983 h 169536"/>
                  <a:gd name="connsiteX13" fmla="*/ 90784 w 109013"/>
                  <a:gd name="connsiteY13" fmla="*/ 131983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013" h="169536">
                    <a:moveTo>
                      <a:pt x="90784" y="131983"/>
                    </a:moveTo>
                    <a:lnTo>
                      <a:pt x="85680" y="169536"/>
                    </a:lnTo>
                    <a:lnTo>
                      <a:pt x="0" y="169536"/>
                    </a:lnTo>
                    <a:lnTo>
                      <a:pt x="23699" y="0"/>
                    </a:lnTo>
                    <a:lnTo>
                      <a:pt x="109014" y="0"/>
                    </a:lnTo>
                    <a:lnTo>
                      <a:pt x="103545" y="39012"/>
                    </a:lnTo>
                    <a:lnTo>
                      <a:pt x="57606" y="39012"/>
                    </a:lnTo>
                    <a:lnTo>
                      <a:pt x="53960" y="66721"/>
                    </a:lnTo>
                    <a:lnTo>
                      <a:pt x="96618" y="66721"/>
                    </a:lnTo>
                    <a:lnTo>
                      <a:pt x="91513" y="103545"/>
                    </a:lnTo>
                    <a:lnTo>
                      <a:pt x="48856" y="103545"/>
                    </a:lnTo>
                    <a:lnTo>
                      <a:pt x="44845" y="131983"/>
                    </a:lnTo>
                    <a:lnTo>
                      <a:pt x="90784" y="131983"/>
                    </a:lnTo>
                    <a:lnTo>
                      <a:pt x="90784" y="131983"/>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2" name="Freeform: Shape 61">
                <a:extLst>
                  <a:ext uri="{FF2B5EF4-FFF2-40B4-BE49-F238E27FC236}">
                    <a16:creationId xmlns:a16="http://schemas.microsoft.com/office/drawing/2014/main" id="{D52FB109-7780-4760-9957-51C72B9900EE}"/>
                  </a:ext>
                </a:extLst>
              </p:cNvPr>
              <p:cNvSpPr/>
              <p:nvPr/>
            </p:nvSpPr>
            <p:spPr>
              <a:xfrm>
                <a:off x="6180062" y="3369639"/>
                <a:ext cx="154952" cy="169536"/>
              </a:xfrm>
              <a:custGeom>
                <a:avLst/>
                <a:gdLst>
                  <a:gd name="connsiteX0" fmla="*/ 103545 w 154952"/>
                  <a:gd name="connsiteY0" fmla="*/ 99899 h 169536"/>
                  <a:gd name="connsiteX1" fmla="*/ 96618 w 154952"/>
                  <a:gd name="connsiteY1" fmla="*/ 60158 h 169536"/>
                  <a:gd name="connsiteX2" fmla="*/ 94430 w 154952"/>
                  <a:gd name="connsiteY2" fmla="*/ 40835 h 169536"/>
                  <a:gd name="connsiteX3" fmla="*/ 87867 w 154952"/>
                  <a:gd name="connsiteY3" fmla="*/ 60887 h 169536"/>
                  <a:gd name="connsiteX4" fmla="*/ 72190 w 154952"/>
                  <a:gd name="connsiteY4" fmla="*/ 99899 h 169536"/>
                  <a:gd name="connsiteX5" fmla="*/ 103545 w 154952"/>
                  <a:gd name="connsiteY5" fmla="*/ 99899 h 169536"/>
                  <a:gd name="connsiteX6" fmla="*/ 74013 w 154952"/>
                  <a:gd name="connsiteY6" fmla="*/ 0 h 169536"/>
                  <a:gd name="connsiteX7" fmla="*/ 123598 w 154952"/>
                  <a:gd name="connsiteY7" fmla="*/ 0 h 169536"/>
                  <a:gd name="connsiteX8" fmla="*/ 154953 w 154952"/>
                  <a:gd name="connsiteY8" fmla="*/ 169536 h 169536"/>
                  <a:gd name="connsiteX9" fmla="*/ 114847 w 154952"/>
                  <a:gd name="connsiteY9" fmla="*/ 169536 h 169536"/>
                  <a:gd name="connsiteX10" fmla="*/ 109014 w 154952"/>
                  <a:gd name="connsiteY10" fmla="*/ 137452 h 169536"/>
                  <a:gd name="connsiteX11" fmla="*/ 57241 w 154952"/>
                  <a:gd name="connsiteY11" fmla="*/ 137452 h 169536"/>
                  <a:gd name="connsiteX12" fmla="*/ 43022 w 154952"/>
                  <a:gd name="connsiteY12" fmla="*/ 169536 h 169536"/>
                  <a:gd name="connsiteX13" fmla="*/ 0 w 154952"/>
                  <a:gd name="connsiteY13" fmla="*/ 169536 h 169536"/>
                  <a:gd name="connsiteX14" fmla="*/ 74013 w 154952"/>
                  <a:gd name="connsiteY14" fmla="*/ 0 h 169536"/>
                  <a:gd name="connsiteX15" fmla="*/ 74013 w 154952"/>
                  <a:gd name="connsiteY15"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952" h="169536">
                    <a:moveTo>
                      <a:pt x="103545" y="99899"/>
                    </a:moveTo>
                    <a:lnTo>
                      <a:pt x="96618" y="60158"/>
                    </a:lnTo>
                    <a:cubicBezTo>
                      <a:pt x="95524" y="53595"/>
                      <a:pt x="94795" y="47397"/>
                      <a:pt x="94430" y="40835"/>
                    </a:cubicBezTo>
                    <a:cubicBezTo>
                      <a:pt x="91149" y="51408"/>
                      <a:pt x="88961" y="57971"/>
                      <a:pt x="87867" y="60887"/>
                    </a:cubicBezTo>
                    <a:lnTo>
                      <a:pt x="72190" y="99899"/>
                    </a:lnTo>
                    <a:lnTo>
                      <a:pt x="103545" y="99899"/>
                    </a:lnTo>
                    <a:close/>
                    <a:moveTo>
                      <a:pt x="74013" y="0"/>
                    </a:moveTo>
                    <a:lnTo>
                      <a:pt x="123598" y="0"/>
                    </a:lnTo>
                    <a:lnTo>
                      <a:pt x="154953" y="169536"/>
                    </a:lnTo>
                    <a:lnTo>
                      <a:pt x="114847" y="169536"/>
                    </a:lnTo>
                    <a:lnTo>
                      <a:pt x="109014" y="137452"/>
                    </a:lnTo>
                    <a:lnTo>
                      <a:pt x="57241" y="137452"/>
                    </a:lnTo>
                    <a:lnTo>
                      <a:pt x="43022" y="169536"/>
                    </a:lnTo>
                    <a:lnTo>
                      <a:pt x="0" y="169536"/>
                    </a:lnTo>
                    <a:lnTo>
                      <a:pt x="74013" y="0"/>
                    </a:lnTo>
                    <a:lnTo>
                      <a:pt x="74013"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3" name="Freeform: Shape 62">
                <a:extLst>
                  <a:ext uri="{FF2B5EF4-FFF2-40B4-BE49-F238E27FC236}">
                    <a16:creationId xmlns:a16="http://schemas.microsoft.com/office/drawing/2014/main" id="{DA4B8F1D-1E2B-4C76-8314-EF187FD71C00}"/>
                  </a:ext>
                </a:extLst>
              </p:cNvPr>
              <p:cNvSpPr/>
              <p:nvPr/>
            </p:nvSpPr>
            <p:spPr>
              <a:xfrm>
                <a:off x="6343035" y="3369639"/>
                <a:ext cx="94430" cy="169536"/>
              </a:xfrm>
              <a:custGeom>
                <a:avLst/>
                <a:gdLst>
                  <a:gd name="connsiteX0" fmla="*/ 23699 w 94430"/>
                  <a:gd name="connsiteY0" fmla="*/ 0 h 169536"/>
                  <a:gd name="connsiteX1" fmla="*/ 63439 w 94430"/>
                  <a:gd name="connsiteY1" fmla="*/ 0 h 169536"/>
                  <a:gd name="connsiteX2" fmla="*/ 45574 w 94430"/>
                  <a:gd name="connsiteY2" fmla="*/ 129066 h 169536"/>
                  <a:gd name="connsiteX3" fmla="*/ 94430 w 94430"/>
                  <a:gd name="connsiteY3" fmla="*/ 129066 h 169536"/>
                  <a:gd name="connsiteX4" fmla="*/ 88961 w 94430"/>
                  <a:gd name="connsiteY4" fmla="*/ 169536 h 169536"/>
                  <a:gd name="connsiteX5" fmla="*/ 0 w 94430"/>
                  <a:gd name="connsiteY5" fmla="*/ 169536 h 169536"/>
                  <a:gd name="connsiteX6" fmla="*/ 23699 w 94430"/>
                  <a:gd name="connsiteY6" fmla="*/ 0 h 169536"/>
                  <a:gd name="connsiteX7" fmla="*/ 23699 w 94430"/>
                  <a:gd name="connsiteY7"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30" h="169536">
                    <a:moveTo>
                      <a:pt x="23699" y="0"/>
                    </a:moveTo>
                    <a:lnTo>
                      <a:pt x="63439" y="0"/>
                    </a:lnTo>
                    <a:lnTo>
                      <a:pt x="45574" y="129066"/>
                    </a:lnTo>
                    <a:lnTo>
                      <a:pt x="94430" y="129066"/>
                    </a:lnTo>
                    <a:lnTo>
                      <a:pt x="88961" y="169536"/>
                    </a:lnTo>
                    <a:lnTo>
                      <a:pt x="0" y="169536"/>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4" name="Freeform: Shape 63">
                <a:extLst>
                  <a:ext uri="{FF2B5EF4-FFF2-40B4-BE49-F238E27FC236}">
                    <a16:creationId xmlns:a16="http://schemas.microsoft.com/office/drawing/2014/main" id="{C8A65805-48B0-4E4A-B6C1-5973A232A8A9}"/>
                  </a:ext>
                </a:extLst>
              </p:cNvPr>
              <p:cNvSpPr/>
              <p:nvPr/>
            </p:nvSpPr>
            <p:spPr>
              <a:xfrm>
                <a:off x="6442934" y="3369639"/>
                <a:ext cx="110107" cy="169536"/>
              </a:xfrm>
              <a:custGeom>
                <a:avLst/>
                <a:gdLst>
                  <a:gd name="connsiteX0" fmla="*/ 33178 w 110107"/>
                  <a:gd name="connsiteY0" fmla="*/ 39376 h 169536"/>
                  <a:gd name="connsiteX1" fmla="*/ 0 w 110107"/>
                  <a:gd name="connsiteY1" fmla="*/ 39376 h 169536"/>
                  <a:gd name="connsiteX2" fmla="*/ 5469 w 110107"/>
                  <a:gd name="connsiteY2" fmla="*/ 0 h 169536"/>
                  <a:gd name="connsiteX3" fmla="*/ 110108 w 110107"/>
                  <a:gd name="connsiteY3" fmla="*/ 0 h 169536"/>
                  <a:gd name="connsiteX4" fmla="*/ 104639 w 110107"/>
                  <a:gd name="connsiteY4" fmla="*/ 39376 h 169536"/>
                  <a:gd name="connsiteX5" fmla="*/ 72919 w 110107"/>
                  <a:gd name="connsiteY5" fmla="*/ 39376 h 169536"/>
                  <a:gd name="connsiteX6" fmla="*/ 54689 w 110107"/>
                  <a:gd name="connsiteY6" fmla="*/ 169536 h 169536"/>
                  <a:gd name="connsiteX7" fmla="*/ 14948 w 110107"/>
                  <a:gd name="connsiteY7" fmla="*/ 169536 h 169536"/>
                  <a:gd name="connsiteX8" fmla="*/ 33178 w 110107"/>
                  <a:gd name="connsiteY8" fmla="*/ 39376 h 169536"/>
                  <a:gd name="connsiteX9" fmla="*/ 33178 w 110107"/>
                  <a:gd name="connsiteY9" fmla="*/ 39376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107" h="169536">
                    <a:moveTo>
                      <a:pt x="33178" y="39376"/>
                    </a:moveTo>
                    <a:lnTo>
                      <a:pt x="0" y="39376"/>
                    </a:lnTo>
                    <a:lnTo>
                      <a:pt x="5469" y="0"/>
                    </a:lnTo>
                    <a:lnTo>
                      <a:pt x="110108" y="0"/>
                    </a:lnTo>
                    <a:lnTo>
                      <a:pt x="104639" y="39376"/>
                    </a:lnTo>
                    <a:lnTo>
                      <a:pt x="72919" y="39376"/>
                    </a:lnTo>
                    <a:lnTo>
                      <a:pt x="54689" y="169536"/>
                    </a:lnTo>
                    <a:lnTo>
                      <a:pt x="14948" y="169536"/>
                    </a:lnTo>
                    <a:lnTo>
                      <a:pt x="33178" y="39376"/>
                    </a:lnTo>
                    <a:lnTo>
                      <a:pt x="33178" y="3937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5" name="Freeform: Shape 64">
                <a:extLst>
                  <a:ext uri="{FF2B5EF4-FFF2-40B4-BE49-F238E27FC236}">
                    <a16:creationId xmlns:a16="http://schemas.microsoft.com/office/drawing/2014/main" id="{C82D4B25-A11C-4955-9884-00FF6302AC02}"/>
                  </a:ext>
                </a:extLst>
              </p:cNvPr>
              <p:cNvSpPr/>
              <p:nvPr/>
            </p:nvSpPr>
            <p:spPr>
              <a:xfrm>
                <a:off x="6550854" y="3369639"/>
                <a:ext cx="164432" cy="169536"/>
              </a:xfrm>
              <a:custGeom>
                <a:avLst/>
                <a:gdLst>
                  <a:gd name="connsiteX0" fmla="*/ 24792 w 164432"/>
                  <a:gd name="connsiteY0" fmla="*/ 0 h 169536"/>
                  <a:gd name="connsiteX1" fmla="*/ 67085 w 164432"/>
                  <a:gd name="connsiteY1" fmla="*/ 0 h 169536"/>
                  <a:gd name="connsiteX2" fmla="*/ 57241 w 164432"/>
                  <a:gd name="connsiteY2" fmla="*/ 65627 h 169536"/>
                  <a:gd name="connsiteX3" fmla="*/ 112295 w 164432"/>
                  <a:gd name="connsiteY3" fmla="*/ 65627 h 169536"/>
                  <a:gd name="connsiteX4" fmla="*/ 122139 w 164432"/>
                  <a:gd name="connsiteY4" fmla="*/ 0 h 169536"/>
                  <a:gd name="connsiteX5" fmla="*/ 164432 w 164432"/>
                  <a:gd name="connsiteY5" fmla="*/ 0 h 169536"/>
                  <a:gd name="connsiteX6" fmla="*/ 139640 w 164432"/>
                  <a:gd name="connsiteY6" fmla="*/ 169536 h 169536"/>
                  <a:gd name="connsiteX7" fmla="*/ 96982 w 164432"/>
                  <a:gd name="connsiteY7" fmla="*/ 169536 h 169536"/>
                  <a:gd name="connsiteX8" fmla="*/ 107191 w 164432"/>
                  <a:gd name="connsiteY8" fmla="*/ 100264 h 169536"/>
                  <a:gd name="connsiteX9" fmla="*/ 52137 w 164432"/>
                  <a:gd name="connsiteY9" fmla="*/ 100264 h 169536"/>
                  <a:gd name="connsiteX10" fmla="*/ 42293 w 164432"/>
                  <a:gd name="connsiteY10" fmla="*/ 169536 h 169536"/>
                  <a:gd name="connsiteX11" fmla="*/ 0 w 164432"/>
                  <a:gd name="connsiteY11" fmla="*/ 169536 h 169536"/>
                  <a:gd name="connsiteX12" fmla="*/ 24792 w 164432"/>
                  <a:gd name="connsiteY12" fmla="*/ 0 h 169536"/>
                  <a:gd name="connsiteX13" fmla="*/ 24792 w 164432"/>
                  <a:gd name="connsiteY13"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432" h="169536">
                    <a:moveTo>
                      <a:pt x="24792" y="0"/>
                    </a:moveTo>
                    <a:lnTo>
                      <a:pt x="67085" y="0"/>
                    </a:lnTo>
                    <a:lnTo>
                      <a:pt x="57241" y="65627"/>
                    </a:lnTo>
                    <a:lnTo>
                      <a:pt x="112295" y="65627"/>
                    </a:lnTo>
                    <a:lnTo>
                      <a:pt x="122139" y="0"/>
                    </a:lnTo>
                    <a:lnTo>
                      <a:pt x="164432" y="0"/>
                    </a:lnTo>
                    <a:lnTo>
                      <a:pt x="139640" y="169536"/>
                    </a:lnTo>
                    <a:lnTo>
                      <a:pt x="96982" y="169536"/>
                    </a:lnTo>
                    <a:lnTo>
                      <a:pt x="107191" y="100264"/>
                    </a:lnTo>
                    <a:lnTo>
                      <a:pt x="52137" y="100264"/>
                    </a:lnTo>
                    <a:lnTo>
                      <a:pt x="42293" y="169536"/>
                    </a:lnTo>
                    <a:lnTo>
                      <a:pt x="0" y="169536"/>
                    </a:lnTo>
                    <a:lnTo>
                      <a:pt x="24792" y="0"/>
                    </a:lnTo>
                    <a:lnTo>
                      <a:pt x="2479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6" name="Freeform: Shape 65">
                <a:extLst>
                  <a:ext uri="{FF2B5EF4-FFF2-40B4-BE49-F238E27FC236}">
                    <a16:creationId xmlns:a16="http://schemas.microsoft.com/office/drawing/2014/main" id="{D0EECC67-6372-4F95-8E97-6CBCB344B897}"/>
                  </a:ext>
                </a:extLst>
              </p:cNvPr>
              <p:cNvSpPr/>
              <p:nvPr/>
            </p:nvSpPr>
            <p:spPr>
              <a:xfrm>
                <a:off x="6841072" y="3369639"/>
                <a:ext cx="154952" cy="169536"/>
              </a:xfrm>
              <a:custGeom>
                <a:avLst/>
                <a:gdLst>
                  <a:gd name="connsiteX0" fmla="*/ 103180 w 154952"/>
                  <a:gd name="connsiteY0" fmla="*/ 99899 h 169536"/>
                  <a:gd name="connsiteX1" fmla="*/ 96253 w 154952"/>
                  <a:gd name="connsiteY1" fmla="*/ 60158 h 169536"/>
                  <a:gd name="connsiteX2" fmla="*/ 94065 w 154952"/>
                  <a:gd name="connsiteY2" fmla="*/ 40835 h 169536"/>
                  <a:gd name="connsiteX3" fmla="*/ 87503 w 154952"/>
                  <a:gd name="connsiteY3" fmla="*/ 60887 h 169536"/>
                  <a:gd name="connsiteX4" fmla="*/ 71825 w 154952"/>
                  <a:gd name="connsiteY4" fmla="*/ 99899 h 169536"/>
                  <a:gd name="connsiteX5" fmla="*/ 103180 w 154952"/>
                  <a:gd name="connsiteY5" fmla="*/ 99899 h 169536"/>
                  <a:gd name="connsiteX6" fmla="*/ 74013 w 154952"/>
                  <a:gd name="connsiteY6" fmla="*/ 0 h 169536"/>
                  <a:gd name="connsiteX7" fmla="*/ 123598 w 154952"/>
                  <a:gd name="connsiteY7" fmla="*/ 0 h 169536"/>
                  <a:gd name="connsiteX8" fmla="*/ 154953 w 154952"/>
                  <a:gd name="connsiteY8" fmla="*/ 169536 h 169536"/>
                  <a:gd name="connsiteX9" fmla="*/ 114847 w 154952"/>
                  <a:gd name="connsiteY9" fmla="*/ 169536 h 169536"/>
                  <a:gd name="connsiteX10" fmla="*/ 109014 w 154952"/>
                  <a:gd name="connsiteY10" fmla="*/ 137452 h 169536"/>
                  <a:gd name="connsiteX11" fmla="*/ 57241 w 154952"/>
                  <a:gd name="connsiteY11" fmla="*/ 137452 h 169536"/>
                  <a:gd name="connsiteX12" fmla="*/ 43022 w 154952"/>
                  <a:gd name="connsiteY12" fmla="*/ 169536 h 169536"/>
                  <a:gd name="connsiteX13" fmla="*/ 0 w 154952"/>
                  <a:gd name="connsiteY13" fmla="*/ 169536 h 169536"/>
                  <a:gd name="connsiteX14" fmla="*/ 74013 w 154952"/>
                  <a:gd name="connsiteY14" fmla="*/ 0 h 169536"/>
                  <a:gd name="connsiteX15" fmla="*/ 74013 w 154952"/>
                  <a:gd name="connsiteY15" fmla="*/ 0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4952" h="169536">
                    <a:moveTo>
                      <a:pt x="103180" y="99899"/>
                    </a:moveTo>
                    <a:lnTo>
                      <a:pt x="96253" y="60158"/>
                    </a:lnTo>
                    <a:cubicBezTo>
                      <a:pt x="95159" y="53595"/>
                      <a:pt x="94430" y="47397"/>
                      <a:pt x="94065" y="40835"/>
                    </a:cubicBezTo>
                    <a:cubicBezTo>
                      <a:pt x="90784" y="51408"/>
                      <a:pt x="88596" y="57971"/>
                      <a:pt x="87503" y="60887"/>
                    </a:cubicBezTo>
                    <a:lnTo>
                      <a:pt x="71825" y="99899"/>
                    </a:lnTo>
                    <a:lnTo>
                      <a:pt x="103180" y="99899"/>
                    </a:lnTo>
                    <a:close/>
                    <a:moveTo>
                      <a:pt x="74013" y="0"/>
                    </a:moveTo>
                    <a:lnTo>
                      <a:pt x="123598" y="0"/>
                    </a:lnTo>
                    <a:lnTo>
                      <a:pt x="154953" y="169536"/>
                    </a:lnTo>
                    <a:lnTo>
                      <a:pt x="114847" y="169536"/>
                    </a:lnTo>
                    <a:lnTo>
                      <a:pt x="109014" y="137452"/>
                    </a:lnTo>
                    <a:lnTo>
                      <a:pt x="57241" y="137452"/>
                    </a:lnTo>
                    <a:lnTo>
                      <a:pt x="43022" y="169536"/>
                    </a:lnTo>
                    <a:lnTo>
                      <a:pt x="0" y="169536"/>
                    </a:lnTo>
                    <a:lnTo>
                      <a:pt x="74013" y="0"/>
                    </a:lnTo>
                    <a:lnTo>
                      <a:pt x="74013"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621A3EB7-3F97-45E6-B2CF-64C025EBC33C}"/>
                  </a:ext>
                </a:extLst>
              </p:cNvPr>
              <p:cNvSpPr/>
              <p:nvPr/>
            </p:nvSpPr>
            <p:spPr>
              <a:xfrm>
                <a:off x="7004045" y="3369639"/>
                <a:ext cx="127243" cy="169536"/>
              </a:xfrm>
              <a:custGeom>
                <a:avLst/>
                <a:gdLst>
                  <a:gd name="connsiteX0" fmla="*/ 64533 w 127243"/>
                  <a:gd name="connsiteY0" fmla="*/ 77659 h 169536"/>
                  <a:gd name="connsiteX1" fmla="*/ 88961 w 127243"/>
                  <a:gd name="connsiteY1" fmla="*/ 53595 h 169536"/>
                  <a:gd name="connsiteX2" fmla="*/ 64169 w 127243"/>
                  <a:gd name="connsiteY2" fmla="*/ 32814 h 169536"/>
                  <a:gd name="connsiteX3" fmla="*/ 58335 w 127243"/>
                  <a:gd name="connsiteY3" fmla="*/ 32814 h 169536"/>
                  <a:gd name="connsiteX4" fmla="*/ 52137 w 127243"/>
                  <a:gd name="connsiteY4" fmla="*/ 77294 h 169536"/>
                  <a:gd name="connsiteX5" fmla="*/ 64533 w 127243"/>
                  <a:gd name="connsiteY5" fmla="*/ 77294 h 169536"/>
                  <a:gd name="connsiteX6" fmla="*/ 0 w 127243"/>
                  <a:gd name="connsiteY6" fmla="*/ 169536 h 169536"/>
                  <a:gd name="connsiteX7" fmla="*/ 23334 w 127243"/>
                  <a:gd name="connsiteY7" fmla="*/ 0 h 169536"/>
                  <a:gd name="connsiteX8" fmla="*/ 62710 w 127243"/>
                  <a:gd name="connsiteY8" fmla="*/ 0 h 169536"/>
                  <a:gd name="connsiteX9" fmla="*/ 104274 w 127243"/>
                  <a:gd name="connsiteY9" fmla="*/ 6563 h 169536"/>
                  <a:gd name="connsiteX10" fmla="*/ 127244 w 127243"/>
                  <a:gd name="connsiteY10" fmla="*/ 49585 h 169536"/>
                  <a:gd name="connsiteX11" fmla="*/ 86044 w 127243"/>
                  <a:gd name="connsiteY11" fmla="*/ 102816 h 169536"/>
                  <a:gd name="connsiteX12" fmla="*/ 122139 w 127243"/>
                  <a:gd name="connsiteY12" fmla="*/ 169536 h 169536"/>
                  <a:gd name="connsiteX13" fmla="*/ 76929 w 127243"/>
                  <a:gd name="connsiteY13" fmla="*/ 169536 h 169536"/>
                  <a:gd name="connsiteX14" fmla="*/ 48491 w 127243"/>
                  <a:gd name="connsiteY14" fmla="*/ 104639 h 169536"/>
                  <a:gd name="connsiteX15" fmla="*/ 39741 w 127243"/>
                  <a:gd name="connsiteY15" fmla="*/ 169536 h 169536"/>
                  <a:gd name="connsiteX16" fmla="*/ 365 w 127243"/>
                  <a:gd name="connsiteY16" fmla="*/ 169536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243" h="169536">
                    <a:moveTo>
                      <a:pt x="64533" y="77659"/>
                    </a:moveTo>
                    <a:cubicBezTo>
                      <a:pt x="80211" y="77659"/>
                      <a:pt x="88961" y="69273"/>
                      <a:pt x="88961" y="53595"/>
                    </a:cubicBezTo>
                    <a:cubicBezTo>
                      <a:pt x="88961" y="37918"/>
                      <a:pt x="80940" y="32814"/>
                      <a:pt x="64169" y="32814"/>
                    </a:cubicBezTo>
                    <a:lnTo>
                      <a:pt x="58335" y="32814"/>
                    </a:lnTo>
                    <a:lnTo>
                      <a:pt x="52137" y="77294"/>
                    </a:lnTo>
                    <a:lnTo>
                      <a:pt x="64533" y="77294"/>
                    </a:lnTo>
                    <a:close/>
                    <a:moveTo>
                      <a:pt x="0" y="169536"/>
                    </a:moveTo>
                    <a:lnTo>
                      <a:pt x="23334" y="0"/>
                    </a:lnTo>
                    <a:lnTo>
                      <a:pt x="62710" y="0"/>
                    </a:lnTo>
                    <a:cubicBezTo>
                      <a:pt x="79846" y="0"/>
                      <a:pt x="93336" y="365"/>
                      <a:pt x="104274" y="6563"/>
                    </a:cubicBezTo>
                    <a:cubicBezTo>
                      <a:pt x="119222" y="14584"/>
                      <a:pt x="127244" y="29168"/>
                      <a:pt x="127244" y="49585"/>
                    </a:cubicBezTo>
                    <a:cubicBezTo>
                      <a:pt x="127244" y="77294"/>
                      <a:pt x="111931" y="97711"/>
                      <a:pt x="86044" y="102816"/>
                    </a:cubicBezTo>
                    <a:lnTo>
                      <a:pt x="122139" y="169536"/>
                    </a:lnTo>
                    <a:lnTo>
                      <a:pt x="76929" y="169536"/>
                    </a:lnTo>
                    <a:lnTo>
                      <a:pt x="48491" y="104639"/>
                    </a:lnTo>
                    <a:lnTo>
                      <a:pt x="39741" y="169536"/>
                    </a:lnTo>
                    <a:lnTo>
                      <a:pt x="365" y="16953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68" name="Graphic 1309">
                <a:extLst>
                  <a:ext uri="{FF2B5EF4-FFF2-40B4-BE49-F238E27FC236}">
                    <a16:creationId xmlns:a16="http://schemas.microsoft.com/office/drawing/2014/main" id="{02C1D7B9-D23F-4B3C-8BC8-08363E75C3AC}"/>
                  </a:ext>
                </a:extLst>
              </p:cNvPr>
              <p:cNvGrpSpPr/>
              <p:nvPr/>
            </p:nvGrpSpPr>
            <p:grpSpPr>
              <a:xfrm>
                <a:off x="6720274" y="3367001"/>
                <a:ext cx="529507" cy="172615"/>
                <a:chOff x="6720274" y="3367001"/>
                <a:chExt cx="529507" cy="172615"/>
              </a:xfrm>
              <a:solidFill>
                <a:srgbClr val="A1ABB2"/>
              </a:solidFill>
            </p:grpSpPr>
            <p:sp>
              <p:nvSpPr>
                <p:cNvPr id="81" name="Freeform: Shape 80">
                  <a:extLst>
                    <a:ext uri="{FF2B5EF4-FFF2-40B4-BE49-F238E27FC236}">
                      <a16:creationId xmlns:a16="http://schemas.microsoft.com/office/drawing/2014/main" id="{85E20BF2-1DCD-4595-98EE-9DEBCEAD2D9D}"/>
                    </a:ext>
                  </a:extLst>
                </p:cNvPr>
                <p:cNvSpPr/>
                <p:nvPr/>
              </p:nvSpPr>
              <p:spPr>
                <a:xfrm>
                  <a:off x="7141133" y="3369639"/>
                  <a:ext cx="108649" cy="169536"/>
                </a:xfrm>
                <a:custGeom>
                  <a:avLst/>
                  <a:gdLst>
                    <a:gd name="connsiteX0" fmla="*/ 90420 w 108649"/>
                    <a:gd name="connsiteY0" fmla="*/ 131983 h 169536"/>
                    <a:gd name="connsiteX1" fmla="*/ 85315 w 108649"/>
                    <a:gd name="connsiteY1" fmla="*/ 169536 h 169536"/>
                    <a:gd name="connsiteX2" fmla="*/ 0 w 108649"/>
                    <a:gd name="connsiteY2" fmla="*/ 169536 h 169536"/>
                    <a:gd name="connsiteX3" fmla="*/ 23334 w 108649"/>
                    <a:gd name="connsiteY3" fmla="*/ 0 h 169536"/>
                    <a:gd name="connsiteX4" fmla="*/ 108649 w 108649"/>
                    <a:gd name="connsiteY4" fmla="*/ 0 h 169536"/>
                    <a:gd name="connsiteX5" fmla="*/ 103180 w 108649"/>
                    <a:gd name="connsiteY5" fmla="*/ 39012 h 169536"/>
                    <a:gd name="connsiteX6" fmla="*/ 57606 w 108649"/>
                    <a:gd name="connsiteY6" fmla="*/ 39012 h 169536"/>
                    <a:gd name="connsiteX7" fmla="*/ 53595 w 108649"/>
                    <a:gd name="connsiteY7" fmla="*/ 66721 h 169536"/>
                    <a:gd name="connsiteX8" fmla="*/ 96253 w 108649"/>
                    <a:gd name="connsiteY8" fmla="*/ 66721 h 169536"/>
                    <a:gd name="connsiteX9" fmla="*/ 91149 w 108649"/>
                    <a:gd name="connsiteY9" fmla="*/ 103545 h 169536"/>
                    <a:gd name="connsiteX10" fmla="*/ 48491 w 108649"/>
                    <a:gd name="connsiteY10" fmla="*/ 103545 h 169536"/>
                    <a:gd name="connsiteX11" fmla="*/ 44481 w 108649"/>
                    <a:gd name="connsiteY11" fmla="*/ 131983 h 169536"/>
                    <a:gd name="connsiteX12" fmla="*/ 90420 w 108649"/>
                    <a:gd name="connsiteY12" fmla="*/ 131983 h 169536"/>
                    <a:gd name="connsiteX13" fmla="*/ 90420 w 108649"/>
                    <a:gd name="connsiteY13" fmla="*/ 131983 h 169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8649" h="169536">
                      <a:moveTo>
                        <a:pt x="90420" y="131983"/>
                      </a:moveTo>
                      <a:lnTo>
                        <a:pt x="85315" y="169536"/>
                      </a:lnTo>
                      <a:lnTo>
                        <a:pt x="0" y="169536"/>
                      </a:lnTo>
                      <a:lnTo>
                        <a:pt x="23334" y="0"/>
                      </a:lnTo>
                      <a:lnTo>
                        <a:pt x="108649" y="0"/>
                      </a:lnTo>
                      <a:lnTo>
                        <a:pt x="103180" y="39012"/>
                      </a:lnTo>
                      <a:lnTo>
                        <a:pt x="57606" y="39012"/>
                      </a:lnTo>
                      <a:lnTo>
                        <a:pt x="53595" y="66721"/>
                      </a:lnTo>
                      <a:lnTo>
                        <a:pt x="96253" y="66721"/>
                      </a:lnTo>
                      <a:lnTo>
                        <a:pt x="91149" y="103545"/>
                      </a:lnTo>
                      <a:lnTo>
                        <a:pt x="48491" y="103545"/>
                      </a:lnTo>
                      <a:lnTo>
                        <a:pt x="44481" y="131983"/>
                      </a:lnTo>
                      <a:lnTo>
                        <a:pt x="90420" y="131983"/>
                      </a:lnTo>
                      <a:lnTo>
                        <a:pt x="90420" y="131983"/>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BAB4895E-58FD-446A-B541-0DD9D146DB92}"/>
                    </a:ext>
                  </a:extLst>
                </p:cNvPr>
                <p:cNvSpPr/>
                <p:nvPr/>
              </p:nvSpPr>
              <p:spPr>
                <a:xfrm>
                  <a:off x="6720274" y="3367001"/>
                  <a:ext cx="148141" cy="172615"/>
                </a:xfrm>
                <a:custGeom>
                  <a:avLst/>
                  <a:gdLst>
                    <a:gd name="connsiteX0" fmla="*/ 138298 w 148141"/>
                    <a:gd name="connsiteY0" fmla="*/ 55139 h 172615"/>
                    <a:gd name="connsiteX1" fmla="*/ 95276 w 148141"/>
                    <a:gd name="connsiteY1" fmla="*/ 40555 h 172615"/>
                    <a:gd name="connsiteX2" fmla="*/ 45691 w 148141"/>
                    <a:gd name="connsiteY2" fmla="*/ 93057 h 172615"/>
                    <a:gd name="connsiteX3" fmla="*/ 86161 w 148141"/>
                    <a:gd name="connsiteY3" fmla="*/ 132798 h 172615"/>
                    <a:gd name="connsiteX4" fmla="*/ 124079 w 148141"/>
                    <a:gd name="connsiteY4" fmla="*/ 122589 h 172615"/>
                    <a:gd name="connsiteX5" fmla="*/ 114964 w 148141"/>
                    <a:gd name="connsiteY5" fmla="*/ 165247 h 172615"/>
                    <a:gd name="connsiteX6" fmla="*/ 74129 w 148141"/>
                    <a:gd name="connsiteY6" fmla="*/ 172539 h 172615"/>
                    <a:gd name="connsiteX7" fmla="*/ 116 w 148141"/>
                    <a:gd name="connsiteY7" fmla="*/ 96338 h 172615"/>
                    <a:gd name="connsiteX8" fmla="*/ 24544 w 148141"/>
                    <a:gd name="connsiteY8" fmla="*/ 33993 h 172615"/>
                    <a:gd name="connsiteX9" fmla="*/ 99286 w 148141"/>
                    <a:gd name="connsiteY9" fmla="*/ 85 h 172615"/>
                    <a:gd name="connsiteX10" fmla="*/ 148142 w 148141"/>
                    <a:gd name="connsiteY10" fmla="*/ 9565 h 172615"/>
                    <a:gd name="connsiteX11" fmla="*/ 138662 w 148141"/>
                    <a:gd name="connsiteY11" fmla="*/ 55139 h 172615"/>
                    <a:gd name="connsiteX12" fmla="*/ 138662 w 148141"/>
                    <a:gd name="connsiteY12" fmla="*/ 55139 h 17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141" h="172615">
                      <a:moveTo>
                        <a:pt x="138298" y="55139"/>
                      </a:moveTo>
                      <a:cubicBezTo>
                        <a:pt x="125902" y="44566"/>
                        <a:pt x="110953" y="39826"/>
                        <a:pt x="95276" y="40555"/>
                      </a:cubicBezTo>
                      <a:cubicBezTo>
                        <a:pt x="67931" y="41649"/>
                        <a:pt x="47149" y="63525"/>
                        <a:pt x="45691" y="93057"/>
                      </a:cubicBezTo>
                      <a:cubicBezTo>
                        <a:pt x="44232" y="119308"/>
                        <a:pt x="58816" y="134256"/>
                        <a:pt x="86161" y="132798"/>
                      </a:cubicBezTo>
                      <a:cubicBezTo>
                        <a:pt x="98557" y="132433"/>
                        <a:pt x="110589" y="128787"/>
                        <a:pt x="124079" y="122589"/>
                      </a:cubicBezTo>
                      <a:lnTo>
                        <a:pt x="114964" y="165247"/>
                      </a:lnTo>
                      <a:cubicBezTo>
                        <a:pt x="103661" y="169257"/>
                        <a:pt x="89807" y="171809"/>
                        <a:pt x="74129" y="172539"/>
                      </a:cubicBezTo>
                      <a:cubicBezTo>
                        <a:pt x="26732" y="174362"/>
                        <a:pt x="-2071" y="143736"/>
                        <a:pt x="116" y="96338"/>
                      </a:cubicBezTo>
                      <a:cubicBezTo>
                        <a:pt x="1210" y="73004"/>
                        <a:pt x="9960" y="51493"/>
                        <a:pt x="24544" y="33993"/>
                      </a:cubicBezTo>
                      <a:cubicBezTo>
                        <a:pt x="42774" y="13575"/>
                        <a:pt x="68296" y="1544"/>
                        <a:pt x="99286" y="85"/>
                      </a:cubicBezTo>
                      <a:cubicBezTo>
                        <a:pt x="118974" y="-644"/>
                        <a:pt x="134652" y="3367"/>
                        <a:pt x="148142" y="9565"/>
                      </a:cubicBezTo>
                      <a:lnTo>
                        <a:pt x="138662" y="55139"/>
                      </a:lnTo>
                      <a:lnTo>
                        <a:pt x="138662" y="55139"/>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69" name="Freeform: Shape 68">
                <a:extLst>
                  <a:ext uri="{FF2B5EF4-FFF2-40B4-BE49-F238E27FC236}">
                    <a16:creationId xmlns:a16="http://schemas.microsoft.com/office/drawing/2014/main" id="{C194A27F-F2E1-46F4-8F79-A31DD96F252C}"/>
                  </a:ext>
                </a:extLst>
              </p:cNvPr>
              <p:cNvSpPr/>
              <p:nvPr/>
            </p:nvSpPr>
            <p:spPr>
              <a:xfrm>
                <a:off x="6290169" y="3592771"/>
                <a:ext cx="91877" cy="149483"/>
              </a:xfrm>
              <a:custGeom>
                <a:avLst/>
                <a:gdLst>
                  <a:gd name="connsiteX0" fmla="*/ 91878 w 91877"/>
                  <a:gd name="connsiteY0" fmla="*/ 132348 h 149483"/>
                  <a:gd name="connsiteX1" fmla="*/ 88961 w 91877"/>
                  <a:gd name="connsiteY1" fmla="*/ 149484 h 149483"/>
                  <a:gd name="connsiteX2" fmla="*/ 0 w 91877"/>
                  <a:gd name="connsiteY2" fmla="*/ 149484 h 149483"/>
                  <a:gd name="connsiteX3" fmla="*/ 0 w 91877"/>
                  <a:gd name="connsiteY3" fmla="*/ 148025 h 149483"/>
                  <a:gd name="connsiteX4" fmla="*/ 5104 w 91877"/>
                  <a:gd name="connsiteY4" fmla="*/ 145473 h 149483"/>
                  <a:gd name="connsiteX5" fmla="*/ 8386 w 91877"/>
                  <a:gd name="connsiteY5" fmla="*/ 136358 h 149483"/>
                  <a:gd name="connsiteX6" fmla="*/ 29532 w 91877"/>
                  <a:gd name="connsiteY6" fmla="*/ 13855 h 149483"/>
                  <a:gd name="connsiteX7" fmla="*/ 24428 w 91877"/>
                  <a:gd name="connsiteY7" fmla="*/ 1458 h 149483"/>
                  <a:gd name="connsiteX8" fmla="*/ 24428 w 91877"/>
                  <a:gd name="connsiteY8" fmla="*/ 0 h 149483"/>
                  <a:gd name="connsiteX9" fmla="*/ 54325 w 91877"/>
                  <a:gd name="connsiteY9" fmla="*/ 0 h 149483"/>
                  <a:gd name="connsiteX10" fmla="*/ 54325 w 91877"/>
                  <a:gd name="connsiteY10" fmla="*/ 1458 h 149483"/>
                  <a:gd name="connsiteX11" fmla="*/ 47033 w 91877"/>
                  <a:gd name="connsiteY11" fmla="*/ 6198 h 149483"/>
                  <a:gd name="connsiteX12" fmla="*/ 44845 w 91877"/>
                  <a:gd name="connsiteY12" fmla="*/ 14948 h 149483"/>
                  <a:gd name="connsiteX13" fmla="*/ 26615 w 91877"/>
                  <a:gd name="connsiteY13" fmla="*/ 119952 h 149483"/>
                  <a:gd name="connsiteX14" fmla="*/ 29168 w 91877"/>
                  <a:gd name="connsiteY14" fmla="*/ 138911 h 149483"/>
                  <a:gd name="connsiteX15" fmla="*/ 48126 w 91877"/>
                  <a:gd name="connsiteY15" fmla="*/ 144379 h 149483"/>
                  <a:gd name="connsiteX16" fmla="*/ 64533 w 91877"/>
                  <a:gd name="connsiteY16" fmla="*/ 144379 h 149483"/>
                  <a:gd name="connsiteX17" fmla="*/ 83128 w 91877"/>
                  <a:gd name="connsiteY17" fmla="*/ 137817 h 149483"/>
                  <a:gd name="connsiteX18" fmla="*/ 87138 w 91877"/>
                  <a:gd name="connsiteY18" fmla="*/ 132348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877" h="149483">
                    <a:moveTo>
                      <a:pt x="91878" y="132348"/>
                    </a:moveTo>
                    <a:lnTo>
                      <a:pt x="88961" y="149484"/>
                    </a:lnTo>
                    <a:lnTo>
                      <a:pt x="0" y="149484"/>
                    </a:lnTo>
                    <a:lnTo>
                      <a:pt x="0" y="148025"/>
                    </a:lnTo>
                    <a:cubicBezTo>
                      <a:pt x="4375" y="148025"/>
                      <a:pt x="3281" y="147296"/>
                      <a:pt x="5104" y="145473"/>
                    </a:cubicBezTo>
                    <a:cubicBezTo>
                      <a:pt x="6563" y="143650"/>
                      <a:pt x="7656" y="140734"/>
                      <a:pt x="8386" y="136358"/>
                    </a:cubicBezTo>
                    <a:lnTo>
                      <a:pt x="29532" y="13855"/>
                    </a:lnTo>
                    <a:cubicBezTo>
                      <a:pt x="30261" y="9479"/>
                      <a:pt x="29532" y="1458"/>
                      <a:pt x="24428" y="1458"/>
                    </a:cubicBezTo>
                    <a:lnTo>
                      <a:pt x="24428" y="0"/>
                    </a:lnTo>
                    <a:lnTo>
                      <a:pt x="54325" y="0"/>
                    </a:lnTo>
                    <a:lnTo>
                      <a:pt x="54325" y="1458"/>
                    </a:lnTo>
                    <a:cubicBezTo>
                      <a:pt x="50679" y="1458"/>
                      <a:pt x="47397" y="5104"/>
                      <a:pt x="47033" y="6198"/>
                    </a:cubicBezTo>
                    <a:cubicBezTo>
                      <a:pt x="46304" y="7656"/>
                      <a:pt x="45574" y="10573"/>
                      <a:pt x="44845" y="14948"/>
                    </a:cubicBezTo>
                    <a:lnTo>
                      <a:pt x="26615" y="119952"/>
                    </a:lnTo>
                    <a:cubicBezTo>
                      <a:pt x="25157" y="129066"/>
                      <a:pt x="25886" y="135265"/>
                      <a:pt x="29168" y="138911"/>
                    </a:cubicBezTo>
                    <a:cubicBezTo>
                      <a:pt x="32449" y="142557"/>
                      <a:pt x="38647" y="144379"/>
                      <a:pt x="48126" y="144379"/>
                    </a:cubicBezTo>
                    <a:lnTo>
                      <a:pt x="64533" y="144379"/>
                    </a:lnTo>
                    <a:cubicBezTo>
                      <a:pt x="72554" y="144379"/>
                      <a:pt x="78752" y="142192"/>
                      <a:pt x="83128" y="137817"/>
                    </a:cubicBezTo>
                    <a:cubicBezTo>
                      <a:pt x="84586" y="136358"/>
                      <a:pt x="86044" y="134535"/>
                      <a:pt x="87138" y="132348"/>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0" name="Freeform: Shape 69">
                <a:extLst>
                  <a:ext uri="{FF2B5EF4-FFF2-40B4-BE49-F238E27FC236}">
                    <a16:creationId xmlns:a16="http://schemas.microsoft.com/office/drawing/2014/main" id="{5B80B908-D0E0-4527-BF58-25A4B425C61A}"/>
                  </a:ext>
                </a:extLst>
              </p:cNvPr>
              <p:cNvSpPr/>
              <p:nvPr/>
            </p:nvSpPr>
            <p:spPr>
              <a:xfrm>
                <a:off x="6401370" y="3592406"/>
                <a:ext cx="56512" cy="149483"/>
              </a:xfrm>
              <a:custGeom>
                <a:avLst/>
                <a:gdLst>
                  <a:gd name="connsiteX0" fmla="*/ 56148 w 56512"/>
                  <a:gd name="connsiteY0" fmla="*/ 365 h 149483"/>
                  <a:gd name="connsiteX1" fmla="*/ 56148 w 56512"/>
                  <a:gd name="connsiteY1" fmla="*/ 1823 h 149483"/>
                  <a:gd name="connsiteX2" fmla="*/ 48126 w 56512"/>
                  <a:gd name="connsiteY2" fmla="*/ 6198 h 149483"/>
                  <a:gd name="connsiteX3" fmla="*/ 45574 w 56512"/>
                  <a:gd name="connsiteY3" fmla="*/ 17136 h 149483"/>
                  <a:gd name="connsiteX4" fmla="*/ 25886 w 56512"/>
                  <a:gd name="connsiteY4" fmla="*/ 131983 h 149483"/>
                  <a:gd name="connsiteX5" fmla="*/ 24428 w 56512"/>
                  <a:gd name="connsiteY5" fmla="*/ 143286 h 149483"/>
                  <a:gd name="connsiteX6" fmla="*/ 30261 w 56512"/>
                  <a:gd name="connsiteY6" fmla="*/ 148025 h 149483"/>
                  <a:gd name="connsiteX7" fmla="*/ 30261 w 56512"/>
                  <a:gd name="connsiteY7" fmla="*/ 149484 h 149483"/>
                  <a:gd name="connsiteX8" fmla="*/ 0 w 56512"/>
                  <a:gd name="connsiteY8" fmla="*/ 149484 h 149483"/>
                  <a:gd name="connsiteX9" fmla="*/ 0 w 56512"/>
                  <a:gd name="connsiteY9" fmla="*/ 148025 h 149483"/>
                  <a:gd name="connsiteX10" fmla="*/ 10209 w 56512"/>
                  <a:gd name="connsiteY10" fmla="*/ 131983 h 149483"/>
                  <a:gd name="connsiteX11" fmla="*/ 29897 w 56512"/>
                  <a:gd name="connsiteY11" fmla="*/ 18230 h 149483"/>
                  <a:gd name="connsiteX12" fmla="*/ 30626 w 56512"/>
                  <a:gd name="connsiteY12" fmla="*/ 4375 h 149483"/>
                  <a:gd name="connsiteX13" fmla="*/ 25157 w 56512"/>
                  <a:gd name="connsiteY13" fmla="*/ 1458 h 149483"/>
                  <a:gd name="connsiteX14" fmla="*/ 25157 w 56512"/>
                  <a:gd name="connsiteY14" fmla="*/ 0 h 149483"/>
                  <a:gd name="connsiteX15" fmla="*/ 56512 w 56512"/>
                  <a:gd name="connsiteY15" fmla="*/ 0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512" h="149483">
                    <a:moveTo>
                      <a:pt x="56148" y="365"/>
                    </a:moveTo>
                    <a:lnTo>
                      <a:pt x="56148" y="1823"/>
                    </a:lnTo>
                    <a:cubicBezTo>
                      <a:pt x="53960" y="1823"/>
                      <a:pt x="49220" y="3281"/>
                      <a:pt x="48126" y="6198"/>
                    </a:cubicBezTo>
                    <a:cubicBezTo>
                      <a:pt x="47397" y="7656"/>
                      <a:pt x="46668" y="11302"/>
                      <a:pt x="45574" y="17136"/>
                    </a:cubicBezTo>
                    <a:lnTo>
                      <a:pt x="25886" y="131983"/>
                    </a:lnTo>
                    <a:cubicBezTo>
                      <a:pt x="24792" y="138181"/>
                      <a:pt x="24428" y="142192"/>
                      <a:pt x="24428" y="143286"/>
                    </a:cubicBezTo>
                    <a:cubicBezTo>
                      <a:pt x="24428" y="144744"/>
                      <a:pt x="26980" y="148025"/>
                      <a:pt x="30261" y="148025"/>
                    </a:cubicBezTo>
                    <a:lnTo>
                      <a:pt x="30261" y="149484"/>
                    </a:lnTo>
                    <a:lnTo>
                      <a:pt x="0" y="149484"/>
                    </a:lnTo>
                    <a:lnTo>
                      <a:pt x="0" y="148025"/>
                    </a:lnTo>
                    <a:cubicBezTo>
                      <a:pt x="4740" y="148025"/>
                      <a:pt x="8750" y="138911"/>
                      <a:pt x="10209" y="131983"/>
                    </a:cubicBezTo>
                    <a:lnTo>
                      <a:pt x="29897" y="18230"/>
                    </a:lnTo>
                    <a:cubicBezTo>
                      <a:pt x="30991" y="10938"/>
                      <a:pt x="31355" y="6563"/>
                      <a:pt x="30626" y="4375"/>
                    </a:cubicBezTo>
                    <a:cubicBezTo>
                      <a:pt x="29897" y="2188"/>
                      <a:pt x="29168" y="1094"/>
                      <a:pt x="25157" y="1458"/>
                    </a:cubicBezTo>
                    <a:lnTo>
                      <a:pt x="25157" y="0"/>
                    </a:lnTo>
                    <a:lnTo>
                      <a:pt x="56512"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1" name="Freeform: Shape 70">
                <a:extLst>
                  <a:ext uri="{FF2B5EF4-FFF2-40B4-BE49-F238E27FC236}">
                    <a16:creationId xmlns:a16="http://schemas.microsoft.com/office/drawing/2014/main" id="{E583ACFF-D8E6-4555-99A8-B135761CEB5C}"/>
                  </a:ext>
                </a:extLst>
              </p:cNvPr>
              <p:cNvSpPr/>
              <p:nvPr/>
            </p:nvSpPr>
            <p:spPr>
              <a:xfrm>
                <a:off x="6465292" y="3590583"/>
                <a:ext cx="137699" cy="152035"/>
              </a:xfrm>
              <a:custGeom>
                <a:avLst/>
                <a:gdLst>
                  <a:gd name="connsiteX0" fmla="*/ 111449 w 137699"/>
                  <a:gd name="connsiteY0" fmla="*/ 151671 h 152035"/>
                  <a:gd name="connsiteX1" fmla="*/ 66604 w 137699"/>
                  <a:gd name="connsiteY1" fmla="*/ 151671 h 152035"/>
                  <a:gd name="connsiteX2" fmla="*/ 39988 w 137699"/>
                  <a:gd name="connsiteY2" fmla="*/ 148025 h 152035"/>
                  <a:gd name="connsiteX3" fmla="*/ 18477 w 137699"/>
                  <a:gd name="connsiteY3" fmla="*/ 133806 h 152035"/>
                  <a:gd name="connsiteX4" fmla="*/ 3164 w 137699"/>
                  <a:gd name="connsiteY4" fmla="*/ 107555 h 152035"/>
                  <a:gd name="connsiteX5" fmla="*/ 977 w 137699"/>
                  <a:gd name="connsiteY5" fmla="*/ 75471 h 152035"/>
                  <a:gd name="connsiteX6" fmla="*/ 16654 w 137699"/>
                  <a:gd name="connsiteY6" fmla="*/ 39741 h 152035"/>
                  <a:gd name="connsiteX7" fmla="*/ 48738 w 137699"/>
                  <a:gd name="connsiteY7" fmla="*/ 10938 h 152035"/>
                  <a:gd name="connsiteX8" fmla="*/ 90302 w 137699"/>
                  <a:gd name="connsiteY8" fmla="*/ 0 h 152035"/>
                  <a:gd name="connsiteX9" fmla="*/ 137700 w 137699"/>
                  <a:gd name="connsiteY9" fmla="*/ 13125 h 152035"/>
                  <a:gd name="connsiteX10" fmla="*/ 132960 w 137699"/>
                  <a:gd name="connsiteY10" fmla="*/ 26980 h 152035"/>
                  <a:gd name="connsiteX11" fmla="*/ 131501 w 137699"/>
                  <a:gd name="connsiteY11" fmla="*/ 26980 h 152035"/>
                  <a:gd name="connsiteX12" fmla="*/ 114366 w 137699"/>
                  <a:gd name="connsiteY12" fmla="*/ 10938 h 152035"/>
                  <a:gd name="connsiteX13" fmla="*/ 87750 w 137699"/>
                  <a:gd name="connsiteY13" fmla="*/ 5834 h 152035"/>
                  <a:gd name="connsiteX14" fmla="*/ 42540 w 137699"/>
                  <a:gd name="connsiteY14" fmla="*/ 25522 h 152035"/>
                  <a:gd name="connsiteX15" fmla="*/ 16654 w 137699"/>
                  <a:gd name="connsiteY15" fmla="*/ 79482 h 152035"/>
                  <a:gd name="connsiteX16" fmla="*/ 15196 w 137699"/>
                  <a:gd name="connsiteY16" fmla="*/ 103545 h 152035"/>
                  <a:gd name="connsiteX17" fmla="*/ 21758 w 137699"/>
                  <a:gd name="connsiteY17" fmla="*/ 124327 h 152035"/>
                  <a:gd name="connsiteX18" fmla="*/ 35249 w 137699"/>
                  <a:gd name="connsiteY18" fmla="*/ 139275 h 152035"/>
                  <a:gd name="connsiteX19" fmla="*/ 53478 w 137699"/>
                  <a:gd name="connsiteY19" fmla="*/ 145838 h 152035"/>
                  <a:gd name="connsiteX20" fmla="*/ 70250 w 137699"/>
                  <a:gd name="connsiteY20" fmla="*/ 147661 h 152035"/>
                  <a:gd name="connsiteX21" fmla="*/ 77541 w 137699"/>
                  <a:gd name="connsiteY21" fmla="*/ 147661 h 152035"/>
                  <a:gd name="connsiteX22" fmla="*/ 93219 w 137699"/>
                  <a:gd name="connsiteY22" fmla="*/ 144744 h 152035"/>
                  <a:gd name="connsiteX23" fmla="*/ 97959 w 137699"/>
                  <a:gd name="connsiteY23" fmla="*/ 134535 h 152035"/>
                  <a:gd name="connsiteX24" fmla="*/ 101969 w 137699"/>
                  <a:gd name="connsiteY24" fmla="*/ 111931 h 152035"/>
                  <a:gd name="connsiteX25" fmla="*/ 101240 w 137699"/>
                  <a:gd name="connsiteY25" fmla="*/ 83857 h 152035"/>
                  <a:gd name="connsiteX26" fmla="*/ 101240 w 137699"/>
                  <a:gd name="connsiteY26" fmla="*/ 82398 h 152035"/>
                  <a:gd name="connsiteX27" fmla="*/ 127856 w 137699"/>
                  <a:gd name="connsiteY27" fmla="*/ 82398 h 152035"/>
                  <a:gd name="connsiteX28" fmla="*/ 127856 w 137699"/>
                  <a:gd name="connsiteY28" fmla="*/ 83857 h 152035"/>
                  <a:gd name="connsiteX29" fmla="*/ 117282 w 137699"/>
                  <a:gd name="connsiteY29" fmla="*/ 113389 h 152035"/>
                  <a:gd name="connsiteX30" fmla="*/ 113272 w 137699"/>
                  <a:gd name="connsiteY30" fmla="*/ 137088 h 152035"/>
                  <a:gd name="connsiteX31" fmla="*/ 111084 w 137699"/>
                  <a:gd name="connsiteY31" fmla="*/ 152036 h 15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7699" h="152035">
                    <a:moveTo>
                      <a:pt x="111449" y="151671"/>
                    </a:moveTo>
                    <a:lnTo>
                      <a:pt x="66604" y="151671"/>
                    </a:lnTo>
                    <a:cubicBezTo>
                      <a:pt x="56030" y="151671"/>
                      <a:pt x="47280" y="150578"/>
                      <a:pt x="39988" y="148025"/>
                    </a:cubicBezTo>
                    <a:cubicBezTo>
                      <a:pt x="32696" y="145473"/>
                      <a:pt x="25404" y="140734"/>
                      <a:pt x="18477" y="133806"/>
                    </a:cubicBezTo>
                    <a:cubicBezTo>
                      <a:pt x="11550" y="126879"/>
                      <a:pt x="6445" y="118129"/>
                      <a:pt x="3164" y="107555"/>
                    </a:cubicBezTo>
                    <a:cubicBezTo>
                      <a:pt x="-117" y="96982"/>
                      <a:pt x="-846" y="86409"/>
                      <a:pt x="977" y="75471"/>
                    </a:cubicBezTo>
                    <a:cubicBezTo>
                      <a:pt x="3164" y="63439"/>
                      <a:pt x="8268" y="51772"/>
                      <a:pt x="16654" y="39741"/>
                    </a:cubicBezTo>
                    <a:cubicBezTo>
                      <a:pt x="25040" y="28074"/>
                      <a:pt x="35613" y="18230"/>
                      <a:pt x="48738" y="10938"/>
                    </a:cubicBezTo>
                    <a:cubicBezTo>
                      <a:pt x="61499" y="3646"/>
                      <a:pt x="75354" y="0"/>
                      <a:pt x="90302" y="0"/>
                    </a:cubicBezTo>
                    <a:cubicBezTo>
                      <a:pt x="103428" y="0"/>
                      <a:pt x="121293" y="2188"/>
                      <a:pt x="137700" y="13125"/>
                    </a:cubicBezTo>
                    <a:lnTo>
                      <a:pt x="132960" y="26980"/>
                    </a:lnTo>
                    <a:lnTo>
                      <a:pt x="131501" y="26980"/>
                    </a:lnTo>
                    <a:cubicBezTo>
                      <a:pt x="127856" y="20417"/>
                      <a:pt x="122022" y="15313"/>
                      <a:pt x="114366" y="10938"/>
                    </a:cubicBezTo>
                    <a:cubicBezTo>
                      <a:pt x="106344" y="6198"/>
                      <a:pt x="97594" y="5834"/>
                      <a:pt x="87750" y="5834"/>
                    </a:cubicBezTo>
                    <a:cubicBezTo>
                      <a:pt x="70250" y="5834"/>
                      <a:pt x="56030" y="10938"/>
                      <a:pt x="42540" y="25522"/>
                    </a:cubicBezTo>
                    <a:cubicBezTo>
                      <a:pt x="29050" y="40105"/>
                      <a:pt x="20300" y="57971"/>
                      <a:pt x="16654" y="79482"/>
                    </a:cubicBezTo>
                    <a:cubicBezTo>
                      <a:pt x="15196" y="88597"/>
                      <a:pt x="14467" y="96253"/>
                      <a:pt x="15196" y="103545"/>
                    </a:cubicBezTo>
                    <a:cubicBezTo>
                      <a:pt x="15925" y="110472"/>
                      <a:pt x="18113" y="117399"/>
                      <a:pt x="21758" y="124327"/>
                    </a:cubicBezTo>
                    <a:cubicBezTo>
                      <a:pt x="25769" y="131254"/>
                      <a:pt x="30144" y="135994"/>
                      <a:pt x="35249" y="139275"/>
                    </a:cubicBezTo>
                    <a:cubicBezTo>
                      <a:pt x="40353" y="142556"/>
                      <a:pt x="46551" y="144744"/>
                      <a:pt x="53478" y="145838"/>
                    </a:cubicBezTo>
                    <a:cubicBezTo>
                      <a:pt x="60405" y="146932"/>
                      <a:pt x="65874" y="147661"/>
                      <a:pt x="70250" y="147661"/>
                    </a:cubicBezTo>
                    <a:lnTo>
                      <a:pt x="77541" y="147661"/>
                    </a:lnTo>
                    <a:cubicBezTo>
                      <a:pt x="85927" y="146932"/>
                      <a:pt x="91031" y="146202"/>
                      <a:pt x="93219" y="144744"/>
                    </a:cubicBezTo>
                    <a:cubicBezTo>
                      <a:pt x="95407" y="143286"/>
                      <a:pt x="97230" y="140004"/>
                      <a:pt x="97959" y="134535"/>
                    </a:cubicBezTo>
                    <a:lnTo>
                      <a:pt x="101969" y="111931"/>
                    </a:lnTo>
                    <a:cubicBezTo>
                      <a:pt x="102699" y="107555"/>
                      <a:pt x="104886" y="83492"/>
                      <a:pt x="101240" y="83857"/>
                    </a:cubicBezTo>
                    <a:lnTo>
                      <a:pt x="101240" y="82398"/>
                    </a:lnTo>
                    <a:lnTo>
                      <a:pt x="127856" y="82398"/>
                    </a:lnTo>
                    <a:lnTo>
                      <a:pt x="127856" y="83857"/>
                    </a:lnTo>
                    <a:cubicBezTo>
                      <a:pt x="123845" y="83857"/>
                      <a:pt x="118376" y="108649"/>
                      <a:pt x="117282" y="113389"/>
                    </a:cubicBezTo>
                    <a:lnTo>
                      <a:pt x="113272" y="137088"/>
                    </a:lnTo>
                    <a:cubicBezTo>
                      <a:pt x="112543" y="140369"/>
                      <a:pt x="111813" y="144015"/>
                      <a:pt x="111084" y="152036"/>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2" name="Freeform: Shape 71">
                <a:extLst>
                  <a:ext uri="{FF2B5EF4-FFF2-40B4-BE49-F238E27FC236}">
                    <a16:creationId xmlns:a16="http://schemas.microsoft.com/office/drawing/2014/main" id="{BDCD8863-6923-4812-A1AB-05A8ADEFF5E7}"/>
                  </a:ext>
                </a:extLst>
              </p:cNvPr>
              <p:cNvSpPr/>
              <p:nvPr/>
            </p:nvSpPr>
            <p:spPr>
              <a:xfrm>
                <a:off x="6606637" y="3592771"/>
                <a:ext cx="156775" cy="149848"/>
              </a:xfrm>
              <a:custGeom>
                <a:avLst/>
                <a:gdLst>
                  <a:gd name="connsiteX0" fmla="*/ 122504 w 156775"/>
                  <a:gd name="connsiteY0" fmla="*/ 74742 h 149848"/>
                  <a:gd name="connsiteX1" fmla="*/ 34272 w 156775"/>
                  <a:gd name="connsiteY1" fmla="*/ 74742 h 149848"/>
                  <a:gd name="connsiteX2" fmla="*/ 24428 w 156775"/>
                  <a:gd name="connsiteY2" fmla="*/ 132348 h 149848"/>
                  <a:gd name="connsiteX3" fmla="*/ 28438 w 156775"/>
                  <a:gd name="connsiteY3" fmla="*/ 148025 h 149848"/>
                  <a:gd name="connsiteX4" fmla="*/ 28438 w 156775"/>
                  <a:gd name="connsiteY4" fmla="*/ 149484 h 149848"/>
                  <a:gd name="connsiteX5" fmla="*/ 0 w 156775"/>
                  <a:gd name="connsiteY5" fmla="*/ 149484 h 149848"/>
                  <a:gd name="connsiteX6" fmla="*/ 0 w 156775"/>
                  <a:gd name="connsiteY6" fmla="*/ 148025 h 149848"/>
                  <a:gd name="connsiteX7" fmla="*/ 28803 w 156775"/>
                  <a:gd name="connsiteY7" fmla="*/ 17501 h 149848"/>
                  <a:gd name="connsiteX8" fmla="*/ 25522 w 156775"/>
                  <a:gd name="connsiteY8" fmla="*/ 1458 h 149848"/>
                  <a:gd name="connsiteX9" fmla="*/ 25522 w 156775"/>
                  <a:gd name="connsiteY9" fmla="*/ 0 h 149848"/>
                  <a:gd name="connsiteX10" fmla="*/ 52866 w 156775"/>
                  <a:gd name="connsiteY10" fmla="*/ 0 h 149848"/>
                  <a:gd name="connsiteX11" fmla="*/ 52866 w 156775"/>
                  <a:gd name="connsiteY11" fmla="*/ 1458 h 149848"/>
                  <a:gd name="connsiteX12" fmla="*/ 45210 w 156775"/>
                  <a:gd name="connsiteY12" fmla="*/ 12396 h 149848"/>
                  <a:gd name="connsiteX13" fmla="*/ 36824 w 156775"/>
                  <a:gd name="connsiteY13" fmla="*/ 65262 h 149848"/>
                  <a:gd name="connsiteX14" fmla="*/ 125056 w 156775"/>
                  <a:gd name="connsiteY14" fmla="*/ 65262 h 149848"/>
                  <a:gd name="connsiteX15" fmla="*/ 132712 w 156775"/>
                  <a:gd name="connsiteY15" fmla="*/ 17501 h 149848"/>
                  <a:gd name="connsiteX16" fmla="*/ 129796 w 156775"/>
                  <a:gd name="connsiteY16" fmla="*/ 1823 h 149848"/>
                  <a:gd name="connsiteX17" fmla="*/ 129796 w 156775"/>
                  <a:gd name="connsiteY17" fmla="*/ 365 h 149848"/>
                  <a:gd name="connsiteX18" fmla="*/ 156776 w 156775"/>
                  <a:gd name="connsiteY18" fmla="*/ 365 h 149848"/>
                  <a:gd name="connsiteX19" fmla="*/ 156776 w 156775"/>
                  <a:gd name="connsiteY19" fmla="*/ 1823 h 149848"/>
                  <a:gd name="connsiteX20" fmla="*/ 148390 w 156775"/>
                  <a:gd name="connsiteY20" fmla="*/ 17501 h 149848"/>
                  <a:gd name="connsiteX21" fmla="*/ 128702 w 156775"/>
                  <a:gd name="connsiteY21" fmla="*/ 132348 h 149848"/>
                  <a:gd name="connsiteX22" fmla="*/ 131983 w 156775"/>
                  <a:gd name="connsiteY22" fmla="*/ 148390 h 149848"/>
                  <a:gd name="connsiteX23" fmla="*/ 131983 w 156775"/>
                  <a:gd name="connsiteY23" fmla="*/ 149848 h 149848"/>
                  <a:gd name="connsiteX24" fmla="*/ 104274 w 156775"/>
                  <a:gd name="connsiteY24" fmla="*/ 149848 h 149848"/>
                  <a:gd name="connsiteX25" fmla="*/ 104274 w 156775"/>
                  <a:gd name="connsiteY25" fmla="*/ 148390 h 149848"/>
                  <a:gd name="connsiteX26" fmla="*/ 113024 w 156775"/>
                  <a:gd name="connsiteY26" fmla="*/ 131983 h 149848"/>
                  <a:gd name="connsiteX27" fmla="*/ 122868 w 156775"/>
                  <a:gd name="connsiteY27" fmla="*/ 75106 h 149848"/>
                  <a:gd name="connsiteX28" fmla="*/ 122868 w 156775"/>
                  <a:gd name="connsiteY28" fmla="*/ 75106 h 14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6775" h="149848">
                    <a:moveTo>
                      <a:pt x="122504" y="74742"/>
                    </a:moveTo>
                    <a:lnTo>
                      <a:pt x="34272" y="74742"/>
                    </a:lnTo>
                    <a:lnTo>
                      <a:pt x="24428" y="132348"/>
                    </a:lnTo>
                    <a:cubicBezTo>
                      <a:pt x="20782" y="147661"/>
                      <a:pt x="28438" y="148025"/>
                      <a:pt x="28438" y="148025"/>
                    </a:cubicBezTo>
                    <a:lnTo>
                      <a:pt x="28438" y="149484"/>
                    </a:lnTo>
                    <a:lnTo>
                      <a:pt x="0" y="149484"/>
                    </a:lnTo>
                    <a:lnTo>
                      <a:pt x="0" y="148025"/>
                    </a:lnTo>
                    <a:cubicBezTo>
                      <a:pt x="11302" y="148025"/>
                      <a:pt x="28803" y="17501"/>
                      <a:pt x="28803" y="17501"/>
                    </a:cubicBezTo>
                    <a:cubicBezTo>
                      <a:pt x="29897" y="10573"/>
                      <a:pt x="29532" y="1458"/>
                      <a:pt x="25522" y="1458"/>
                    </a:cubicBezTo>
                    <a:lnTo>
                      <a:pt x="25522" y="0"/>
                    </a:lnTo>
                    <a:lnTo>
                      <a:pt x="52866" y="0"/>
                    </a:lnTo>
                    <a:lnTo>
                      <a:pt x="52866" y="1458"/>
                    </a:lnTo>
                    <a:cubicBezTo>
                      <a:pt x="48856" y="1458"/>
                      <a:pt x="45939" y="8021"/>
                      <a:pt x="45210" y="12396"/>
                    </a:cubicBezTo>
                    <a:lnTo>
                      <a:pt x="36824" y="65262"/>
                    </a:lnTo>
                    <a:lnTo>
                      <a:pt x="125056" y="65262"/>
                    </a:lnTo>
                    <a:lnTo>
                      <a:pt x="132712" y="17501"/>
                    </a:lnTo>
                    <a:cubicBezTo>
                      <a:pt x="133806" y="11302"/>
                      <a:pt x="134171" y="1823"/>
                      <a:pt x="129796" y="1823"/>
                    </a:cubicBezTo>
                    <a:lnTo>
                      <a:pt x="129796" y="365"/>
                    </a:lnTo>
                    <a:lnTo>
                      <a:pt x="156776" y="365"/>
                    </a:lnTo>
                    <a:lnTo>
                      <a:pt x="156776" y="1823"/>
                    </a:lnTo>
                    <a:cubicBezTo>
                      <a:pt x="151671" y="2917"/>
                      <a:pt x="149484" y="11302"/>
                      <a:pt x="148390" y="17501"/>
                    </a:cubicBezTo>
                    <a:lnTo>
                      <a:pt x="128702" y="132348"/>
                    </a:lnTo>
                    <a:cubicBezTo>
                      <a:pt x="126879" y="145473"/>
                      <a:pt x="128702" y="148390"/>
                      <a:pt x="131983" y="148390"/>
                    </a:cubicBezTo>
                    <a:lnTo>
                      <a:pt x="131983" y="149848"/>
                    </a:lnTo>
                    <a:lnTo>
                      <a:pt x="104274" y="149848"/>
                    </a:lnTo>
                    <a:lnTo>
                      <a:pt x="104274" y="148390"/>
                    </a:lnTo>
                    <a:cubicBezTo>
                      <a:pt x="108285" y="148390"/>
                      <a:pt x="110837" y="142557"/>
                      <a:pt x="113024" y="131983"/>
                    </a:cubicBezTo>
                    <a:lnTo>
                      <a:pt x="122868" y="75106"/>
                    </a:lnTo>
                    <a:lnTo>
                      <a:pt x="122868" y="75106"/>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3" name="Freeform: Shape 72">
                <a:extLst>
                  <a:ext uri="{FF2B5EF4-FFF2-40B4-BE49-F238E27FC236}">
                    <a16:creationId xmlns:a16="http://schemas.microsoft.com/office/drawing/2014/main" id="{10624FE2-55E8-440D-9F3C-4B2DC8130E4C}"/>
                  </a:ext>
                </a:extLst>
              </p:cNvPr>
              <p:cNvSpPr/>
              <p:nvPr/>
            </p:nvSpPr>
            <p:spPr>
              <a:xfrm>
                <a:off x="6782007" y="3589125"/>
                <a:ext cx="109378" cy="153494"/>
              </a:xfrm>
              <a:custGeom>
                <a:avLst/>
                <a:gdLst>
                  <a:gd name="connsiteX0" fmla="*/ 109378 w 109378"/>
                  <a:gd name="connsiteY0" fmla="*/ 0 h 153494"/>
                  <a:gd name="connsiteX1" fmla="*/ 105368 w 109378"/>
                  <a:gd name="connsiteY1" fmla="*/ 15313 h 153494"/>
                  <a:gd name="connsiteX2" fmla="*/ 103909 w 109378"/>
                  <a:gd name="connsiteY2" fmla="*/ 15313 h 153494"/>
                  <a:gd name="connsiteX3" fmla="*/ 102086 w 109378"/>
                  <a:gd name="connsiteY3" fmla="*/ 11667 h 153494"/>
                  <a:gd name="connsiteX4" fmla="*/ 97347 w 109378"/>
                  <a:gd name="connsiteY4" fmla="*/ 10938 h 153494"/>
                  <a:gd name="connsiteX5" fmla="*/ 62346 w 109378"/>
                  <a:gd name="connsiteY5" fmla="*/ 10938 h 153494"/>
                  <a:gd name="connsiteX6" fmla="*/ 40835 w 109378"/>
                  <a:gd name="connsiteY6" fmla="*/ 136723 h 153494"/>
                  <a:gd name="connsiteX7" fmla="*/ 40105 w 109378"/>
                  <a:gd name="connsiteY7" fmla="*/ 147661 h 153494"/>
                  <a:gd name="connsiteX8" fmla="*/ 42658 w 109378"/>
                  <a:gd name="connsiteY8" fmla="*/ 151307 h 153494"/>
                  <a:gd name="connsiteX9" fmla="*/ 48856 w 109378"/>
                  <a:gd name="connsiteY9" fmla="*/ 152036 h 153494"/>
                  <a:gd name="connsiteX10" fmla="*/ 48856 w 109378"/>
                  <a:gd name="connsiteY10" fmla="*/ 153494 h 153494"/>
                  <a:gd name="connsiteX11" fmla="*/ 12032 w 109378"/>
                  <a:gd name="connsiteY11" fmla="*/ 153494 h 153494"/>
                  <a:gd name="connsiteX12" fmla="*/ 12032 w 109378"/>
                  <a:gd name="connsiteY12" fmla="*/ 152036 h 153494"/>
                  <a:gd name="connsiteX13" fmla="*/ 21511 w 109378"/>
                  <a:gd name="connsiteY13" fmla="*/ 149119 h 153494"/>
                  <a:gd name="connsiteX14" fmla="*/ 25157 w 109378"/>
                  <a:gd name="connsiteY14" fmla="*/ 138911 h 153494"/>
                  <a:gd name="connsiteX15" fmla="*/ 46668 w 109378"/>
                  <a:gd name="connsiteY15" fmla="*/ 11302 h 153494"/>
                  <a:gd name="connsiteX16" fmla="*/ 13125 w 109378"/>
                  <a:gd name="connsiteY16" fmla="*/ 11302 h 153494"/>
                  <a:gd name="connsiteX17" fmla="*/ 3646 w 109378"/>
                  <a:gd name="connsiteY17" fmla="*/ 12396 h 153494"/>
                  <a:gd name="connsiteX18" fmla="*/ 1458 w 109378"/>
                  <a:gd name="connsiteY18" fmla="*/ 15313 h 153494"/>
                  <a:gd name="connsiteX19" fmla="*/ 0 w 109378"/>
                  <a:gd name="connsiteY19" fmla="*/ 15313 h 153494"/>
                  <a:gd name="connsiteX20" fmla="*/ 2552 w 109378"/>
                  <a:gd name="connsiteY20" fmla="*/ 365 h 153494"/>
                  <a:gd name="connsiteX21" fmla="*/ 4011 w 109378"/>
                  <a:gd name="connsiteY21" fmla="*/ 365 h 153494"/>
                  <a:gd name="connsiteX22" fmla="*/ 5469 w 109378"/>
                  <a:gd name="connsiteY22" fmla="*/ 4011 h 153494"/>
                  <a:gd name="connsiteX23" fmla="*/ 10573 w 109378"/>
                  <a:gd name="connsiteY23" fmla="*/ 4011 h 153494"/>
                  <a:gd name="connsiteX24" fmla="*/ 99899 w 109378"/>
                  <a:gd name="connsiteY24" fmla="*/ 4011 h 153494"/>
                  <a:gd name="connsiteX25" fmla="*/ 104639 w 109378"/>
                  <a:gd name="connsiteY25" fmla="*/ 4011 h 153494"/>
                  <a:gd name="connsiteX26" fmla="*/ 107555 w 109378"/>
                  <a:gd name="connsiteY26" fmla="*/ 729 h 153494"/>
                  <a:gd name="connsiteX27" fmla="*/ 109014 w 109378"/>
                  <a:gd name="connsiteY27" fmla="*/ 729 h 15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378" h="153494">
                    <a:moveTo>
                      <a:pt x="109378" y="0"/>
                    </a:moveTo>
                    <a:lnTo>
                      <a:pt x="105368" y="15313"/>
                    </a:lnTo>
                    <a:lnTo>
                      <a:pt x="103909" y="15313"/>
                    </a:lnTo>
                    <a:cubicBezTo>
                      <a:pt x="103909" y="15313"/>
                      <a:pt x="103180" y="12032"/>
                      <a:pt x="102086" y="11667"/>
                    </a:cubicBezTo>
                    <a:cubicBezTo>
                      <a:pt x="100993" y="11302"/>
                      <a:pt x="99534" y="10938"/>
                      <a:pt x="97347" y="10938"/>
                    </a:cubicBezTo>
                    <a:lnTo>
                      <a:pt x="62346" y="10938"/>
                    </a:lnTo>
                    <a:lnTo>
                      <a:pt x="40835" y="136723"/>
                    </a:lnTo>
                    <a:cubicBezTo>
                      <a:pt x="39741" y="142192"/>
                      <a:pt x="39741" y="145473"/>
                      <a:pt x="40105" y="147661"/>
                    </a:cubicBezTo>
                    <a:cubicBezTo>
                      <a:pt x="40470" y="149484"/>
                      <a:pt x="41199" y="150942"/>
                      <a:pt x="42658" y="151307"/>
                    </a:cubicBezTo>
                    <a:cubicBezTo>
                      <a:pt x="43751" y="151671"/>
                      <a:pt x="45939" y="152036"/>
                      <a:pt x="48856" y="152036"/>
                    </a:cubicBezTo>
                    <a:lnTo>
                      <a:pt x="48856" y="153494"/>
                    </a:lnTo>
                    <a:lnTo>
                      <a:pt x="12032" y="153494"/>
                    </a:lnTo>
                    <a:lnTo>
                      <a:pt x="12032" y="152036"/>
                    </a:lnTo>
                    <a:cubicBezTo>
                      <a:pt x="16771" y="152036"/>
                      <a:pt x="20053" y="150578"/>
                      <a:pt x="21511" y="149119"/>
                    </a:cubicBezTo>
                    <a:cubicBezTo>
                      <a:pt x="22970" y="147661"/>
                      <a:pt x="24063" y="144015"/>
                      <a:pt x="25157" y="138911"/>
                    </a:cubicBezTo>
                    <a:lnTo>
                      <a:pt x="46668" y="11302"/>
                    </a:lnTo>
                    <a:lnTo>
                      <a:pt x="13125" y="11302"/>
                    </a:lnTo>
                    <a:cubicBezTo>
                      <a:pt x="9844" y="11302"/>
                      <a:pt x="5104" y="11302"/>
                      <a:pt x="3646" y="12396"/>
                    </a:cubicBezTo>
                    <a:cubicBezTo>
                      <a:pt x="2917" y="13125"/>
                      <a:pt x="2188" y="13125"/>
                      <a:pt x="1458" y="15313"/>
                    </a:cubicBezTo>
                    <a:lnTo>
                      <a:pt x="0" y="15313"/>
                    </a:lnTo>
                    <a:lnTo>
                      <a:pt x="2552" y="365"/>
                    </a:lnTo>
                    <a:lnTo>
                      <a:pt x="4011" y="365"/>
                    </a:lnTo>
                    <a:cubicBezTo>
                      <a:pt x="4011" y="2917"/>
                      <a:pt x="4011" y="3646"/>
                      <a:pt x="5469" y="4011"/>
                    </a:cubicBezTo>
                    <a:cubicBezTo>
                      <a:pt x="6927" y="4011"/>
                      <a:pt x="7292" y="4011"/>
                      <a:pt x="10573" y="4011"/>
                    </a:cubicBezTo>
                    <a:lnTo>
                      <a:pt x="99899" y="4011"/>
                    </a:lnTo>
                    <a:cubicBezTo>
                      <a:pt x="103545" y="4011"/>
                      <a:pt x="103180" y="4011"/>
                      <a:pt x="104639" y="4011"/>
                    </a:cubicBezTo>
                    <a:cubicBezTo>
                      <a:pt x="106462" y="3646"/>
                      <a:pt x="106462" y="3281"/>
                      <a:pt x="107555" y="729"/>
                    </a:cubicBezTo>
                    <a:lnTo>
                      <a:pt x="109014" y="729"/>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5CE6C6-2676-4BAC-BE91-2CEFA5E0B44E}"/>
                  </a:ext>
                </a:extLst>
              </p:cNvPr>
              <p:cNvSpPr/>
              <p:nvPr/>
            </p:nvSpPr>
            <p:spPr>
              <a:xfrm>
                <a:off x="6882271" y="3592771"/>
                <a:ext cx="61981" cy="149483"/>
              </a:xfrm>
              <a:custGeom>
                <a:avLst/>
                <a:gdLst>
                  <a:gd name="connsiteX0" fmla="*/ 61252 w 61981"/>
                  <a:gd name="connsiteY0" fmla="*/ 0 h 149483"/>
                  <a:gd name="connsiteX1" fmla="*/ 61252 w 61981"/>
                  <a:gd name="connsiteY1" fmla="*/ 1458 h 149483"/>
                  <a:gd name="connsiteX2" fmla="*/ 55054 w 61981"/>
                  <a:gd name="connsiteY2" fmla="*/ 2552 h 149483"/>
                  <a:gd name="connsiteX3" fmla="*/ 50679 w 61981"/>
                  <a:gd name="connsiteY3" fmla="*/ 6198 h 149483"/>
                  <a:gd name="connsiteX4" fmla="*/ 48126 w 61981"/>
                  <a:gd name="connsiteY4" fmla="*/ 17136 h 149483"/>
                  <a:gd name="connsiteX5" fmla="*/ 28438 w 61981"/>
                  <a:gd name="connsiteY5" fmla="*/ 131983 h 149483"/>
                  <a:gd name="connsiteX6" fmla="*/ 26980 w 61981"/>
                  <a:gd name="connsiteY6" fmla="*/ 143286 h 149483"/>
                  <a:gd name="connsiteX7" fmla="*/ 29168 w 61981"/>
                  <a:gd name="connsiteY7" fmla="*/ 146567 h 149483"/>
                  <a:gd name="connsiteX8" fmla="*/ 36095 w 61981"/>
                  <a:gd name="connsiteY8" fmla="*/ 148025 h 149483"/>
                  <a:gd name="connsiteX9" fmla="*/ 36095 w 61981"/>
                  <a:gd name="connsiteY9" fmla="*/ 149484 h 149483"/>
                  <a:gd name="connsiteX10" fmla="*/ 0 w 61981"/>
                  <a:gd name="connsiteY10" fmla="*/ 149484 h 149483"/>
                  <a:gd name="connsiteX11" fmla="*/ 0 w 61981"/>
                  <a:gd name="connsiteY11" fmla="*/ 148025 h 149483"/>
                  <a:gd name="connsiteX12" fmla="*/ 9115 w 61981"/>
                  <a:gd name="connsiteY12" fmla="*/ 145109 h 149483"/>
                  <a:gd name="connsiteX13" fmla="*/ 13125 w 61981"/>
                  <a:gd name="connsiteY13" fmla="*/ 131983 h 149483"/>
                  <a:gd name="connsiteX14" fmla="*/ 32814 w 61981"/>
                  <a:gd name="connsiteY14" fmla="*/ 18230 h 149483"/>
                  <a:gd name="connsiteX15" fmla="*/ 33543 w 61981"/>
                  <a:gd name="connsiteY15" fmla="*/ 4375 h 149483"/>
                  <a:gd name="connsiteX16" fmla="*/ 25886 w 61981"/>
                  <a:gd name="connsiteY16" fmla="*/ 1458 h 149483"/>
                  <a:gd name="connsiteX17" fmla="*/ 25886 w 61981"/>
                  <a:gd name="connsiteY17" fmla="*/ 0 h 149483"/>
                  <a:gd name="connsiteX18" fmla="*/ 61981 w 61981"/>
                  <a:gd name="connsiteY18" fmla="*/ 0 h 1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981" h="149483">
                    <a:moveTo>
                      <a:pt x="61252" y="0"/>
                    </a:moveTo>
                    <a:lnTo>
                      <a:pt x="61252" y="1458"/>
                    </a:lnTo>
                    <a:cubicBezTo>
                      <a:pt x="59064" y="1458"/>
                      <a:pt x="57241" y="1458"/>
                      <a:pt x="55054" y="2552"/>
                    </a:cubicBezTo>
                    <a:cubicBezTo>
                      <a:pt x="52866" y="3281"/>
                      <a:pt x="51408" y="4375"/>
                      <a:pt x="50679" y="6198"/>
                    </a:cubicBezTo>
                    <a:cubicBezTo>
                      <a:pt x="49949" y="7656"/>
                      <a:pt x="49220" y="11302"/>
                      <a:pt x="48126" y="17136"/>
                    </a:cubicBezTo>
                    <a:lnTo>
                      <a:pt x="28438" y="131983"/>
                    </a:lnTo>
                    <a:cubicBezTo>
                      <a:pt x="27345" y="138181"/>
                      <a:pt x="26980" y="142192"/>
                      <a:pt x="26980" y="143286"/>
                    </a:cubicBezTo>
                    <a:cubicBezTo>
                      <a:pt x="26980" y="144744"/>
                      <a:pt x="28074" y="145838"/>
                      <a:pt x="29168" y="146567"/>
                    </a:cubicBezTo>
                    <a:cubicBezTo>
                      <a:pt x="30261" y="147661"/>
                      <a:pt x="32449" y="148025"/>
                      <a:pt x="36095" y="148025"/>
                    </a:cubicBezTo>
                    <a:lnTo>
                      <a:pt x="36095" y="149484"/>
                    </a:lnTo>
                    <a:lnTo>
                      <a:pt x="0" y="149484"/>
                    </a:lnTo>
                    <a:lnTo>
                      <a:pt x="0" y="148025"/>
                    </a:lnTo>
                    <a:cubicBezTo>
                      <a:pt x="4740" y="148025"/>
                      <a:pt x="7657" y="146932"/>
                      <a:pt x="9115" y="145109"/>
                    </a:cubicBezTo>
                    <a:cubicBezTo>
                      <a:pt x="10573" y="143286"/>
                      <a:pt x="12032" y="138911"/>
                      <a:pt x="13125" y="131983"/>
                    </a:cubicBezTo>
                    <a:lnTo>
                      <a:pt x="32814" y="18230"/>
                    </a:lnTo>
                    <a:cubicBezTo>
                      <a:pt x="33907" y="10938"/>
                      <a:pt x="34272" y="6563"/>
                      <a:pt x="33543" y="4375"/>
                    </a:cubicBezTo>
                    <a:cubicBezTo>
                      <a:pt x="32814" y="2188"/>
                      <a:pt x="30261" y="1094"/>
                      <a:pt x="25886" y="1458"/>
                    </a:cubicBezTo>
                    <a:lnTo>
                      <a:pt x="25886" y="0"/>
                    </a:lnTo>
                    <a:lnTo>
                      <a:pt x="61981"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15135409-A77E-4BC1-AF32-4DA1E0AC7698}"/>
                  </a:ext>
                </a:extLst>
              </p:cNvPr>
              <p:cNvSpPr/>
              <p:nvPr/>
            </p:nvSpPr>
            <p:spPr>
              <a:xfrm>
                <a:off x="6941700" y="3592771"/>
                <a:ext cx="158234" cy="151306"/>
              </a:xfrm>
              <a:custGeom>
                <a:avLst/>
                <a:gdLst>
                  <a:gd name="connsiteX0" fmla="*/ 135265 w 158234"/>
                  <a:gd name="connsiteY0" fmla="*/ 0 h 151306"/>
                  <a:gd name="connsiteX1" fmla="*/ 158234 w 158234"/>
                  <a:gd name="connsiteY1" fmla="*/ 0 h 151306"/>
                  <a:gd name="connsiteX2" fmla="*/ 158234 w 158234"/>
                  <a:gd name="connsiteY2" fmla="*/ 1458 h 151306"/>
                  <a:gd name="connsiteX3" fmla="*/ 153130 w 158234"/>
                  <a:gd name="connsiteY3" fmla="*/ 4011 h 151306"/>
                  <a:gd name="connsiteX4" fmla="*/ 151307 w 158234"/>
                  <a:gd name="connsiteY4" fmla="*/ 16771 h 151306"/>
                  <a:gd name="connsiteX5" fmla="*/ 121775 w 158234"/>
                  <a:gd name="connsiteY5" fmla="*/ 151307 h 151306"/>
                  <a:gd name="connsiteX6" fmla="*/ 36095 w 158234"/>
                  <a:gd name="connsiteY6" fmla="*/ 24063 h 151306"/>
                  <a:gd name="connsiteX7" fmla="*/ 17136 w 158234"/>
                  <a:gd name="connsiteY7" fmla="*/ 134900 h 151306"/>
                  <a:gd name="connsiteX8" fmla="*/ 16407 w 158234"/>
                  <a:gd name="connsiteY8" fmla="*/ 142921 h 151306"/>
                  <a:gd name="connsiteX9" fmla="*/ 20782 w 158234"/>
                  <a:gd name="connsiteY9" fmla="*/ 148025 h 151306"/>
                  <a:gd name="connsiteX10" fmla="*/ 20782 w 158234"/>
                  <a:gd name="connsiteY10" fmla="*/ 149484 h 151306"/>
                  <a:gd name="connsiteX11" fmla="*/ 0 w 158234"/>
                  <a:gd name="connsiteY11" fmla="*/ 149484 h 151306"/>
                  <a:gd name="connsiteX12" fmla="*/ 0 w 158234"/>
                  <a:gd name="connsiteY12" fmla="*/ 148025 h 151306"/>
                  <a:gd name="connsiteX13" fmla="*/ 8021 w 158234"/>
                  <a:gd name="connsiteY13" fmla="*/ 132348 h 151306"/>
                  <a:gd name="connsiteX14" fmla="*/ 24428 w 158234"/>
                  <a:gd name="connsiteY14" fmla="*/ 23334 h 151306"/>
                  <a:gd name="connsiteX15" fmla="*/ 22969 w 158234"/>
                  <a:gd name="connsiteY15" fmla="*/ 1458 h 151306"/>
                  <a:gd name="connsiteX16" fmla="*/ 22969 w 158234"/>
                  <a:gd name="connsiteY16" fmla="*/ 0 h 151306"/>
                  <a:gd name="connsiteX17" fmla="*/ 39012 w 158234"/>
                  <a:gd name="connsiteY17" fmla="*/ 0 h 151306"/>
                  <a:gd name="connsiteX18" fmla="*/ 119587 w 158234"/>
                  <a:gd name="connsiteY18" fmla="*/ 122139 h 151306"/>
                  <a:gd name="connsiteX19" fmla="*/ 139640 w 158234"/>
                  <a:gd name="connsiteY19" fmla="*/ 13855 h 151306"/>
                  <a:gd name="connsiteX20" fmla="*/ 134900 w 158234"/>
                  <a:gd name="connsiteY20" fmla="*/ 1458 h 151306"/>
                  <a:gd name="connsiteX21" fmla="*/ 134900 w 158234"/>
                  <a:gd name="connsiteY21" fmla="*/ 0 h 151306"/>
                  <a:gd name="connsiteX22" fmla="*/ 134900 w 158234"/>
                  <a:gd name="connsiteY22" fmla="*/ 0 h 15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8234" h="151306">
                    <a:moveTo>
                      <a:pt x="135265" y="0"/>
                    </a:moveTo>
                    <a:lnTo>
                      <a:pt x="158234" y="0"/>
                    </a:lnTo>
                    <a:lnTo>
                      <a:pt x="158234" y="1458"/>
                    </a:lnTo>
                    <a:cubicBezTo>
                      <a:pt x="153859" y="1458"/>
                      <a:pt x="154953" y="2552"/>
                      <a:pt x="153130" y="4011"/>
                    </a:cubicBezTo>
                    <a:cubicBezTo>
                      <a:pt x="151307" y="5834"/>
                      <a:pt x="152401" y="10938"/>
                      <a:pt x="151307" y="16771"/>
                    </a:cubicBezTo>
                    <a:lnTo>
                      <a:pt x="121775" y="151307"/>
                    </a:lnTo>
                    <a:lnTo>
                      <a:pt x="36095" y="24063"/>
                    </a:lnTo>
                    <a:lnTo>
                      <a:pt x="17136" y="134900"/>
                    </a:lnTo>
                    <a:cubicBezTo>
                      <a:pt x="16407" y="138546"/>
                      <a:pt x="16407" y="141098"/>
                      <a:pt x="16407" y="142921"/>
                    </a:cubicBezTo>
                    <a:cubicBezTo>
                      <a:pt x="16407" y="144744"/>
                      <a:pt x="17136" y="147661"/>
                      <a:pt x="20782" y="148025"/>
                    </a:cubicBezTo>
                    <a:lnTo>
                      <a:pt x="20782" y="149484"/>
                    </a:lnTo>
                    <a:lnTo>
                      <a:pt x="0" y="149484"/>
                    </a:lnTo>
                    <a:lnTo>
                      <a:pt x="0" y="148025"/>
                    </a:lnTo>
                    <a:cubicBezTo>
                      <a:pt x="5469" y="147661"/>
                      <a:pt x="6927" y="138546"/>
                      <a:pt x="8021" y="132348"/>
                    </a:cubicBezTo>
                    <a:lnTo>
                      <a:pt x="24428" y="23334"/>
                    </a:lnTo>
                    <a:cubicBezTo>
                      <a:pt x="25157" y="13855"/>
                      <a:pt x="28803" y="3646"/>
                      <a:pt x="22969" y="1458"/>
                    </a:cubicBezTo>
                    <a:lnTo>
                      <a:pt x="22969" y="0"/>
                    </a:lnTo>
                    <a:lnTo>
                      <a:pt x="39012" y="0"/>
                    </a:lnTo>
                    <a:lnTo>
                      <a:pt x="119587" y="122139"/>
                    </a:lnTo>
                    <a:lnTo>
                      <a:pt x="139640" y="13855"/>
                    </a:lnTo>
                    <a:cubicBezTo>
                      <a:pt x="140734" y="8021"/>
                      <a:pt x="137817" y="1458"/>
                      <a:pt x="134900" y="1458"/>
                    </a:cubicBezTo>
                    <a:lnTo>
                      <a:pt x="134900" y="0"/>
                    </a:lnTo>
                    <a:lnTo>
                      <a:pt x="134900"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A5702FFB-4F34-4F80-AE80-56E609FA5D60}"/>
                  </a:ext>
                </a:extLst>
              </p:cNvPr>
              <p:cNvSpPr/>
              <p:nvPr/>
            </p:nvSpPr>
            <p:spPr>
              <a:xfrm>
                <a:off x="6944981" y="3594594"/>
                <a:ext cx="28438" cy="145837"/>
              </a:xfrm>
              <a:custGeom>
                <a:avLst/>
                <a:gdLst>
                  <a:gd name="connsiteX0" fmla="*/ 23699 w 28438"/>
                  <a:gd name="connsiteY0" fmla="*/ 0 h 145837"/>
                  <a:gd name="connsiteX1" fmla="*/ 0 w 28438"/>
                  <a:gd name="connsiteY1" fmla="*/ 145838 h 145837"/>
                  <a:gd name="connsiteX2" fmla="*/ 3646 w 28438"/>
                  <a:gd name="connsiteY2" fmla="*/ 145838 h 145837"/>
                  <a:gd name="connsiteX3" fmla="*/ 28438 w 28438"/>
                  <a:gd name="connsiteY3" fmla="*/ 4740 h 145837"/>
                  <a:gd name="connsiteX4" fmla="*/ 23699 w 28438"/>
                  <a:gd name="connsiteY4" fmla="*/ 0 h 145837"/>
                  <a:gd name="connsiteX5" fmla="*/ 23699 w 28438"/>
                  <a:gd name="connsiteY5" fmla="*/ 0 h 14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438" h="145837">
                    <a:moveTo>
                      <a:pt x="23699" y="0"/>
                    </a:moveTo>
                    <a:lnTo>
                      <a:pt x="0" y="145838"/>
                    </a:lnTo>
                    <a:lnTo>
                      <a:pt x="3646" y="145838"/>
                    </a:lnTo>
                    <a:lnTo>
                      <a:pt x="28438" y="4740"/>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7982AFCF-C818-44CB-A868-566215C35598}"/>
                  </a:ext>
                </a:extLst>
              </p:cNvPr>
              <p:cNvSpPr/>
              <p:nvPr/>
            </p:nvSpPr>
            <p:spPr>
              <a:xfrm>
                <a:off x="7063474" y="3593500"/>
                <a:ext cx="32813" cy="150577"/>
              </a:xfrm>
              <a:custGeom>
                <a:avLst/>
                <a:gdLst>
                  <a:gd name="connsiteX0" fmla="*/ 23699 w 32813"/>
                  <a:gd name="connsiteY0" fmla="*/ 0 h 150577"/>
                  <a:gd name="connsiteX1" fmla="*/ 0 w 32813"/>
                  <a:gd name="connsiteY1" fmla="*/ 150578 h 150577"/>
                  <a:gd name="connsiteX2" fmla="*/ 3646 w 32813"/>
                  <a:gd name="connsiteY2" fmla="*/ 150578 h 150577"/>
                  <a:gd name="connsiteX3" fmla="*/ 32814 w 32813"/>
                  <a:gd name="connsiteY3" fmla="*/ 0 h 150577"/>
                  <a:gd name="connsiteX4" fmla="*/ 23699 w 32813"/>
                  <a:gd name="connsiteY4" fmla="*/ 0 h 150577"/>
                  <a:gd name="connsiteX5" fmla="*/ 23699 w 32813"/>
                  <a:gd name="connsiteY5" fmla="*/ 0 h 15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813" h="150577">
                    <a:moveTo>
                      <a:pt x="23699" y="0"/>
                    </a:moveTo>
                    <a:lnTo>
                      <a:pt x="0" y="150578"/>
                    </a:lnTo>
                    <a:lnTo>
                      <a:pt x="3646" y="150578"/>
                    </a:lnTo>
                    <a:lnTo>
                      <a:pt x="32814" y="0"/>
                    </a:lnTo>
                    <a:lnTo>
                      <a:pt x="23699" y="0"/>
                    </a:lnTo>
                    <a:lnTo>
                      <a:pt x="23699" y="0"/>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45333FB5-C64F-46BB-926B-7E7F69886B6A}"/>
                  </a:ext>
                </a:extLst>
              </p:cNvPr>
              <p:cNvSpPr/>
              <p:nvPr/>
            </p:nvSpPr>
            <p:spPr>
              <a:xfrm>
                <a:off x="6472098" y="3595539"/>
                <a:ext cx="130164" cy="143799"/>
              </a:xfrm>
              <a:custGeom>
                <a:avLst/>
                <a:gdLst>
                  <a:gd name="connsiteX0" fmla="*/ 125789 w 130164"/>
                  <a:gd name="connsiteY0" fmla="*/ 23483 h 143799"/>
                  <a:gd name="connsiteX1" fmla="*/ 103184 w 130164"/>
                  <a:gd name="connsiteY1" fmla="*/ 6347 h 143799"/>
                  <a:gd name="connsiteX2" fmla="*/ 16046 w 130164"/>
                  <a:gd name="connsiteY2" fmla="*/ 50098 h 143799"/>
                  <a:gd name="connsiteX3" fmla="*/ 92976 w 130164"/>
                  <a:gd name="connsiteY3" fmla="*/ 139789 h 143799"/>
                  <a:gd name="connsiteX4" fmla="*/ 90423 w 130164"/>
                  <a:gd name="connsiteY4" fmla="*/ 143799 h 143799"/>
                  <a:gd name="connsiteX5" fmla="*/ 44120 w 130164"/>
                  <a:gd name="connsiteY5" fmla="*/ 143799 h 143799"/>
                  <a:gd name="connsiteX6" fmla="*/ 4 w 130164"/>
                  <a:gd name="connsiteY6" fmla="*/ 87652 h 143799"/>
                  <a:gd name="connsiteX7" fmla="*/ 24432 w 130164"/>
                  <a:gd name="connsiteY7" fmla="*/ 24941 h 143799"/>
                  <a:gd name="connsiteX8" fmla="*/ 62350 w 130164"/>
                  <a:gd name="connsiteY8" fmla="*/ 149 h 143799"/>
                  <a:gd name="connsiteX9" fmla="*/ 108653 w 130164"/>
                  <a:gd name="connsiteY9" fmla="*/ 1607 h 143799"/>
                  <a:gd name="connsiteX10" fmla="*/ 130164 w 130164"/>
                  <a:gd name="connsiteY10" fmla="*/ 11451 h 143799"/>
                  <a:gd name="connsiteX11" fmla="*/ 126154 w 130164"/>
                  <a:gd name="connsiteY11" fmla="*/ 23847 h 143799"/>
                  <a:gd name="connsiteX12" fmla="*/ 126154 w 130164"/>
                  <a:gd name="connsiteY12" fmla="*/ 23847 h 14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164" h="143799">
                    <a:moveTo>
                      <a:pt x="125789" y="23483"/>
                    </a:moveTo>
                    <a:cubicBezTo>
                      <a:pt x="119591" y="16556"/>
                      <a:pt x="111935" y="9993"/>
                      <a:pt x="103184" y="6347"/>
                    </a:cubicBezTo>
                    <a:cubicBezTo>
                      <a:pt x="68912" y="-7872"/>
                      <a:pt x="29536" y="11087"/>
                      <a:pt x="16046" y="50098"/>
                    </a:cubicBezTo>
                    <a:cubicBezTo>
                      <a:pt x="4" y="97131"/>
                      <a:pt x="21150" y="151456"/>
                      <a:pt x="92976" y="139789"/>
                    </a:cubicBezTo>
                    <a:lnTo>
                      <a:pt x="90423" y="143799"/>
                    </a:lnTo>
                    <a:lnTo>
                      <a:pt x="44120" y="143799"/>
                    </a:lnTo>
                    <a:cubicBezTo>
                      <a:pt x="4" y="131403"/>
                      <a:pt x="4" y="87652"/>
                      <a:pt x="4" y="87652"/>
                    </a:cubicBezTo>
                    <a:cubicBezTo>
                      <a:pt x="-361" y="54109"/>
                      <a:pt x="24432" y="24941"/>
                      <a:pt x="24432" y="24941"/>
                    </a:cubicBezTo>
                    <a:cubicBezTo>
                      <a:pt x="36828" y="4524"/>
                      <a:pt x="62350" y="149"/>
                      <a:pt x="62350" y="149"/>
                    </a:cubicBezTo>
                    <a:cubicBezTo>
                      <a:pt x="77298" y="-580"/>
                      <a:pt x="108653" y="1607"/>
                      <a:pt x="108653" y="1607"/>
                    </a:cubicBezTo>
                    <a:lnTo>
                      <a:pt x="130164" y="11451"/>
                    </a:lnTo>
                    <a:lnTo>
                      <a:pt x="126154" y="23847"/>
                    </a:lnTo>
                    <a:lnTo>
                      <a:pt x="126154" y="23847"/>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6FD1A10A-DCF9-4A46-BB5D-260403AE4016}"/>
                  </a:ext>
                </a:extLst>
              </p:cNvPr>
              <p:cNvSpPr/>
              <p:nvPr/>
            </p:nvSpPr>
            <p:spPr>
              <a:xfrm>
                <a:off x="7096131" y="3592771"/>
                <a:ext cx="137973" cy="152035"/>
              </a:xfrm>
              <a:custGeom>
                <a:avLst/>
                <a:gdLst>
                  <a:gd name="connsiteX0" fmla="*/ 111358 w 137973"/>
                  <a:gd name="connsiteY0" fmla="*/ 152036 h 152035"/>
                  <a:gd name="connsiteX1" fmla="*/ 66513 w 137973"/>
                  <a:gd name="connsiteY1" fmla="*/ 152036 h 152035"/>
                  <a:gd name="connsiteX2" fmla="*/ 39897 w 137973"/>
                  <a:gd name="connsiteY2" fmla="*/ 148390 h 152035"/>
                  <a:gd name="connsiteX3" fmla="*/ 18386 w 137973"/>
                  <a:gd name="connsiteY3" fmla="*/ 134171 h 152035"/>
                  <a:gd name="connsiteX4" fmla="*/ 3073 w 137973"/>
                  <a:gd name="connsiteY4" fmla="*/ 107920 h 152035"/>
                  <a:gd name="connsiteX5" fmla="*/ 1250 w 137973"/>
                  <a:gd name="connsiteY5" fmla="*/ 75836 h 152035"/>
                  <a:gd name="connsiteX6" fmla="*/ 16928 w 137973"/>
                  <a:gd name="connsiteY6" fmla="*/ 40105 h 152035"/>
                  <a:gd name="connsiteX7" fmla="*/ 49012 w 137973"/>
                  <a:gd name="connsiteY7" fmla="*/ 11302 h 152035"/>
                  <a:gd name="connsiteX8" fmla="*/ 90576 w 137973"/>
                  <a:gd name="connsiteY8" fmla="*/ 0 h 152035"/>
                  <a:gd name="connsiteX9" fmla="*/ 137973 w 137973"/>
                  <a:gd name="connsiteY9" fmla="*/ 13125 h 152035"/>
                  <a:gd name="connsiteX10" fmla="*/ 133234 w 137973"/>
                  <a:gd name="connsiteY10" fmla="*/ 26980 h 152035"/>
                  <a:gd name="connsiteX11" fmla="*/ 131775 w 137973"/>
                  <a:gd name="connsiteY11" fmla="*/ 26980 h 152035"/>
                  <a:gd name="connsiteX12" fmla="*/ 114639 w 137973"/>
                  <a:gd name="connsiteY12" fmla="*/ 10938 h 152035"/>
                  <a:gd name="connsiteX13" fmla="*/ 88024 w 137973"/>
                  <a:gd name="connsiteY13" fmla="*/ 5834 h 152035"/>
                  <a:gd name="connsiteX14" fmla="*/ 42814 w 137973"/>
                  <a:gd name="connsiteY14" fmla="*/ 25522 h 152035"/>
                  <a:gd name="connsiteX15" fmla="*/ 16928 w 137973"/>
                  <a:gd name="connsiteY15" fmla="*/ 79482 h 152035"/>
                  <a:gd name="connsiteX16" fmla="*/ 15470 w 137973"/>
                  <a:gd name="connsiteY16" fmla="*/ 103545 h 152035"/>
                  <a:gd name="connsiteX17" fmla="*/ 22032 w 137973"/>
                  <a:gd name="connsiteY17" fmla="*/ 124327 h 152035"/>
                  <a:gd name="connsiteX18" fmla="*/ 35522 w 137973"/>
                  <a:gd name="connsiteY18" fmla="*/ 139275 h 152035"/>
                  <a:gd name="connsiteX19" fmla="*/ 53752 w 137973"/>
                  <a:gd name="connsiteY19" fmla="*/ 145838 h 152035"/>
                  <a:gd name="connsiteX20" fmla="*/ 70523 w 137973"/>
                  <a:gd name="connsiteY20" fmla="*/ 147661 h 152035"/>
                  <a:gd name="connsiteX21" fmla="*/ 77815 w 137973"/>
                  <a:gd name="connsiteY21" fmla="*/ 147661 h 152035"/>
                  <a:gd name="connsiteX22" fmla="*/ 93493 w 137973"/>
                  <a:gd name="connsiteY22" fmla="*/ 144744 h 152035"/>
                  <a:gd name="connsiteX23" fmla="*/ 98233 w 137973"/>
                  <a:gd name="connsiteY23" fmla="*/ 134535 h 152035"/>
                  <a:gd name="connsiteX24" fmla="*/ 102243 w 137973"/>
                  <a:gd name="connsiteY24" fmla="*/ 111931 h 152035"/>
                  <a:gd name="connsiteX25" fmla="*/ 101514 w 137973"/>
                  <a:gd name="connsiteY25" fmla="*/ 83857 h 152035"/>
                  <a:gd name="connsiteX26" fmla="*/ 101514 w 137973"/>
                  <a:gd name="connsiteY26" fmla="*/ 82398 h 152035"/>
                  <a:gd name="connsiteX27" fmla="*/ 128129 w 137973"/>
                  <a:gd name="connsiteY27" fmla="*/ 82398 h 152035"/>
                  <a:gd name="connsiteX28" fmla="*/ 128129 w 137973"/>
                  <a:gd name="connsiteY28" fmla="*/ 83857 h 152035"/>
                  <a:gd name="connsiteX29" fmla="*/ 117556 w 137973"/>
                  <a:gd name="connsiteY29" fmla="*/ 113389 h 152035"/>
                  <a:gd name="connsiteX30" fmla="*/ 113546 w 137973"/>
                  <a:gd name="connsiteY30" fmla="*/ 137088 h 152035"/>
                  <a:gd name="connsiteX31" fmla="*/ 111358 w 137973"/>
                  <a:gd name="connsiteY31" fmla="*/ 152036 h 15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7973" h="152035">
                    <a:moveTo>
                      <a:pt x="111358" y="152036"/>
                    </a:moveTo>
                    <a:lnTo>
                      <a:pt x="66513" y="152036"/>
                    </a:lnTo>
                    <a:cubicBezTo>
                      <a:pt x="55940" y="152036"/>
                      <a:pt x="47189" y="150942"/>
                      <a:pt x="39897" y="148390"/>
                    </a:cubicBezTo>
                    <a:cubicBezTo>
                      <a:pt x="32605" y="145838"/>
                      <a:pt x="25314" y="141098"/>
                      <a:pt x="18386" y="134171"/>
                    </a:cubicBezTo>
                    <a:cubicBezTo>
                      <a:pt x="11459" y="127244"/>
                      <a:pt x="6355" y="118493"/>
                      <a:pt x="3073" y="107920"/>
                    </a:cubicBezTo>
                    <a:cubicBezTo>
                      <a:pt x="-208" y="97347"/>
                      <a:pt x="-937" y="86774"/>
                      <a:pt x="1250" y="75836"/>
                    </a:cubicBezTo>
                    <a:cubicBezTo>
                      <a:pt x="3438" y="63804"/>
                      <a:pt x="8542" y="52137"/>
                      <a:pt x="16928" y="40105"/>
                    </a:cubicBezTo>
                    <a:cubicBezTo>
                      <a:pt x="25314" y="28438"/>
                      <a:pt x="35887" y="18594"/>
                      <a:pt x="49012" y="11302"/>
                    </a:cubicBezTo>
                    <a:cubicBezTo>
                      <a:pt x="61773" y="4011"/>
                      <a:pt x="75628" y="0"/>
                      <a:pt x="90576" y="0"/>
                    </a:cubicBezTo>
                    <a:cubicBezTo>
                      <a:pt x="103701" y="0"/>
                      <a:pt x="121567" y="2188"/>
                      <a:pt x="137973" y="13125"/>
                    </a:cubicBezTo>
                    <a:lnTo>
                      <a:pt x="133234" y="26980"/>
                    </a:lnTo>
                    <a:lnTo>
                      <a:pt x="131775" y="26980"/>
                    </a:lnTo>
                    <a:cubicBezTo>
                      <a:pt x="128129" y="20417"/>
                      <a:pt x="122296" y="15313"/>
                      <a:pt x="114639" y="10938"/>
                    </a:cubicBezTo>
                    <a:cubicBezTo>
                      <a:pt x="106618" y="6198"/>
                      <a:pt x="97868" y="5834"/>
                      <a:pt x="88024" y="5834"/>
                    </a:cubicBezTo>
                    <a:cubicBezTo>
                      <a:pt x="70523" y="5834"/>
                      <a:pt x="56304" y="10938"/>
                      <a:pt x="42814" y="25522"/>
                    </a:cubicBezTo>
                    <a:cubicBezTo>
                      <a:pt x="29324" y="40105"/>
                      <a:pt x="20574" y="57971"/>
                      <a:pt x="16928" y="79482"/>
                    </a:cubicBezTo>
                    <a:cubicBezTo>
                      <a:pt x="15470" y="88596"/>
                      <a:pt x="15105" y="96253"/>
                      <a:pt x="15470" y="103545"/>
                    </a:cubicBezTo>
                    <a:cubicBezTo>
                      <a:pt x="16199" y="110472"/>
                      <a:pt x="18386" y="117399"/>
                      <a:pt x="22032" y="124327"/>
                    </a:cubicBezTo>
                    <a:cubicBezTo>
                      <a:pt x="26043" y="131254"/>
                      <a:pt x="30418" y="135994"/>
                      <a:pt x="35522" y="139275"/>
                    </a:cubicBezTo>
                    <a:cubicBezTo>
                      <a:pt x="40627" y="142557"/>
                      <a:pt x="46825" y="144744"/>
                      <a:pt x="53752" y="145838"/>
                    </a:cubicBezTo>
                    <a:cubicBezTo>
                      <a:pt x="60679" y="146932"/>
                      <a:pt x="66148" y="147661"/>
                      <a:pt x="70523" y="147661"/>
                    </a:cubicBezTo>
                    <a:lnTo>
                      <a:pt x="77815" y="147661"/>
                    </a:lnTo>
                    <a:cubicBezTo>
                      <a:pt x="86201" y="147296"/>
                      <a:pt x="91305" y="146202"/>
                      <a:pt x="93493" y="144744"/>
                    </a:cubicBezTo>
                    <a:cubicBezTo>
                      <a:pt x="95680" y="143286"/>
                      <a:pt x="97503" y="140004"/>
                      <a:pt x="98233" y="134535"/>
                    </a:cubicBezTo>
                    <a:lnTo>
                      <a:pt x="102243" y="111931"/>
                    </a:lnTo>
                    <a:cubicBezTo>
                      <a:pt x="102972" y="107555"/>
                      <a:pt x="105160" y="83492"/>
                      <a:pt x="101514" y="83857"/>
                    </a:cubicBezTo>
                    <a:lnTo>
                      <a:pt x="101514" y="82398"/>
                    </a:lnTo>
                    <a:lnTo>
                      <a:pt x="128129" y="82398"/>
                    </a:lnTo>
                    <a:lnTo>
                      <a:pt x="128129" y="83857"/>
                    </a:lnTo>
                    <a:cubicBezTo>
                      <a:pt x="124119" y="83857"/>
                      <a:pt x="118650" y="108649"/>
                      <a:pt x="117556" y="113389"/>
                    </a:cubicBezTo>
                    <a:lnTo>
                      <a:pt x="113546" y="137088"/>
                    </a:lnTo>
                    <a:cubicBezTo>
                      <a:pt x="112816" y="140369"/>
                      <a:pt x="112087" y="144015"/>
                      <a:pt x="111358" y="152036"/>
                    </a:cubicBezTo>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977F8287-BC0E-47AE-99B0-20230FE6A802}"/>
                  </a:ext>
                </a:extLst>
              </p:cNvPr>
              <p:cNvSpPr/>
              <p:nvPr/>
            </p:nvSpPr>
            <p:spPr>
              <a:xfrm>
                <a:off x="7102482" y="3598455"/>
                <a:ext cx="129799" cy="143799"/>
              </a:xfrm>
              <a:custGeom>
                <a:avLst/>
                <a:gdLst>
                  <a:gd name="connsiteX0" fmla="*/ 126154 w 129799"/>
                  <a:gd name="connsiteY0" fmla="*/ 23118 h 143799"/>
                  <a:gd name="connsiteX1" fmla="*/ 103549 w 129799"/>
                  <a:gd name="connsiteY1" fmla="*/ 5982 h 143799"/>
                  <a:gd name="connsiteX2" fmla="*/ 16411 w 129799"/>
                  <a:gd name="connsiteY2" fmla="*/ 49734 h 143799"/>
                  <a:gd name="connsiteX3" fmla="*/ 92976 w 129799"/>
                  <a:gd name="connsiteY3" fmla="*/ 139789 h 143799"/>
                  <a:gd name="connsiteX4" fmla="*/ 90423 w 129799"/>
                  <a:gd name="connsiteY4" fmla="*/ 143799 h 143799"/>
                  <a:gd name="connsiteX5" fmla="*/ 44120 w 129799"/>
                  <a:gd name="connsiteY5" fmla="*/ 143799 h 143799"/>
                  <a:gd name="connsiteX6" fmla="*/ 4 w 129799"/>
                  <a:gd name="connsiteY6" fmla="*/ 87652 h 143799"/>
                  <a:gd name="connsiteX7" fmla="*/ 24432 w 129799"/>
                  <a:gd name="connsiteY7" fmla="*/ 24941 h 143799"/>
                  <a:gd name="connsiteX8" fmla="*/ 62350 w 129799"/>
                  <a:gd name="connsiteY8" fmla="*/ 149 h 143799"/>
                  <a:gd name="connsiteX9" fmla="*/ 108288 w 129799"/>
                  <a:gd name="connsiteY9" fmla="*/ 1607 h 143799"/>
                  <a:gd name="connsiteX10" fmla="*/ 129800 w 129799"/>
                  <a:gd name="connsiteY10" fmla="*/ 11451 h 143799"/>
                  <a:gd name="connsiteX11" fmla="*/ 125789 w 129799"/>
                  <a:gd name="connsiteY11" fmla="*/ 23847 h 143799"/>
                  <a:gd name="connsiteX12" fmla="*/ 125789 w 129799"/>
                  <a:gd name="connsiteY12" fmla="*/ 23847 h 14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799" h="143799">
                    <a:moveTo>
                      <a:pt x="126154" y="23118"/>
                    </a:moveTo>
                    <a:cubicBezTo>
                      <a:pt x="119956" y="16191"/>
                      <a:pt x="112299" y="9628"/>
                      <a:pt x="103549" y="5982"/>
                    </a:cubicBezTo>
                    <a:cubicBezTo>
                      <a:pt x="69277" y="-8237"/>
                      <a:pt x="29901" y="10722"/>
                      <a:pt x="16411" y="49734"/>
                    </a:cubicBezTo>
                    <a:cubicBezTo>
                      <a:pt x="369" y="96766"/>
                      <a:pt x="21515" y="151091"/>
                      <a:pt x="92976" y="139789"/>
                    </a:cubicBezTo>
                    <a:lnTo>
                      <a:pt x="90423" y="143799"/>
                    </a:lnTo>
                    <a:lnTo>
                      <a:pt x="44120" y="143799"/>
                    </a:lnTo>
                    <a:cubicBezTo>
                      <a:pt x="-361" y="131403"/>
                      <a:pt x="4" y="87652"/>
                      <a:pt x="4" y="87652"/>
                    </a:cubicBezTo>
                    <a:cubicBezTo>
                      <a:pt x="-361" y="54109"/>
                      <a:pt x="24432" y="24941"/>
                      <a:pt x="24432" y="24941"/>
                    </a:cubicBezTo>
                    <a:cubicBezTo>
                      <a:pt x="36828" y="4524"/>
                      <a:pt x="62350" y="149"/>
                      <a:pt x="62350" y="149"/>
                    </a:cubicBezTo>
                    <a:cubicBezTo>
                      <a:pt x="77298" y="-580"/>
                      <a:pt x="108288" y="1607"/>
                      <a:pt x="108288" y="1607"/>
                    </a:cubicBezTo>
                    <a:lnTo>
                      <a:pt x="129800" y="11451"/>
                    </a:lnTo>
                    <a:lnTo>
                      <a:pt x="125789" y="23847"/>
                    </a:lnTo>
                    <a:lnTo>
                      <a:pt x="125789" y="23847"/>
                    </a:lnTo>
                    <a:close/>
                  </a:path>
                </a:pathLst>
              </a:custGeom>
              <a:solidFill>
                <a:srgbClr val="A1ABB2"/>
              </a:solidFill>
              <a:ln w="3639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158" name="Group 157">
            <a:extLst>
              <a:ext uri="{FF2B5EF4-FFF2-40B4-BE49-F238E27FC236}">
                <a16:creationId xmlns:a16="http://schemas.microsoft.com/office/drawing/2014/main" id="{BC6B011D-6790-4134-8583-C55E0E0F32BE}"/>
              </a:ext>
            </a:extLst>
          </p:cNvPr>
          <p:cNvGrpSpPr/>
          <p:nvPr userDrawn="1"/>
        </p:nvGrpSpPr>
        <p:grpSpPr>
          <a:xfrm>
            <a:off x="3339354" y="2238445"/>
            <a:ext cx="7746123" cy="269337"/>
            <a:chOff x="3339354" y="2288371"/>
            <a:chExt cx="7746123" cy="269337"/>
          </a:xfrm>
        </p:grpSpPr>
        <p:grpSp>
          <p:nvGrpSpPr>
            <p:cNvPr id="159" name="Group 158">
              <a:extLst>
                <a:ext uri="{FF2B5EF4-FFF2-40B4-BE49-F238E27FC236}">
                  <a16:creationId xmlns:a16="http://schemas.microsoft.com/office/drawing/2014/main" id="{AC1A4291-8F58-493F-B9A9-5778D91F6B50}"/>
                </a:ext>
              </a:extLst>
            </p:cNvPr>
            <p:cNvGrpSpPr/>
            <p:nvPr userDrawn="1"/>
          </p:nvGrpSpPr>
          <p:grpSpPr>
            <a:xfrm>
              <a:off x="3339354" y="2290307"/>
              <a:ext cx="804722" cy="265464"/>
              <a:chOff x="7596669" y="3709755"/>
              <a:chExt cx="635222" cy="209549"/>
            </a:xfrm>
          </p:grpSpPr>
          <p:grpSp>
            <p:nvGrpSpPr>
              <p:cNvPr id="241" name="Graphic 1126">
                <a:extLst>
                  <a:ext uri="{FF2B5EF4-FFF2-40B4-BE49-F238E27FC236}">
                    <a16:creationId xmlns:a16="http://schemas.microsoft.com/office/drawing/2014/main" id="{5CD9996C-EFA7-4F3F-B351-96B22E544C5B}"/>
                  </a:ext>
                </a:extLst>
              </p:cNvPr>
              <p:cNvGrpSpPr/>
              <p:nvPr/>
            </p:nvGrpSpPr>
            <p:grpSpPr>
              <a:xfrm>
                <a:off x="7596954" y="3709755"/>
                <a:ext cx="605694" cy="126777"/>
                <a:chOff x="7596954" y="3709755"/>
                <a:chExt cx="605694" cy="126777"/>
              </a:xfrm>
              <a:noFill/>
            </p:grpSpPr>
            <p:sp>
              <p:nvSpPr>
                <p:cNvPr id="256" name="Freeform: Shape 255">
                  <a:extLst>
                    <a:ext uri="{FF2B5EF4-FFF2-40B4-BE49-F238E27FC236}">
                      <a16:creationId xmlns:a16="http://schemas.microsoft.com/office/drawing/2014/main" id="{13E40EF1-1339-4464-BCD5-65C15D5C3315}"/>
                    </a:ext>
                  </a:extLst>
                </p:cNvPr>
                <p:cNvSpPr/>
                <p:nvPr/>
              </p:nvSpPr>
              <p:spPr>
                <a:xfrm>
                  <a:off x="7596954" y="3836532"/>
                  <a:ext cx="605694" cy="9525"/>
                </a:xfrm>
                <a:custGeom>
                  <a:avLst/>
                  <a:gdLst>
                    <a:gd name="connsiteX0" fmla="*/ 0 w 605694"/>
                    <a:gd name="connsiteY0" fmla="*/ 0 h 9525"/>
                    <a:gd name="connsiteX1" fmla="*/ 605695 w 605694"/>
                    <a:gd name="connsiteY1" fmla="*/ 0 h 9525"/>
                  </a:gdLst>
                  <a:ahLst/>
                  <a:cxnLst>
                    <a:cxn ang="0">
                      <a:pos x="connsiteX0" y="connsiteY0"/>
                    </a:cxn>
                    <a:cxn ang="0">
                      <a:pos x="connsiteX1" y="connsiteY1"/>
                    </a:cxn>
                  </a:cxnLst>
                  <a:rect l="l" t="t" r="r" b="b"/>
                  <a:pathLst>
                    <a:path w="605694" h="9525">
                      <a:moveTo>
                        <a:pt x="0" y="0"/>
                      </a:moveTo>
                      <a:lnTo>
                        <a:pt x="605695" y="0"/>
                      </a:lnTo>
                    </a:path>
                  </a:pathLst>
                </a:custGeom>
                <a:ln w="1905" cap="flat">
                  <a:solidFill>
                    <a:srgbClr val="A1ABB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7" name="Freeform: Shape 256">
                  <a:extLst>
                    <a:ext uri="{FF2B5EF4-FFF2-40B4-BE49-F238E27FC236}">
                      <a16:creationId xmlns:a16="http://schemas.microsoft.com/office/drawing/2014/main" id="{459529B8-3D4C-472A-B384-51DC4921FFAA}"/>
                    </a:ext>
                  </a:extLst>
                </p:cNvPr>
                <p:cNvSpPr/>
                <p:nvPr/>
              </p:nvSpPr>
              <p:spPr>
                <a:xfrm>
                  <a:off x="7827840" y="3709755"/>
                  <a:ext cx="136302" cy="117348"/>
                </a:xfrm>
                <a:custGeom>
                  <a:avLst/>
                  <a:gdLst>
                    <a:gd name="connsiteX0" fmla="*/ 0 w 136302"/>
                    <a:gd name="connsiteY0" fmla="*/ 117348 h 117348"/>
                    <a:gd name="connsiteX1" fmla="*/ 136303 w 136302"/>
                    <a:gd name="connsiteY1" fmla="*/ 117348 h 117348"/>
                    <a:gd name="connsiteX2" fmla="*/ 66770 w 136302"/>
                    <a:gd name="connsiteY2" fmla="*/ 0 h 117348"/>
                    <a:gd name="connsiteX3" fmla="*/ 0 w 136302"/>
                    <a:gd name="connsiteY3" fmla="*/ 117348 h 117348"/>
                    <a:gd name="connsiteX4" fmla="*/ 0 w 136302"/>
                    <a:gd name="connsiteY4" fmla="*/ 117348 h 117348"/>
                    <a:gd name="connsiteX5" fmla="*/ 0 w 136302"/>
                    <a:gd name="connsiteY5" fmla="*/ 117348 h 11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302" h="117348">
                      <a:moveTo>
                        <a:pt x="0" y="117348"/>
                      </a:moveTo>
                      <a:lnTo>
                        <a:pt x="136303" y="117348"/>
                      </a:lnTo>
                      <a:lnTo>
                        <a:pt x="66770" y="0"/>
                      </a:lnTo>
                      <a:lnTo>
                        <a:pt x="0" y="117348"/>
                      </a:lnTo>
                      <a:lnTo>
                        <a:pt x="0" y="117348"/>
                      </a:lnTo>
                      <a:lnTo>
                        <a:pt x="0" y="117348"/>
                      </a:lnTo>
                      <a:close/>
                    </a:path>
                  </a:pathLst>
                </a:custGeom>
                <a:noFill/>
                <a:ln w="1905" cap="flat">
                  <a:solidFill>
                    <a:srgbClr val="A1ABB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242" name="Freeform: Shape 241">
                <a:extLst>
                  <a:ext uri="{FF2B5EF4-FFF2-40B4-BE49-F238E27FC236}">
                    <a16:creationId xmlns:a16="http://schemas.microsoft.com/office/drawing/2014/main" id="{056EEC91-CDDE-4226-90F1-AF9BD8AE0887}"/>
                  </a:ext>
                </a:extLst>
              </p:cNvPr>
              <p:cNvSpPr/>
              <p:nvPr/>
            </p:nvSpPr>
            <p:spPr>
              <a:xfrm>
                <a:off x="7836413" y="3712136"/>
                <a:ext cx="90868" cy="113537"/>
              </a:xfrm>
              <a:custGeom>
                <a:avLst/>
                <a:gdLst>
                  <a:gd name="connsiteX0" fmla="*/ 84201 w 90868"/>
                  <a:gd name="connsiteY0" fmla="*/ 0 h 113537"/>
                  <a:gd name="connsiteX1" fmla="*/ 90868 w 90868"/>
                  <a:gd name="connsiteY1" fmla="*/ 9906 h 113537"/>
                  <a:gd name="connsiteX2" fmla="*/ 22193 w 90868"/>
                  <a:gd name="connsiteY2" fmla="*/ 113538 h 113537"/>
                  <a:gd name="connsiteX3" fmla="*/ 0 w 90868"/>
                  <a:gd name="connsiteY3" fmla="*/ 70009 h 113537"/>
                  <a:gd name="connsiteX4" fmla="*/ 23146 w 90868"/>
                  <a:gd name="connsiteY4" fmla="*/ 105061 h 113537"/>
                  <a:gd name="connsiteX5" fmla="*/ 84201 w 90868"/>
                  <a:gd name="connsiteY5" fmla="*/ 0 h 113537"/>
                  <a:gd name="connsiteX6" fmla="*/ 84201 w 90868"/>
                  <a:gd name="connsiteY6" fmla="*/ 0 h 113537"/>
                  <a:gd name="connsiteX7" fmla="*/ 84201 w 90868"/>
                  <a:gd name="connsiteY7" fmla="*/ 0 h 113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868" h="113537">
                    <a:moveTo>
                      <a:pt x="84201" y="0"/>
                    </a:moveTo>
                    <a:lnTo>
                      <a:pt x="90868" y="9906"/>
                    </a:lnTo>
                    <a:lnTo>
                      <a:pt x="22193" y="113538"/>
                    </a:lnTo>
                    <a:lnTo>
                      <a:pt x="0" y="70009"/>
                    </a:lnTo>
                    <a:lnTo>
                      <a:pt x="23146" y="105061"/>
                    </a:lnTo>
                    <a:lnTo>
                      <a:pt x="84201" y="0"/>
                    </a:lnTo>
                    <a:lnTo>
                      <a:pt x="84201" y="0"/>
                    </a:lnTo>
                    <a:lnTo>
                      <a:pt x="84201"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3" name="Freeform: Shape 242">
                <a:extLst>
                  <a:ext uri="{FF2B5EF4-FFF2-40B4-BE49-F238E27FC236}">
                    <a16:creationId xmlns:a16="http://schemas.microsoft.com/office/drawing/2014/main" id="{451F37AD-61D9-439F-BD55-C45D5B0D8106}"/>
                  </a:ext>
                </a:extLst>
              </p:cNvPr>
              <p:cNvSpPr/>
              <p:nvPr/>
            </p:nvSpPr>
            <p:spPr>
              <a:xfrm>
                <a:off x="7847271" y="3733377"/>
                <a:ext cx="92297" cy="92297"/>
              </a:xfrm>
              <a:custGeom>
                <a:avLst/>
                <a:gdLst>
                  <a:gd name="connsiteX0" fmla="*/ 86106 w 92297"/>
                  <a:gd name="connsiteY0" fmla="*/ 0 h 92297"/>
                  <a:gd name="connsiteX1" fmla="*/ 92297 w 92297"/>
                  <a:gd name="connsiteY1" fmla="*/ 10001 h 92297"/>
                  <a:gd name="connsiteX2" fmla="*/ 36005 w 92297"/>
                  <a:gd name="connsiteY2" fmla="*/ 92297 h 92297"/>
                  <a:gd name="connsiteX3" fmla="*/ 0 w 92297"/>
                  <a:gd name="connsiteY3" fmla="*/ 26956 h 92297"/>
                  <a:gd name="connsiteX4" fmla="*/ 36957 w 92297"/>
                  <a:gd name="connsiteY4" fmla="*/ 83820 h 92297"/>
                  <a:gd name="connsiteX5" fmla="*/ 86106 w 92297"/>
                  <a:gd name="connsiteY5" fmla="*/ 0 h 92297"/>
                  <a:gd name="connsiteX6" fmla="*/ 86106 w 92297"/>
                  <a:gd name="connsiteY6" fmla="*/ 0 h 92297"/>
                  <a:gd name="connsiteX7" fmla="*/ 86106 w 92297"/>
                  <a:gd name="connsiteY7" fmla="*/ 0 h 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97" h="92297">
                    <a:moveTo>
                      <a:pt x="86106" y="0"/>
                    </a:moveTo>
                    <a:lnTo>
                      <a:pt x="92297" y="10001"/>
                    </a:lnTo>
                    <a:lnTo>
                      <a:pt x="36005" y="92297"/>
                    </a:lnTo>
                    <a:lnTo>
                      <a:pt x="0" y="26956"/>
                    </a:lnTo>
                    <a:lnTo>
                      <a:pt x="36957" y="83820"/>
                    </a:lnTo>
                    <a:lnTo>
                      <a:pt x="86106" y="0"/>
                    </a:lnTo>
                    <a:lnTo>
                      <a:pt x="86106" y="0"/>
                    </a:lnTo>
                    <a:lnTo>
                      <a:pt x="8610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4" name="Freeform: Shape 243">
                <a:extLst>
                  <a:ext uri="{FF2B5EF4-FFF2-40B4-BE49-F238E27FC236}">
                    <a16:creationId xmlns:a16="http://schemas.microsoft.com/office/drawing/2014/main" id="{06D12101-E431-4640-B11A-6FF2C3801E62}"/>
                  </a:ext>
                </a:extLst>
              </p:cNvPr>
              <p:cNvSpPr/>
              <p:nvPr/>
            </p:nvSpPr>
            <p:spPr>
              <a:xfrm>
                <a:off x="7862892" y="3744235"/>
                <a:ext cx="88772" cy="81438"/>
              </a:xfrm>
              <a:custGeom>
                <a:avLst/>
                <a:gdLst>
                  <a:gd name="connsiteX0" fmla="*/ 83344 w 88772"/>
                  <a:gd name="connsiteY0" fmla="*/ 9525 h 81438"/>
                  <a:gd name="connsiteX1" fmla="*/ 88773 w 88772"/>
                  <a:gd name="connsiteY1" fmla="*/ 19907 h 81438"/>
                  <a:gd name="connsiteX2" fmla="*/ 44958 w 88772"/>
                  <a:gd name="connsiteY2" fmla="*/ 81439 h 81438"/>
                  <a:gd name="connsiteX3" fmla="*/ 0 w 88772"/>
                  <a:gd name="connsiteY3" fmla="*/ 0 h 81438"/>
                  <a:gd name="connsiteX4" fmla="*/ 45910 w 88772"/>
                  <a:gd name="connsiteY4" fmla="*/ 72962 h 81438"/>
                  <a:gd name="connsiteX5" fmla="*/ 83344 w 88772"/>
                  <a:gd name="connsiteY5" fmla="*/ 9525 h 81438"/>
                  <a:gd name="connsiteX6" fmla="*/ 83344 w 88772"/>
                  <a:gd name="connsiteY6" fmla="*/ 9525 h 81438"/>
                  <a:gd name="connsiteX7" fmla="*/ 83344 w 88772"/>
                  <a:gd name="connsiteY7" fmla="*/ 9525 h 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72" h="81438">
                    <a:moveTo>
                      <a:pt x="83344" y="9525"/>
                    </a:moveTo>
                    <a:lnTo>
                      <a:pt x="88773" y="19907"/>
                    </a:lnTo>
                    <a:lnTo>
                      <a:pt x="44958" y="81439"/>
                    </a:lnTo>
                    <a:lnTo>
                      <a:pt x="0" y="0"/>
                    </a:lnTo>
                    <a:lnTo>
                      <a:pt x="45910" y="72962"/>
                    </a:lnTo>
                    <a:lnTo>
                      <a:pt x="83344" y="9525"/>
                    </a:lnTo>
                    <a:lnTo>
                      <a:pt x="83344" y="9525"/>
                    </a:lnTo>
                    <a:lnTo>
                      <a:pt x="83344" y="952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5" name="Freeform: Shape 244">
                <a:extLst>
                  <a:ext uri="{FF2B5EF4-FFF2-40B4-BE49-F238E27FC236}">
                    <a16:creationId xmlns:a16="http://schemas.microsoft.com/office/drawing/2014/main" id="{8550A188-5CE9-439D-8D56-76E8CC68908F}"/>
                  </a:ext>
                </a:extLst>
              </p:cNvPr>
              <p:cNvSpPr/>
              <p:nvPr/>
            </p:nvSpPr>
            <p:spPr>
              <a:xfrm>
                <a:off x="7874703" y="3724423"/>
                <a:ext cx="88963" cy="100774"/>
              </a:xfrm>
              <a:custGeom>
                <a:avLst/>
                <a:gdLst>
                  <a:gd name="connsiteX0" fmla="*/ 83820 w 88963"/>
                  <a:gd name="connsiteY0" fmla="*/ 50578 h 100774"/>
                  <a:gd name="connsiteX1" fmla="*/ 88963 w 88963"/>
                  <a:gd name="connsiteY1" fmla="*/ 60579 h 100774"/>
                  <a:gd name="connsiteX2" fmla="*/ 58198 w 88963"/>
                  <a:gd name="connsiteY2" fmla="*/ 100775 h 100774"/>
                  <a:gd name="connsiteX3" fmla="*/ 0 w 88963"/>
                  <a:gd name="connsiteY3" fmla="*/ 0 h 100774"/>
                  <a:gd name="connsiteX4" fmla="*/ 59627 w 88963"/>
                  <a:gd name="connsiteY4" fmla="*/ 92773 h 100774"/>
                  <a:gd name="connsiteX5" fmla="*/ 83820 w 88963"/>
                  <a:gd name="connsiteY5" fmla="*/ 50578 h 100774"/>
                  <a:gd name="connsiteX6" fmla="*/ 83820 w 88963"/>
                  <a:gd name="connsiteY6" fmla="*/ 50578 h 100774"/>
                  <a:gd name="connsiteX7" fmla="*/ 83820 w 88963"/>
                  <a:gd name="connsiteY7" fmla="*/ 50578 h 10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63" h="100774">
                    <a:moveTo>
                      <a:pt x="83820" y="50578"/>
                    </a:moveTo>
                    <a:lnTo>
                      <a:pt x="88963" y="60579"/>
                    </a:lnTo>
                    <a:lnTo>
                      <a:pt x="58198" y="100775"/>
                    </a:lnTo>
                    <a:lnTo>
                      <a:pt x="0" y="0"/>
                    </a:lnTo>
                    <a:lnTo>
                      <a:pt x="59627" y="92773"/>
                    </a:lnTo>
                    <a:lnTo>
                      <a:pt x="83820" y="50578"/>
                    </a:lnTo>
                    <a:lnTo>
                      <a:pt x="83820" y="50578"/>
                    </a:lnTo>
                    <a:lnTo>
                      <a:pt x="83820" y="5057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6" name="Freeform: Shape 245">
                <a:extLst>
                  <a:ext uri="{FF2B5EF4-FFF2-40B4-BE49-F238E27FC236}">
                    <a16:creationId xmlns:a16="http://schemas.microsoft.com/office/drawing/2014/main" id="{B4A4FB68-77A1-4922-B082-FA24C7222FDF}"/>
                  </a:ext>
                </a:extLst>
              </p:cNvPr>
              <p:cNvSpPr/>
              <p:nvPr/>
            </p:nvSpPr>
            <p:spPr>
              <a:xfrm>
                <a:off x="8155024" y="3844914"/>
                <a:ext cx="50006" cy="73247"/>
              </a:xfrm>
              <a:custGeom>
                <a:avLst/>
                <a:gdLst>
                  <a:gd name="connsiteX0" fmla="*/ 0 w 50006"/>
                  <a:gd name="connsiteY0" fmla="*/ 73247 h 73247"/>
                  <a:gd name="connsiteX1" fmla="*/ 50006 w 50006"/>
                  <a:gd name="connsiteY1" fmla="*/ 73247 h 73247"/>
                  <a:gd name="connsiteX2" fmla="*/ 50006 w 50006"/>
                  <a:gd name="connsiteY2" fmla="*/ 53245 h 73247"/>
                  <a:gd name="connsiteX3" fmla="*/ 26765 w 50006"/>
                  <a:gd name="connsiteY3" fmla="*/ 53245 h 73247"/>
                  <a:gd name="connsiteX4" fmla="*/ 26765 w 50006"/>
                  <a:gd name="connsiteY4" fmla="*/ 46101 h 73247"/>
                  <a:gd name="connsiteX5" fmla="*/ 47339 w 50006"/>
                  <a:gd name="connsiteY5" fmla="*/ 46101 h 73247"/>
                  <a:gd name="connsiteX6" fmla="*/ 47339 w 50006"/>
                  <a:gd name="connsiteY6" fmla="*/ 27051 h 73247"/>
                  <a:gd name="connsiteX7" fmla="*/ 26765 w 50006"/>
                  <a:gd name="connsiteY7" fmla="*/ 27051 h 73247"/>
                  <a:gd name="connsiteX8" fmla="*/ 26765 w 50006"/>
                  <a:gd name="connsiteY8" fmla="*/ 20002 h 73247"/>
                  <a:gd name="connsiteX9" fmla="*/ 49244 w 50006"/>
                  <a:gd name="connsiteY9" fmla="*/ 20002 h 73247"/>
                  <a:gd name="connsiteX10" fmla="*/ 49244 w 50006"/>
                  <a:gd name="connsiteY10" fmla="*/ 0 h 73247"/>
                  <a:gd name="connsiteX11" fmla="*/ 0 w 50006"/>
                  <a:gd name="connsiteY11" fmla="*/ 0 h 73247"/>
                  <a:gd name="connsiteX12" fmla="*/ 0 w 50006"/>
                  <a:gd name="connsiteY12" fmla="*/ 73247 h 73247"/>
                  <a:gd name="connsiteX13" fmla="*/ 0 w 50006"/>
                  <a:gd name="connsiteY13" fmla="*/ 73247 h 73247"/>
                  <a:gd name="connsiteX14" fmla="*/ 0 w 50006"/>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006" h="73247">
                    <a:moveTo>
                      <a:pt x="0" y="73247"/>
                    </a:moveTo>
                    <a:lnTo>
                      <a:pt x="50006" y="73247"/>
                    </a:lnTo>
                    <a:lnTo>
                      <a:pt x="50006" y="53245"/>
                    </a:lnTo>
                    <a:lnTo>
                      <a:pt x="26765" y="53245"/>
                    </a:lnTo>
                    <a:lnTo>
                      <a:pt x="26765" y="46101"/>
                    </a:lnTo>
                    <a:lnTo>
                      <a:pt x="47339" y="46101"/>
                    </a:lnTo>
                    <a:lnTo>
                      <a:pt x="47339" y="27051"/>
                    </a:lnTo>
                    <a:lnTo>
                      <a:pt x="26765" y="27051"/>
                    </a:lnTo>
                    <a:lnTo>
                      <a:pt x="26765" y="20002"/>
                    </a:lnTo>
                    <a:lnTo>
                      <a:pt x="49244" y="20002"/>
                    </a:lnTo>
                    <a:lnTo>
                      <a:pt x="49244"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7" name="Freeform: Shape 246">
                <a:extLst>
                  <a:ext uri="{FF2B5EF4-FFF2-40B4-BE49-F238E27FC236}">
                    <a16:creationId xmlns:a16="http://schemas.microsoft.com/office/drawing/2014/main" id="{BE0E6721-ED59-47D2-A171-C045689A4DBC}"/>
                  </a:ext>
                </a:extLst>
              </p:cNvPr>
              <p:cNvSpPr/>
              <p:nvPr/>
            </p:nvSpPr>
            <p:spPr>
              <a:xfrm>
                <a:off x="8078729" y="3844819"/>
                <a:ext cx="73437" cy="73342"/>
              </a:xfrm>
              <a:custGeom>
                <a:avLst/>
                <a:gdLst>
                  <a:gd name="connsiteX0" fmla="*/ 0 w 73437"/>
                  <a:gd name="connsiteY0" fmla="*/ 73343 h 73342"/>
                  <a:gd name="connsiteX1" fmla="*/ 25432 w 73437"/>
                  <a:gd name="connsiteY1" fmla="*/ 73343 h 73342"/>
                  <a:gd name="connsiteX2" fmla="*/ 25432 w 73437"/>
                  <a:gd name="connsiteY2" fmla="*/ 49530 h 73342"/>
                  <a:gd name="connsiteX3" fmla="*/ 23813 w 73437"/>
                  <a:gd name="connsiteY3" fmla="*/ 34862 h 73342"/>
                  <a:gd name="connsiteX4" fmla="*/ 24574 w 73437"/>
                  <a:gd name="connsiteY4" fmla="*/ 34862 h 73342"/>
                  <a:gd name="connsiteX5" fmla="*/ 48006 w 73437"/>
                  <a:gd name="connsiteY5" fmla="*/ 73343 h 73342"/>
                  <a:gd name="connsiteX6" fmla="*/ 73438 w 73437"/>
                  <a:gd name="connsiteY6" fmla="*/ 73343 h 73342"/>
                  <a:gd name="connsiteX7" fmla="*/ 73438 w 73437"/>
                  <a:gd name="connsiteY7" fmla="*/ 0 h 73342"/>
                  <a:gd name="connsiteX8" fmla="*/ 48006 w 73437"/>
                  <a:gd name="connsiteY8" fmla="*/ 0 h 73342"/>
                  <a:gd name="connsiteX9" fmla="*/ 48006 w 73437"/>
                  <a:gd name="connsiteY9" fmla="*/ 22003 h 73342"/>
                  <a:gd name="connsiteX10" fmla="*/ 50197 w 73437"/>
                  <a:gd name="connsiteY10" fmla="*/ 40672 h 73342"/>
                  <a:gd name="connsiteX11" fmla="*/ 49435 w 73437"/>
                  <a:gd name="connsiteY11" fmla="*/ 40672 h 73342"/>
                  <a:gd name="connsiteX12" fmla="*/ 25527 w 73437"/>
                  <a:gd name="connsiteY12" fmla="*/ 0 h 73342"/>
                  <a:gd name="connsiteX13" fmla="*/ 0 w 73437"/>
                  <a:gd name="connsiteY13" fmla="*/ 0 h 73342"/>
                  <a:gd name="connsiteX14" fmla="*/ 0 w 73437"/>
                  <a:gd name="connsiteY14" fmla="*/ 73343 h 73342"/>
                  <a:gd name="connsiteX15" fmla="*/ 0 w 73437"/>
                  <a:gd name="connsiteY15" fmla="*/ 73343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3437" h="73342">
                    <a:moveTo>
                      <a:pt x="0" y="73343"/>
                    </a:moveTo>
                    <a:lnTo>
                      <a:pt x="25432" y="73343"/>
                    </a:lnTo>
                    <a:lnTo>
                      <a:pt x="25432" y="49530"/>
                    </a:lnTo>
                    <a:cubicBezTo>
                      <a:pt x="25432" y="44672"/>
                      <a:pt x="24670" y="39910"/>
                      <a:pt x="23813" y="34862"/>
                    </a:cubicBezTo>
                    <a:lnTo>
                      <a:pt x="24574" y="34862"/>
                    </a:lnTo>
                    <a:lnTo>
                      <a:pt x="48006" y="73343"/>
                    </a:lnTo>
                    <a:lnTo>
                      <a:pt x="73438" y="73343"/>
                    </a:lnTo>
                    <a:lnTo>
                      <a:pt x="73438" y="0"/>
                    </a:lnTo>
                    <a:lnTo>
                      <a:pt x="48006" y="0"/>
                    </a:lnTo>
                    <a:lnTo>
                      <a:pt x="48006" y="22003"/>
                    </a:lnTo>
                    <a:cubicBezTo>
                      <a:pt x="48006" y="28194"/>
                      <a:pt x="49149" y="34576"/>
                      <a:pt x="50197" y="40672"/>
                    </a:cubicBezTo>
                    <a:lnTo>
                      <a:pt x="49435" y="40672"/>
                    </a:lnTo>
                    <a:lnTo>
                      <a:pt x="25527" y="0"/>
                    </a:lnTo>
                    <a:lnTo>
                      <a:pt x="0" y="0"/>
                    </a:lnTo>
                    <a:lnTo>
                      <a:pt x="0" y="73343"/>
                    </a:lnTo>
                    <a:lnTo>
                      <a:pt x="0" y="7334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8" name="Freeform: Shape 247">
                <a:extLst>
                  <a:ext uri="{FF2B5EF4-FFF2-40B4-BE49-F238E27FC236}">
                    <a16:creationId xmlns:a16="http://schemas.microsoft.com/office/drawing/2014/main" id="{F4C1767E-CC18-48C7-9143-0676DE4FB8E6}"/>
                  </a:ext>
                </a:extLst>
              </p:cNvPr>
              <p:cNvSpPr/>
              <p:nvPr/>
            </p:nvSpPr>
            <p:spPr>
              <a:xfrm>
                <a:off x="7936521" y="3844914"/>
                <a:ext cx="67627" cy="73247"/>
              </a:xfrm>
              <a:custGeom>
                <a:avLst/>
                <a:gdLst>
                  <a:gd name="connsiteX0" fmla="*/ 0 w 67627"/>
                  <a:gd name="connsiteY0" fmla="*/ 73247 h 73247"/>
                  <a:gd name="connsiteX1" fmla="*/ 25718 w 67627"/>
                  <a:gd name="connsiteY1" fmla="*/ 73247 h 73247"/>
                  <a:gd name="connsiteX2" fmla="*/ 25718 w 67627"/>
                  <a:gd name="connsiteY2" fmla="*/ 47815 h 73247"/>
                  <a:gd name="connsiteX3" fmla="*/ 42005 w 67627"/>
                  <a:gd name="connsiteY3" fmla="*/ 47815 h 73247"/>
                  <a:gd name="connsiteX4" fmla="*/ 42005 w 67627"/>
                  <a:gd name="connsiteY4" fmla="*/ 73247 h 73247"/>
                  <a:gd name="connsiteX5" fmla="*/ 67627 w 67627"/>
                  <a:gd name="connsiteY5" fmla="*/ 73247 h 73247"/>
                  <a:gd name="connsiteX6" fmla="*/ 67627 w 67627"/>
                  <a:gd name="connsiteY6" fmla="*/ 0 h 73247"/>
                  <a:gd name="connsiteX7" fmla="*/ 42005 w 67627"/>
                  <a:gd name="connsiteY7" fmla="*/ 0 h 73247"/>
                  <a:gd name="connsiteX8" fmla="*/ 42005 w 67627"/>
                  <a:gd name="connsiteY8" fmla="*/ 24670 h 73247"/>
                  <a:gd name="connsiteX9" fmla="*/ 25718 w 67627"/>
                  <a:gd name="connsiteY9" fmla="*/ 24670 h 73247"/>
                  <a:gd name="connsiteX10" fmla="*/ 25718 w 67627"/>
                  <a:gd name="connsiteY10" fmla="*/ 0 h 73247"/>
                  <a:gd name="connsiteX11" fmla="*/ 0 w 67627"/>
                  <a:gd name="connsiteY11" fmla="*/ 0 h 73247"/>
                  <a:gd name="connsiteX12" fmla="*/ 0 w 67627"/>
                  <a:gd name="connsiteY12" fmla="*/ 73247 h 73247"/>
                  <a:gd name="connsiteX13" fmla="*/ 0 w 67627"/>
                  <a:gd name="connsiteY13" fmla="*/ 73247 h 73247"/>
                  <a:gd name="connsiteX14" fmla="*/ 0 w 67627"/>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 h="73247">
                    <a:moveTo>
                      <a:pt x="0" y="73247"/>
                    </a:moveTo>
                    <a:lnTo>
                      <a:pt x="25718" y="73247"/>
                    </a:lnTo>
                    <a:lnTo>
                      <a:pt x="25718" y="47815"/>
                    </a:lnTo>
                    <a:lnTo>
                      <a:pt x="42005" y="47815"/>
                    </a:lnTo>
                    <a:lnTo>
                      <a:pt x="42005" y="73247"/>
                    </a:lnTo>
                    <a:lnTo>
                      <a:pt x="67627" y="73247"/>
                    </a:lnTo>
                    <a:lnTo>
                      <a:pt x="67627" y="0"/>
                    </a:lnTo>
                    <a:lnTo>
                      <a:pt x="42005" y="0"/>
                    </a:lnTo>
                    <a:lnTo>
                      <a:pt x="42005" y="24670"/>
                    </a:lnTo>
                    <a:lnTo>
                      <a:pt x="25718" y="24670"/>
                    </a:lnTo>
                    <a:lnTo>
                      <a:pt x="25718"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9" name="Freeform: Shape 248">
                <a:extLst>
                  <a:ext uri="{FF2B5EF4-FFF2-40B4-BE49-F238E27FC236}">
                    <a16:creationId xmlns:a16="http://schemas.microsoft.com/office/drawing/2014/main" id="{82E107B1-568E-483C-8BE4-F1A758716D32}"/>
                  </a:ext>
                </a:extLst>
              </p:cNvPr>
              <p:cNvSpPr/>
              <p:nvPr/>
            </p:nvSpPr>
            <p:spPr>
              <a:xfrm>
                <a:off x="7747164" y="3844914"/>
                <a:ext cx="48958" cy="73247"/>
              </a:xfrm>
              <a:custGeom>
                <a:avLst/>
                <a:gdLst>
                  <a:gd name="connsiteX0" fmla="*/ 0 w 48958"/>
                  <a:gd name="connsiteY0" fmla="*/ 73247 h 73247"/>
                  <a:gd name="connsiteX1" fmla="*/ 48959 w 48958"/>
                  <a:gd name="connsiteY1" fmla="*/ 73247 h 73247"/>
                  <a:gd name="connsiteX2" fmla="*/ 48959 w 48958"/>
                  <a:gd name="connsiteY2" fmla="*/ 49721 h 73247"/>
                  <a:gd name="connsiteX3" fmla="*/ 26575 w 48958"/>
                  <a:gd name="connsiteY3" fmla="*/ 49721 h 73247"/>
                  <a:gd name="connsiteX4" fmla="*/ 26575 w 48958"/>
                  <a:gd name="connsiteY4" fmla="*/ 0 h 73247"/>
                  <a:gd name="connsiteX5" fmla="*/ 0 w 48958"/>
                  <a:gd name="connsiteY5" fmla="*/ 0 h 73247"/>
                  <a:gd name="connsiteX6" fmla="*/ 0 w 48958"/>
                  <a:gd name="connsiteY6" fmla="*/ 73247 h 73247"/>
                  <a:gd name="connsiteX7" fmla="*/ 0 w 48958"/>
                  <a:gd name="connsiteY7" fmla="*/ 73247 h 73247"/>
                  <a:gd name="connsiteX8" fmla="*/ 0 w 48958"/>
                  <a:gd name="connsiteY8"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958" h="73247">
                    <a:moveTo>
                      <a:pt x="0" y="73247"/>
                    </a:moveTo>
                    <a:lnTo>
                      <a:pt x="48959" y="73247"/>
                    </a:lnTo>
                    <a:lnTo>
                      <a:pt x="48959" y="49721"/>
                    </a:lnTo>
                    <a:lnTo>
                      <a:pt x="26575" y="49721"/>
                    </a:lnTo>
                    <a:lnTo>
                      <a:pt x="26575"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0" name="Freeform: Shape 249">
                <a:extLst>
                  <a:ext uri="{FF2B5EF4-FFF2-40B4-BE49-F238E27FC236}">
                    <a16:creationId xmlns:a16="http://schemas.microsoft.com/office/drawing/2014/main" id="{366D8981-F902-40D3-9AFA-CAFEEC7D961A}"/>
                  </a:ext>
                </a:extLst>
              </p:cNvPr>
              <p:cNvSpPr/>
              <p:nvPr/>
            </p:nvSpPr>
            <p:spPr>
              <a:xfrm>
                <a:off x="7596669" y="3844914"/>
                <a:ext cx="67627" cy="73247"/>
              </a:xfrm>
              <a:custGeom>
                <a:avLst/>
                <a:gdLst>
                  <a:gd name="connsiteX0" fmla="*/ 0 w 67627"/>
                  <a:gd name="connsiteY0" fmla="*/ 73247 h 73247"/>
                  <a:gd name="connsiteX1" fmla="*/ 25622 w 67627"/>
                  <a:gd name="connsiteY1" fmla="*/ 73247 h 73247"/>
                  <a:gd name="connsiteX2" fmla="*/ 25622 w 67627"/>
                  <a:gd name="connsiteY2" fmla="*/ 47815 h 73247"/>
                  <a:gd name="connsiteX3" fmla="*/ 42005 w 67627"/>
                  <a:gd name="connsiteY3" fmla="*/ 47815 h 73247"/>
                  <a:gd name="connsiteX4" fmla="*/ 42005 w 67627"/>
                  <a:gd name="connsiteY4" fmla="*/ 73247 h 73247"/>
                  <a:gd name="connsiteX5" fmla="*/ 67628 w 67627"/>
                  <a:gd name="connsiteY5" fmla="*/ 73247 h 73247"/>
                  <a:gd name="connsiteX6" fmla="*/ 67628 w 67627"/>
                  <a:gd name="connsiteY6" fmla="*/ 0 h 73247"/>
                  <a:gd name="connsiteX7" fmla="*/ 42005 w 67627"/>
                  <a:gd name="connsiteY7" fmla="*/ 0 h 73247"/>
                  <a:gd name="connsiteX8" fmla="*/ 42005 w 67627"/>
                  <a:gd name="connsiteY8" fmla="*/ 24670 h 73247"/>
                  <a:gd name="connsiteX9" fmla="*/ 25622 w 67627"/>
                  <a:gd name="connsiteY9" fmla="*/ 24670 h 73247"/>
                  <a:gd name="connsiteX10" fmla="*/ 25622 w 67627"/>
                  <a:gd name="connsiteY10" fmla="*/ 0 h 73247"/>
                  <a:gd name="connsiteX11" fmla="*/ 0 w 67627"/>
                  <a:gd name="connsiteY11" fmla="*/ 0 h 73247"/>
                  <a:gd name="connsiteX12" fmla="*/ 0 w 67627"/>
                  <a:gd name="connsiteY12" fmla="*/ 73247 h 73247"/>
                  <a:gd name="connsiteX13" fmla="*/ 0 w 67627"/>
                  <a:gd name="connsiteY13" fmla="*/ 73247 h 73247"/>
                  <a:gd name="connsiteX14" fmla="*/ 0 w 67627"/>
                  <a:gd name="connsiteY14" fmla="*/ 73247 h 73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627" h="73247">
                    <a:moveTo>
                      <a:pt x="0" y="73247"/>
                    </a:moveTo>
                    <a:lnTo>
                      <a:pt x="25622" y="73247"/>
                    </a:lnTo>
                    <a:lnTo>
                      <a:pt x="25622" y="47815"/>
                    </a:lnTo>
                    <a:lnTo>
                      <a:pt x="42005" y="47815"/>
                    </a:lnTo>
                    <a:lnTo>
                      <a:pt x="42005" y="73247"/>
                    </a:lnTo>
                    <a:lnTo>
                      <a:pt x="67628" y="73247"/>
                    </a:lnTo>
                    <a:lnTo>
                      <a:pt x="67628" y="0"/>
                    </a:lnTo>
                    <a:lnTo>
                      <a:pt x="42005" y="0"/>
                    </a:lnTo>
                    <a:lnTo>
                      <a:pt x="42005" y="24670"/>
                    </a:lnTo>
                    <a:lnTo>
                      <a:pt x="25622" y="24670"/>
                    </a:lnTo>
                    <a:lnTo>
                      <a:pt x="25622" y="0"/>
                    </a:lnTo>
                    <a:lnTo>
                      <a:pt x="0" y="0"/>
                    </a:lnTo>
                    <a:lnTo>
                      <a:pt x="0" y="73247"/>
                    </a:lnTo>
                    <a:lnTo>
                      <a:pt x="0" y="73247"/>
                    </a:lnTo>
                    <a:lnTo>
                      <a:pt x="0" y="73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1" name="Freeform: Shape 250">
                <a:extLst>
                  <a:ext uri="{FF2B5EF4-FFF2-40B4-BE49-F238E27FC236}">
                    <a16:creationId xmlns:a16="http://schemas.microsoft.com/office/drawing/2014/main" id="{056FD6EB-4CC8-4CE1-8512-17FA5F4B7B28}"/>
                  </a:ext>
                </a:extLst>
              </p:cNvPr>
              <p:cNvSpPr/>
              <p:nvPr/>
            </p:nvSpPr>
            <p:spPr>
              <a:xfrm>
                <a:off x="7665153" y="3843676"/>
                <a:ext cx="81152" cy="75628"/>
              </a:xfrm>
              <a:custGeom>
                <a:avLst/>
                <a:gdLst>
                  <a:gd name="connsiteX0" fmla="*/ 40576 w 81152"/>
                  <a:gd name="connsiteY0" fmla="*/ 0 h 75628"/>
                  <a:gd name="connsiteX1" fmla="*/ 0 w 81152"/>
                  <a:gd name="connsiteY1" fmla="*/ 38005 h 75628"/>
                  <a:gd name="connsiteX2" fmla="*/ 40576 w 81152"/>
                  <a:gd name="connsiteY2" fmla="*/ 75629 h 75628"/>
                  <a:gd name="connsiteX3" fmla="*/ 81153 w 81152"/>
                  <a:gd name="connsiteY3" fmla="*/ 38005 h 75628"/>
                  <a:gd name="connsiteX4" fmla="*/ 40576 w 81152"/>
                  <a:gd name="connsiteY4" fmla="*/ 0 h 75628"/>
                  <a:gd name="connsiteX5" fmla="*/ 40576 w 81152"/>
                  <a:gd name="connsiteY5" fmla="*/ 0 h 75628"/>
                  <a:gd name="connsiteX6" fmla="*/ 40576 w 81152"/>
                  <a:gd name="connsiteY6" fmla="*/ 24098 h 75628"/>
                  <a:gd name="connsiteX7" fmla="*/ 54293 w 81152"/>
                  <a:gd name="connsiteY7" fmla="*/ 38386 h 75628"/>
                  <a:gd name="connsiteX8" fmla="*/ 40576 w 81152"/>
                  <a:gd name="connsiteY8" fmla="*/ 52483 h 75628"/>
                  <a:gd name="connsiteX9" fmla="*/ 26861 w 81152"/>
                  <a:gd name="connsiteY9" fmla="*/ 38386 h 75628"/>
                  <a:gd name="connsiteX10" fmla="*/ 40576 w 81152"/>
                  <a:gd name="connsiteY10" fmla="*/ 24098 h 75628"/>
                  <a:gd name="connsiteX11" fmla="*/ 40576 w 81152"/>
                  <a:gd name="connsiteY11" fmla="*/ 24098 h 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152" h="75628">
                    <a:moveTo>
                      <a:pt x="40576" y="0"/>
                    </a:moveTo>
                    <a:cubicBezTo>
                      <a:pt x="18288" y="0"/>
                      <a:pt x="0" y="14954"/>
                      <a:pt x="0" y="38005"/>
                    </a:cubicBezTo>
                    <a:cubicBezTo>
                      <a:pt x="0" y="61055"/>
                      <a:pt x="18193" y="75629"/>
                      <a:pt x="40576" y="75629"/>
                    </a:cubicBezTo>
                    <a:cubicBezTo>
                      <a:pt x="62960" y="75629"/>
                      <a:pt x="81153" y="61531"/>
                      <a:pt x="81153" y="38005"/>
                    </a:cubicBezTo>
                    <a:cubicBezTo>
                      <a:pt x="81153" y="14478"/>
                      <a:pt x="62865" y="0"/>
                      <a:pt x="40576" y="0"/>
                    </a:cubicBezTo>
                    <a:lnTo>
                      <a:pt x="40576" y="0"/>
                    </a:lnTo>
                    <a:close/>
                    <a:moveTo>
                      <a:pt x="40576" y="24098"/>
                    </a:moveTo>
                    <a:cubicBezTo>
                      <a:pt x="49054" y="24098"/>
                      <a:pt x="54293" y="30575"/>
                      <a:pt x="54293" y="38386"/>
                    </a:cubicBezTo>
                    <a:cubicBezTo>
                      <a:pt x="54293" y="46768"/>
                      <a:pt x="48673" y="52483"/>
                      <a:pt x="40576" y="52483"/>
                    </a:cubicBezTo>
                    <a:cubicBezTo>
                      <a:pt x="32480" y="52483"/>
                      <a:pt x="26861" y="46768"/>
                      <a:pt x="26861" y="38386"/>
                    </a:cubicBezTo>
                    <a:cubicBezTo>
                      <a:pt x="26861" y="30575"/>
                      <a:pt x="32099" y="24098"/>
                      <a:pt x="40576" y="24098"/>
                    </a:cubicBezTo>
                    <a:lnTo>
                      <a:pt x="40576" y="2409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2" name="Freeform: Shape 251">
                <a:extLst>
                  <a:ext uri="{FF2B5EF4-FFF2-40B4-BE49-F238E27FC236}">
                    <a16:creationId xmlns:a16="http://schemas.microsoft.com/office/drawing/2014/main" id="{B7068A60-FE30-4566-8AD3-5C1376C54324}"/>
                  </a:ext>
                </a:extLst>
              </p:cNvPr>
              <p:cNvSpPr/>
              <p:nvPr/>
            </p:nvSpPr>
            <p:spPr>
              <a:xfrm>
                <a:off x="7792217" y="3843676"/>
                <a:ext cx="81152" cy="75628"/>
              </a:xfrm>
              <a:custGeom>
                <a:avLst/>
                <a:gdLst>
                  <a:gd name="connsiteX0" fmla="*/ 40577 w 81152"/>
                  <a:gd name="connsiteY0" fmla="*/ 0 h 75628"/>
                  <a:gd name="connsiteX1" fmla="*/ 0 w 81152"/>
                  <a:gd name="connsiteY1" fmla="*/ 38005 h 75628"/>
                  <a:gd name="connsiteX2" fmla="*/ 40577 w 81152"/>
                  <a:gd name="connsiteY2" fmla="*/ 75629 h 75628"/>
                  <a:gd name="connsiteX3" fmla="*/ 81153 w 81152"/>
                  <a:gd name="connsiteY3" fmla="*/ 38005 h 75628"/>
                  <a:gd name="connsiteX4" fmla="*/ 40577 w 81152"/>
                  <a:gd name="connsiteY4" fmla="*/ 0 h 75628"/>
                  <a:gd name="connsiteX5" fmla="*/ 40577 w 81152"/>
                  <a:gd name="connsiteY5" fmla="*/ 0 h 75628"/>
                  <a:gd name="connsiteX6" fmla="*/ 40577 w 81152"/>
                  <a:gd name="connsiteY6" fmla="*/ 24098 h 75628"/>
                  <a:gd name="connsiteX7" fmla="*/ 54292 w 81152"/>
                  <a:gd name="connsiteY7" fmla="*/ 38386 h 75628"/>
                  <a:gd name="connsiteX8" fmla="*/ 40577 w 81152"/>
                  <a:gd name="connsiteY8" fmla="*/ 52483 h 75628"/>
                  <a:gd name="connsiteX9" fmla="*/ 26860 w 81152"/>
                  <a:gd name="connsiteY9" fmla="*/ 38386 h 75628"/>
                  <a:gd name="connsiteX10" fmla="*/ 40577 w 81152"/>
                  <a:gd name="connsiteY10" fmla="*/ 24098 h 75628"/>
                  <a:gd name="connsiteX11" fmla="*/ 40577 w 81152"/>
                  <a:gd name="connsiteY11" fmla="*/ 24098 h 7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152" h="75628">
                    <a:moveTo>
                      <a:pt x="40577" y="0"/>
                    </a:moveTo>
                    <a:cubicBezTo>
                      <a:pt x="18288" y="0"/>
                      <a:pt x="0" y="14954"/>
                      <a:pt x="0" y="38005"/>
                    </a:cubicBezTo>
                    <a:cubicBezTo>
                      <a:pt x="0" y="61055"/>
                      <a:pt x="18193" y="75629"/>
                      <a:pt x="40577" y="75629"/>
                    </a:cubicBezTo>
                    <a:cubicBezTo>
                      <a:pt x="62960" y="75629"/>
                      <a:pt x="81153" y="61531"/>
                      <a:pt x="81153" y="38005"/>
                    </a:cubicBezTo>
                    <a:cubicBezTo>
                      <a:pt x="81153" y="14478"/>
                      <a:pt x="62865" y="0"/>
                      <a:pt x="40577" y="0"/>
                    </a:cubicBezTo>
                    <a:lnTo>
                      <a:pt x="40577" y="0"/>
                    </a:lnTo>
                    <a:close/>
                    <a:moveTo>
                      <a:pt x="40577" y="24098"/>
                    </a:moveTo>
                    <a:cubicBezTo>
                      <a:pt x="49054" y="24098"/>
                      <a:pt x="54292" y="30575"/>
                      <a:pt x="54292" y="38386"/>
                    </a:cubicBezTo>
                    <a:cubicBezTo>
                      <a:pt x="54292" y="46768"/>
                      <a:pt x="48673" y="52483"/>
                      <a:pt x="40577" y="52483"/>
                    </a:cubicBezTo>
                    <a:cubicBezTo>
                      <a:pt x="32480" y="52483"/>
                      <a:pt x="26860" y="46768"/>
                      <a:pt x="26860" y="38386"/>
                    </a:cubicBezTo>
                    <a:cubicBezTo>
                      <a:pt x="26860" y="30575"/>
                      <a:pt x="32099" y="24098"/>
                      <a:pt x="40577" y="24098"/>
                    </a:cubicBezTo>
                    <a:lnTo>
                      <a:pt x="40577" y="2409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3" name="Freeform: Shape 252">
                <a:extLst>
                  <a:ext uri="{FF2B5EF4-FFF2-40B4-BE49-F238E27FC236}">
                    <a16:creationId xmlns:a16="http://schemas.microsoft.com/office/drawing/2014/main" id="{75EDF8C1-4041-419B-8E6D-112CC4C3B0F6}"/>
                  </a:ext>
                </a:extLst>
              </p:cNvPr>
              <p:cNvSpPr/>
              <p:nvPr/>
            </p:nvSpPr>
            <p:spPr>
              <a:xfrm>
                <a:off x="7874227" y="3844819"/>
                <a:ext cx="63436" cy="73342"/>
              </a:xfrm>
              <a:custGeom>
                <a:avLst/>
                <a:gdLst>
                  <a:gd name="connsiteX0" fmla="*/ 0 w 63436"/>
                  <a:gd name="connsiteY0" fmla="*/ 73343 h 73342"/>
                  <a:gd name="connsiteX1" fmla="*/ 25622 w 63436"/>
                  <a:gd name="connsiteY1" fmla="*/ 73343 h 73342"/>
                  <a:gd name="connsiteX2" fmla="*/ 25622 w 63436"/>
                  <a:gd name="connsiteY2" fmla="*/ 51245 h 73342"/>
                  <a:gd name="connsiteX3" fmla="*/ 39243 w 63436"/>
                  <a:gd name="connsiteY3" fmla="*/ 51245 h 73342"/>
                  <a:gd name="connsiteX4" fmla="*/ 63437 w 63436"/>
                  <a:gd name="connsiteY4" fmla="*/ 26956 h 73342"/>
                  <a:gd name="connsiteX5" fmla="*/ 33719 w 63436"/>
                  <a:gd name="connsiteY5" fmla="*/ 0 h 73342"/>
                  <a:gd name="connsiteX6" fmla="*/ 0 w 63436"/>
                  <a:gd name="connsiteY6" fmla="*/ 0 h 73342"/>
                  <a:gd name="connsiteX7" fmla="*/ 0 w 63436"/>
                  <a:gd name="connsiteY7" fmla="*/ 73343 h 73342"/>
                  <a:gd name="connsiteX8" fmla="*/ 0 w 63436"/>
                  <a:gd name="connsiteY8" fmla="*/ 73343 h 73342"/>
                  <a:gd name="connsiteX9" fmla="*/ 25622 w 63436"/>
                  <a:gd name="connsiteY9" fmla="*/ 20098 h 73342"/>
                  <a:gd name="connsiteX10" fmla="*/ 28099 w 63436"/>
                  <a:gd name="connsiteY10" fmla="*/ 20098 h 73342"/>
                  <a:gd name="connsiteX11" fmla="*/ 37909 w 63436"/>
                  <a:gd name="connsiteY11" fmla="*/ 26099 h 73342"/>
                  <a:gd name="connsiteX12" fmla="*/ 28194 w 63436"/>
                  <a:gd name="connsiteY12" fmla="*/ 32766 h 73342"/>
                  <a:gd name="connsiteX13" fmla="*/ 25527 w 63436"/>
                  <a:gd name="connsiteY13" fmla="*/ 32766 h 73342"/>
                  <a:gd name="connsiteX14" fmla="*/ 25527 w 63436"/>
                  <a:gd name="connsiteY14" fmla="*/ 20002 h 73342"/>
                  <a:gd name="connsiteX15" fmla="*/ 25527 w 63436"/>
                  <a:gd name="connsiteY15" fmla="*/ 20002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436" h="73342">
                    <a:moveTo>
                      <a:pt x="0" y="73343"/>
                    </a:moveTo>
                    <a:lnTo>
                      <a:pt x="25622" y="73343"/>
                    </a:lnTo>
                    <a:lnTo>
                      <a:pt x="25622" y="51245"/>
                    </a:lnTo>
                    <a:lnTo>
                      <a:pt x="39243" y="51245"/>
                    </a:lnTo>
                    <a:cubicBezTo>
                      <a:pt x="54102" y="51245"/>
                      <a:pt x="63437" y="41910"/>
                      <a:pt x="63437" y="26956"/>
                    </a:cubicBezTo>
                    <a:cubicBezTo>
                      <a:pt x="63437" y="8763"/>
                      <a:pt x="50768" y="0"/>
                      <a:pt x="33719" y="0"/>
                    </a:cubicBezTo>
                    <a:lnTo>
                      <a:pt x="0" y="0"/>
                    </a:lnTo>
                    <a:lnTo>
                      <a:pt x="0" y="73343"/>
                    </a:lnTo>
                    <a:lnTo>
                      <a:pt x="0" y="73343"/>
                    </a:lnTo>
                    <a:close/>
                    <a:moveTo>
                      <a:pt x="25622" y="20098"/>
                    </a:moveTo>
                    <a:lnTo>
                      <a:pt x="28099" y="20098"/>
                    </a:lnTo>
                    <a:cubicBezTo>
                      <a:pt x="32480" y="20098"/>
                      <a:pt x="37909" y="20384"/>
                      <a:pt x="37909" y="26099"/>
                    </a:cubicBezTo>
                    <a:cubicBezTo>
                      <a:pt x="37909" y="31813"/>
                      <a:pt x="32861" y="32766"/>
                      <a:pt x="28194" y="32766"/>
                    </a:cubicBezTo>
                    <a:lnTo>
                      <a:pt x="25527" y="32766"/>
                    </a:lnTo>
                    <a:lnTo>
                      <a:pt x="25527" y="20002"/>
                    </a:lnTo>
                    <a:lnTo>
                      <a:pt x="25527" y="2000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4" name="Freeform: Shape 253">
                <a:extLst>
                  <a:ext uri="{FF2B5EF4-FFF2-40B4-BE49-F238E27FC236}">
                    <a16:creationId xmlns:a16="http://schemas.microsoft.com/office/drawing/2014/main" id="{661A46C4-9CEF-452A-9700-078168234E3D}"/>
                  </a:ext>
                </a:extLst>
              </p:cNvPr>
              <p:cNvSpPr/>
              <p:nvPr/>
            </p:nvSpPr>
            <p:spPr>
              <a:xfrm>
                <a:off x="8001005" y="3844819"/>
                <a:ext cx="81057" cy="73342"/>
              </a:xfrm>
              <a:custGeom>
                <a:avLst/>
                <a:gdLst>
                  <a:gd name="connsiteX0" fmla="*/ 30385 w 81057"/>
                  <a:gd name="connsiteY0" fmla="*/ 64199 h 73342"/>
                  <a:gd name="connsiteX1" fmla="*/ 50482 w 81057"/>
                  <a:gd name="connsiteY1" fmla="*/ 64199 h 73342"/>
                  <a:gd name="connsiteX2" fmla="*/ 52864 w 81057"/>
                  <a:gd name="connsiteY2" fmla="*/ 73343 h 73342"/>
                  <a:gd name="connsiteX3" fmla="*/ 81058 w 81057"/>
                  <a:gd name="connsiteY3" fmla="*/ 73343 h 73342"/>
                  <a:gd name="connsiteX4" fmla="*/ 54864 w 81057"/>
                  <a:gd name="connsiteY4" fmla="*/ 0 h 73342"/>
                  <a:gd name="connsiteX5" fmla="*/ 25432 w 81057"/>
                  <a:gd name="connsiteY5" fmla="*/ 0 h 73342"/>
                  <a:gd name="connsiteX6" fmla="*/ 0 w 81057"/>
                  <a:gd name="connsiteY6" fmla="*/ 73343 h 73342"/>
                  <a:gd name="connsiteX7" fmla="*/ 28194 w 81057"/>
                  <a:gd name="connsiteY7" fmla="*/ 73343 h 73342"/>
                  <a:gd name="connsiteX8" fmla="*/ 30290 w 81057"/>
                  <a:gd name="connsiteY8" fmla="*/ 64199 h 73342"/>
                  <a:gd name="connsiteX9" fmla="*/ 30290 w 81057"/>
                  <a:gd name="connsiteY9" fmla="*/ 64199 h 73342"/>
                  <a:gd name="connsiteX10" fmla="*/ 35147 w 81057"/>
                  <a:gd name="connsiteY10" fmla="*/ 46768 h 73342"/>
                  <a:gd name="connsiteX11" fmla="*/ 40005 w 81057"/>
                  <a:gd name="connsiteY11" fmla="*/ 24384 h 73342"/>
                  <a:gd name="connsiteX12" fmla="*/ 40957 w 81057"/>
                  <a:gd name="connsiteY12" fmla="*/ 24384 h 73342"/>
                  <a:gd name="connsiteX13" fmla="*/ 42672 w 81057"/>
                  <a:gd name="connsiteY13" fmla="*/ 33814 h 73342"/>
                  <a:gd name="connsiteX14" fmla="*/ 45815 w 81057"/>
                  <a:gd name="connsiteY14" fmla="*/ 46768 h 73342"/>
                  <a:gd name="connsiteX15" fmla="*/ 35147 w 81057"/>
                  <a:gd name="connsiteY15" fmla="*/ 46768 h 7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057" h="73342">
                    <a:moveTo>
                      <a:pt x="30385" y="64199"/>
                    </a:moveTo>
                    <a:lnTo>
                      <a:pt x="50482" y="64199"/>
                    </a:lnTo>
                    <a:lnTo>
                      <a:pt x="52864" y="73343"/>
                    </a:lnTo>
                    <a:lnTo>
                      <a:pt x="81058" y="73343"/>
                    </a:lnTo>
                    <a:lnTo>
                      <a:pt x="54864" y="0"/>
                    </a:lnTo>
                    <a:lnTo>
                      <a:pt x="25432" y="0"/>
                    </a:lnTo>
                    <a:lnTo>
                      <a:pt x="0" y="73343"/>
                    </a:lnTo>
                    <a:lnTo>
                      <a:pt x="28194" y="73343"/>
                    </a:lnTo>
                    <a:lnTo>
                      <a:pt x="30290" y="64199"/>
                    </a:lnTo>
                    <a:lnTo>
                      <a:pt x="30290" y="64199"/>
                    </a:lnTo>
                    <a:close/>
                    <a:moveTo>
                      <a:pt x="35147" y="46768"/>
                    </a:moveTo>
                    <a:lnTo>
                      <a:pt x="40005" y="24384"/>
                    </a:lnTo>
                    <a:lnTo>
                      <a:pt x="40957" y="24384"/>
                    </a:lnTo>
                    <a:cubicBezTo>
                      <a:pt x="41434" y="27527"/>
                      <a:pt x="41910" y="30671"/>
                      <a:pt x="42672" y="33814"/>
                    </a:cubicBezTo>
                    <a:lnTo>
                      <a:pt x="45815" y="46768"/>
                    </a:lnTo>
                    <a:lnTo>
                      <a:pt x="35147" y="4676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55" name="Freeform: Shape 254">
                <a:extLst>
                  <a:ext uri="{FF2B5EF4-FFF2-40B4-BE49-F238E27FC236}">
                    <a16:creationId xmlns:a16="http://schemas.microsoft.com/office/drawing/2014/main" id="{1AC53E3E-62CB-4DAA-8925-FC70BEED5001}"/>
                  </a:ext>
                </a:extLst>
              </p:cNvPr>
              <p:cNvSpPr/>
              <p:nvPr/>
            </p:nvSpPr>
            <p:spPr>
              <a:xfrm>
                <a:off x="8211317" y="3844914"/>
                <a:ext cx="20574" cy="20478"/>
              </a:xfrm>
              <a:custGeom>
                <a:avLst/>
                <a:gdLst>
                  <a:gd name="connsiteX0" fmla="*/ 10001 w 20574"/>
                  <a:gd name="connsiteY0" fmla="*/ 4477 h 20478"/>
                  <a:gd name="connsiteX1" fmla="*/ 13049 w 20574"/>
                  <a:gd name="connsiteY1" fmla="*/ 4858 h 20478"/>
                  <a:gd name="connsiteX2" fmla="*/ 14764 w 20574"/>
                  <a:gd name="connsiteY2" fmla="*/ 7715 h 20478"/>
                  <a:gd name="connsiteX3" fmla="*/ 13621 w 20574"/>
                  <a:gd name="connsiteY3" fmla="*/ 9906 h 20478"/>
                  <a:gd name="connsiteX4" fmla="*/ 12002 w 20574"/>
                  <a:gd name="connsiteY4" fmla="*/ 10477 h 20478"/>
                  <a:gd name="connsiteX5" fmla="*/ 13906 w 20574"/>
                  <a:gd name="connsiteY5" fmla="*/ 11620 h 20478"/>
                  <a:gd name="connsiteX6" fmla="*/ 14573 w 20574"/>
                  <a:gd name="connsiteY6" fmla="*/ 13335 h 20478"/>
                  <a:gd name="connsiteX7" fmla="*/ 14573 w 20574"/>
                  <a:gd name="connsiteY7" fmla="*/ 14192 h 20478"/>
                  <a:gd name="connsiteX8" fmla="*/ 14573 w 20574"/>
                  <a:gd name="connsiteY8" fmla="*/ 15049 h 20478"/>
                  <a:gd name="connsiteX9" fmla="*/ 14573 w 20574"/>
                  <a:gd name="connsiteY9" fmla="*/ 15621 h 20478"/>
                  <a:gd name="connsiteX10" fmla="*/ 12764 w 20574"/>
                  <a:gd name="connsiteY10" fmla="*/ 15621 h 20478"/>
                  <a:gd name="connsiteX11" fmla="*/ 12764 w 20574"/>
                  <a:gd name="connsiteY11" fmla="*/ 14288 h 20478"/>
                  <a:gd name="connsiteX12" fmla="*/ 11621 w 20574"/>
                  <a:gd name="connsiteY12" fmla="*/ 11716 h 20478"/>
                  <a:gd name="connsiteX13" fmla="*/ 9430 w 20574"/>
                  <a:gd name="connsiteY13" fmla="*/ 11335 h 20478"/>
                  <a:gd name="connsiteX14" fmla="*/ 7906 w 20574"/>
                  <a:gd name="connsiteY14" fmla="*/ 11335 h 20478"/>
                  <a:gd name="connsiteX15" fmla="*/ 7906 w 20574"/>
                  <a:gd name="connsiteY15" fmla="*/ 15811 h 20478"/>
                  <a:gd name="connsiteX16" fmla="*/ 5906 w 20574"/>
                  <a:gd name="connsiteY16" fmla="*/ 15811 h 20478"/>
                  <a:gd name="connsiteX17" fmla="*/ 5906 w 20574"/>
                  <a:gd name="connsiteY17" fmla="*/ 4572 h 20478"/>
                  <a:gd name="connsiteX18" fmla="*/ 9811 w 20574"/>
                  <a:gd name="connsiteY18" fmla="*/ 4572 h 20478"/>
                  <a:gd name="connsiteX19" fmla="*/ 12097 w 20574"/>
                  <a:gd name="connsiteY19" fmla="*/ 6286 h 20478"/>
                  <a:gd name="connsiteX20" fmla="*/ 9716 w 20574"/>
                  <a:gd name="connsiteY20" fmla="*/ 5905 h 20478"/>
                  <a:gd name="connsiteX21" fmla="*/ 8001 w 20574"/>
                  <a:gd name="connsiteY21" fmla="*/ 5905 h 20478"/>
                  <a:gd name="connsiteX22" fmla="*/ 8001 w 20574"/>
                  <a:gd name="connsiteY22" fmla="*/ 10001 h 20478"/>
                  <a:gd name="connsiteX23" fmla="*/ 9811 w 20574"/>
                  <a:gd name="connsiteY23" fmla="*/ 10001 h 20478"/>
                  <a:gd name="connsiteX24" fmla="*/ 11716 w 20574"/>
                  <a:gd name="connsiteY24" fmla="*/ 9715 h 20478"/>
                  <a:gd name="connsiteX25" fmla="*/ 12859 w 20574"/>
                  <a:gd name="connsiteY25" fmla="*/ 7906 h 20478"/>
                  <a:gd name="connsiteX26" fmla="*/ 12097 w 20574"/>
                  <a:gd name="connsiteY26" fmla="*/ 6286 h 20478"/>
                  <a:gd name="connsiteX27" fmla="*/ 12097 w 20574"/>
                  <a:gd name="connsiteY27" fmla="*/ 6286 h 20478"/>
                  <a:gd name="connsiteX28" fmla="*/ 17431 w 20574"/>
                  <a:gd name="connsiteY28" fmla="*/ 17431 h 20478"/>
                  <a:gd name="connsiteX29" fmla="*/ 10192 w 20574"/>
                  <a:gd name="connsiteY29" fmla="*/ 20479 h 20478"/>
                  <a:gd name="connsiteX30" fmla="*/ 2953 w 20574"/>
                  <a:gd name="connsiteY30" fmla="*/ 17431 h 20478"/>
                  <a:gd name="connsiteX31" fmla="*/ 0 w 20574"/>
                  <a:gd name="connsiteY31" fmla="*/ 10192 h 20478"/>
                  <a:gd name="connsiteX32" fmla="*/ 3048 w 20574"/>
                  <a:gd name="connsiteY32" fmla="*/ 2953 h 20478"/>
                  <a:gd name="connsiteX33" fmla="*/ 10287 w 20574"/>
                  <a:gd name="connsiteY33" fmla="*/ 0 h 20478"/>
                  <a:gd name="connsiteX34" fmla="*/ 17526 w 20574"/>
                  <a:gd name="connsiteY34" fmla="*/ 2953 h 20478"/>
                  <a:gd name="connsiteX35" fmla="*/ 20574 w 20574"/>
                  <a:gd name="connsiteY35" fmla="*/ 10192 h 20478"/>
                  <a:gd name="connsiteX36" fmla="*/ 17526 w 20574"/>
                  <a:gd name="connsiteY36" fmla="*/ 17431 h 20478"/>
                  <a:gd name="connsiteX37" fmla="*/ 17526 w 20574"/>
                  <a:gd name="connsiteY37" fmla="*/ 17431 h 20478"/>
                  <a:gd name="connsiteX38" fmla="*/ 3905 w 20574"/>
                  <a:gd name="connsiteY38" fmla="*/ 3905 h 20478"/>
                  <a:gd name="connsiteX39" fmla="*/ 1333 w 20574"/>
                  <a:gd name="connsiteY39" fmla="*/ 10192 h 20478"/>
                  <a:gd name="connsiteX40" fmla="*/ 3905 w 20574"/>
                  <a:gd name="connsiteY40" fmla="*/ 16478 h 20478"/>
                  <a:gd name="connsiteX41" fmla="*/ 10192 w 20574"/>
                  <a:gd name="connsiteY41" fmla="*/ 19050 h 20478"/>
                  <a:gd name="connsiteX42" fmla="*/ 16478 w 20574"/>
                  <a:gd name="connsiteY42" fmla="*/ 16478 h 20478"/>
                  <a:gd name="connsiteX43" fmla="*/ 19050 w 20574"/>
                  <a:gd name="connsiteY43" fmla="*/ 10192 h 20478"/>
                  <a:gd name="connsiteX44" fmla="*/ 16478 w 20574"/>
                  <a:gd name="connsiteY44" fmla="*/ 3905 h 20478"/>
                  <a:gd name="connsiteX45" fmla="*/ 10192 w 20574"/>
                  <a:gd name="connsiteY45" fmla="*/ 1333 h 20478"/>
                  <a:gd name="connsiteX46" fmla="*/ 3905 w 20574"/>
                  <a:gd name="connsiteY46" fmla="*/ 3905 h 20478"/>
                  <a:gd name="connsiteX47" fmla="*/ 3905 w 20574"/>
                  <a:gd name="connsiteY47" fmla="*/ 3905 h 2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0574" h="20478">
                    <a:moveTo>
                      <a:pt x="10001" y="4477"/>
                    </a:moveTo>
                    <a:cubicBezTo>
                      <a:pt x="11430" y="4477"/>
                      <a:pt x="12383" y="4572"/>
                      <a:pt x="13049" y="4858"/>
                    </a:cubicBezTo>
                    <a:cubicBezTo>
                      <a:pt x="14192" y="5334"/>
                      <a:pt x="14764" y="6286"/>
                      <a:pt x="14764" y="7715"/>
                    </a:cubicBezTo>
                    <a:cubicBezTo>
                      <a:pt x="14764" y="8763"/>
                      <a:pt x="14383" y="9430"/>
                      <a:pt x="13621" y="9906"/>
                    </a:cubicBezTo>
                    <a:cubicBezTo>
                      <a:pt x="13240" y="10192"/>
                      <a:pt x="12668" y="10382"/>
                      <a:pt x="12002" y="10477"/>
                    </a:cubicBezTo>
                    <a:cubicBezTo>
                      <a:pt x="12859" y="10573"/>
                      <a:pt x="13525" y="10954"/>
                      <a:pt x="13906" y="11620"/>
                    </a:cubicBezTo>
                    <a:cubicBezTo>
                      <a:pt x="14288" y="12192"/>
                      <a:pt x="14573" y="12763"/>
                      <a:pt x="14573" y="13335"/>
                    </a:cubicBezTo>
                    <a:lnTo>
                      <a:pt x="14573" y="14192"/>
                    </a:lnTo>
                    <a:cubicBezTo>
                      <a:pt x="14573" y="14192"/>
                      <a:pt x="14573" y="14764"/>
                      <a:pt x="14573" y="15049"/>
                    </a:cubicBezTo>
                    <a:cubicBezTo>
                      <a:pt x="14573" y="15335"/>
                      <a:pt x="14573" y="15526"/>
                      <a:pt x="14573" y="15621"/>
                    </a:cubicBezTo>
                    <a:lnTo>
                      <a:pt x="12764" y="15621"/>
                    </a:lnTo>
                    <a:lnTo>
                      <a:pt x="12764" y="14288"/>
                    </a:lnTo>
                    <a:cubicBezTo>
                      <a:pt x="12764" y="12954"/>
                      <a:pt x="12383" y="12097"/>
                      <a:pt x="11621" y="11716"/>
                    </a:cubicBezTo>
                    <a:cubicBezTo>
                      <a:pt x="11240" y="11430"/>
                      <a:pt x="10477" y="11335"/>
                      <a:pt x="9430" y="11335"/>
                    </a:cubicBezTo>
                    <a:lnTo>
                      <a:pt x="7906" y="11335"/>
                    </a:lnTo>
                    <a:lnTo>
                      <a:pt x="7906" y="15811"/>
                    </a:lnTo>
                    <a:lnTo>
                      <a:pt x="5906" y="15811"/>
                    </a:lnTo>
                    <a:lnTo>
                      <a:pt x="5906" y="4572"/>
                    </a:lnTo>
                    <a:lnTo>
                      <a:pt x="9811" y="4572"/>
                    </a:lnTo>
                    <a:close/>
                    <a:moveTo>
                      <a:pt x="12097" y="6286"/>
                    </a:moveTo>
                    <a:cubicBezTo>
                      <a:pt x="11621" y="6001"/>
                      <a:pt x="10763" y="5905"/>
                      <a:pt x="9716" y="5905"/>
                    </a:cubicBezTo>
                    <a:lnTo>
                      <a:pt x="8001" y="5905"/>
                    </a:lnTo>
                    <a:lnTo>
                      <a:pt x="8001" y="10001"/>
                    </a:lnTo>
                    <a:lnTo>
                      <a:pt x="9811" y="10001"/>
                    </a:lnTo>
                    <a:cubicBezTo>
                      <a:pt x="10668" y="10001"/>
                      <a:pt x="11240" y="10001"/>
                      <a:pt x="11716" y="9715"/>
                    </a:cubicBezTo>
                    <a:cubicBezTo>
                      <a:pt x="12478" y="9430"/>
                      <a:pt x="12859" y="8858"/>
                      <a:pt x="12859" y="7906"/>
                    </a:cubicBezTo>
                    <a:cubicBezTo>
                      <a:pt x="12859" y="7048"/>
                      <a:pt x="12573" y="6572"/>
                      <a:pt x="12097" y="6286"/>
                    </a:cubicBezTo>
                    <a:lnTo>
                      <a:pt x="12097" y="6286"/>
                    </a:lnTo>
                    <a:close/>
                    <a:moveTo>
                      <a:pt x="17431" y="17431"/>
                    </a:moveTo>
                    <a:cubicBezTo>
                      <a:pt x="15431" y="19431"/>
                      <a:pt x="13049" y="20479"/>
                      <a:pt x="10192" y="20479"/>
                    </a:cubicBezTo>
                    <a:cubicBezTo>
                      <a:pt x="7334" y="20479"/>
                      <a:pt x="4953" y="19431"/>
                      <a:pt x="2953" y="17431"/>
                    </a:cubicBezTo>
                    <a:cubicBezTo>
                      <a:pt x="952" y="15430"/>
                      <a:pt x="0" y="13049"/>
                      <a:pt x="0" y="10192"/>
                    </a:cubicBezTo>
                    <a:cubicBezTo>
                      <a:pt x="0" y="7334"/>
                      <a:pt x="1048" y="4953"/>
                      <a:pt x="3048" y="2953"/>
                    </a:cubicBezTo>
                    <a:cubicBezTo>
                      <a:pt x="5048" y="952"/>
                      <a:pt x="7429" y="0"/>
                      <a:pt x="10287" y="0"/>
                    </a:cubicBezTo>
                    <a:cubicBezTo>
                      <a:pt x="13145" y="0"/>
                      <a:pt x="15526" y="1048"/>
                      <a:pt x="17526" y="2953"/>
                    </a:cubicBezTo>
                    <a:cubicBezTo>
                      <a:pt x="19526" y="4953"/>
                      <a:pt x="20574" y="7334"/>
                      <a:pt x="20574" y="10192"/>
                    </a:cubicBezTo>
                    <a:cubicBezTo>
                      <a:pt x="20574" y="13049"/>
                      <a:pt x="19526" y="15430"/>
                      <a:pt x="17526" y="17431"/>
                    </a:cubicBezTo>
                    <a:lnTo>
                      <a:pt x="17526" y="17431"/>
                    </a:lnTo>
                    <a:close/>
                    <a:moveTo>
                      <a:pt x="3905" y="3905"/>
                    </a:moveTo>
                    <a:cubicBezTo>
                      <a:pt x="2191" y="5620"/>
                      <a:pt x="1333" y="7715"/>
                      <a:pt x="1333" y="10192"/>
                    </a:cubicBezTo>
                    <a:cubicBezTo>
                      <a:pt x="1333" y="12668"/>
                      <a:pt x="2191" y="14764"/>
                      <a:pt x="3905" y="16478"/>
                    </a:cubicBezTo>
                    <a:cubicBezTo>
                      <a:pt x="5620" y="18193"/>
                      <a:pt x="7715" y="19050"/>
                      <a:pt x="10192" y="19050"/>
                    </a:cubicBezTo>
                    <a:cubicBezTo>
                      <a:pt x="12668" y="19050"/>
                      <a:pt x="14764" y="18193"/>
                      <a:pt x="16478" y="16478"/>
                    </a:cubicBezTo>
                    <a:cubicBezTo>
                      <a:pt x="18193" y="14764"/>
                      <a:pt x="19050" y="12668"/>
                      <a:pt x="19050" y="10192"/>
                    </a:cubicBezTo>
                    <a:cubicBezTo>
                      <a:pt x="19050" y="7715"/>
                      <a:pt x="18193" y="5620"/>
                      <a:pt x="16478" y="3905"/>
                    </a:cubicBezTo>
                    <a:cubicBezTo>
                      <a:pt x="14764" y="2191"/>
                      <a:pt x="12668" y="1333"/>
                      <a:pt x="10192" y="1333"/>
                    </a:cubicBezTo>
                    <a:cubicBezTo>
                      <a:pt x="7715" y="1333"/>
                      <a:pt x="5715" y="2191"/>
                      <a:pt x="3905" y="3905"/>
                    </a:cubicBezTo>
                    <a:lnTo>
                      <a:pt x="3905" y="390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160" name="Group 159">
              <a:extLst>
                <a:ext uri="{FF2B5EF4-FFF2-40B4-BE49-F238E27FC236}">
                  <a16:creationId xmlns:a16="http://schemas.microsoft.com/office/drawing/2014/main" id="{9DA5331C-4203-4091-B4A4-9D2106F66414}"/>
                </a:ext>
              </a:extLst>
            </p:cNvPr>
            <p:cNvGrpSpPr/>
            <p:nvPr userDrawn="1"/>
          </p:nvGrpSpPr>
          <p:grpSpPr>
            <a:xfrm>
              <a:off x="4524667" y="2319508"/>
              <a:ext cx="890736" cy="207062"/>
              <a:chOff x="3571179" y="4522842"/>
              <a:chExt cx="1995867" cy="463962"/>
            </a:xfrm>
          </p:grpSpPr>
          <p:sp>
            <p:nvSpPr>
              <p:cNvPr id="228" name="Freeform: Shape 227">
                <a:extLst>
                  <a:ext uri="{FF2B5EF4-FFF2-40B4-BE49-F238E27FC236}">
                    <a16:creationId xmlns:a16="http://schemas.microsoft.com/office/drawing/2014/main" id="{F92274B6-8460-402B-A4E2-93CDC477F3CA}"/>
                  </a:ext>
                </a:extLst>
              </p:cNvPr>
              <p:cNvSpPr/>
              <p:nvPr/>
            </p:nvSpPr>
            <p:spPr>
              <a:xfrm>
                <a:off x="3571179" y="4771063"/>
                <a:ext cx="430815" cy="215455"/>
              </a:xfrm>
              <a:custGeom>
                <a:avLst/>
                <a:gdLst>
                  <a:gd name="connsiteX0" fmla="*/ 0 w 430815"/>
                  <a:gd name="connsiteY0" fmla="*/ 0 h 215455"/>
                  <a:gd name="connsiteX1" fmla="*/ 215456 w 430815"/>
                  <a:gd name="connsiteY1" fmla="*/ 215456 h 215455"/>
                  <a:gd name="connsiteX2" fmla="*/ 430816 w 430815"/>
                  <a:gd name="connsiteY2" fmla="*/ 0 h 215455"/>
                  <a:gd name="connsiteX3" fmla="*/ 0 w 430815"/>
                  <a:gd name="connsiteY3" fmla="*/ 0 h 215455"/>
                </a:gdLst>
                <a:ahLst/>
                <a:cxnLst>
                  <a:cxn ang="0">
                    <a:pos x="connsiteX0" y="connsiteY0"/>
                  </a:cxn>
                  <a:cxn ang="0">
                    <a:pos x="connsiteX1" y="connsiteY1"/>
                  </a:cxn>
                  <a:cxn ang="0">
                    <a:pos x="connsiteX2" y="connsiteY2"/>
                  </a:cxn>
                  <a:cxn ang="0">
                    <a:pos x="connsiteX3" y="connsiteY3"/>
                  </a:cxn>
                </a:cxnLst>
                <a:rect l="l" t="t" r="r" b="b"/>
                <a:pathLst>
                  <a:path w="430815" h="215455">
                    <a:moveTo>
                      <a:pt x="0" y="0"/>
                    </a:moveTo>
                    <a:lnTo>
                      <a:pt x="215456" y="215456"/>
                    </a:lnTo>
                    <a:lnTo>
                      <a:pt x="430816" y="0"/>
                    </a:lnTo>
                    <a:lnTo>
                      <a:pt x="0" y="0"/>
                    </a:lnTo>
                    <a:close/>
                  </a:path>
                </a:pathLst>
              </a:custGeom>
              <a:solidFill>
                <a:srgbClr val="A1ABB2">
                  <a:alpha val="50000"/>
                </a:srgbClr>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229" name="Graphic 1225">
                <a:extLst>
                  <a:ext uri="{FF2B5EF4-FFF2-40B4-BE49-F238E27FC236}">
                    <a16:creationId xmlns:a16="http://schemas.microsoft.com/office/drawing/2014/main" id="{52DE0DCF-AD02-4AD8-B7A6-DAD80E48249B}"/>
                  </a:ext>
                </a:extLst>
              </p:cNvPr>
              <p:cNvGrpSpPr/>
              <p:nvPr/>
            </p:nvGrpSpPr>
            <p:grpSpPr>
              <a:xfrm>
                <a:off x="3571179" y="4522842"/>
                <a:ext cx="430815" cy="215455"/>
                <a:chOff x="3571179" y="4522842"/>
                <a:chExt cx="430815" cy="215455"/>
              </a:xfrm>
              <a:solidFill>
                <a:srgbClr val="A1ABB2"/>
              </a:solidFill>
            </p:grpSpPr>
            <p:sp>
              <p:nvSpPr>
                <p:cNvPr id="237" name="Freeform: Shape 236">
                  <a:extLst>
                    <a:ext uri="{FF2B5EF4-FFF2-40B4-BE49-F238E27FC236}">
                      <a16:creationId xmlns:a16="http://schemas.microsoft.com/office/drawing/2014/main" id="{38463171-DFE3-407D-8583-09F53871ED8E}"/>
                    </a:ext>
                  </a:extLst>
                </p:cNvPr>
                <p:cNvSpPr/>
                <p:nvPr/>
              </p:nvSpPr>
              <p:spPr>
                <a:xfrm>
                  <a:off x="3753773" y="4597327"/>
                  <a:ext cx="125825" cy="140970"/>
                </a:xfrm>
                <a:custGeom>
                  <a:avLst/>
                  <a:gdLst>
                    <a:gd name="connsiteX0" fmla="*/ 0 w 125825"/>
                    <a:gd name="connsiteY0" fmla="*/ 140970 h 140970"/>
                    <a:gd name="connsiteX1" fmla="*/ 75533 w 125825"/>
                    <a:gd name="connsiteY1" fmla="*/ 140970 h 140970"/>
                    <a:gd name="connsiteX2" fmla="*/ 125825 w 125825"/>
                    <a:gd name="connsiteY2" fmla="*/ 18479 h 140970"/>
                    <a:gd name="connsiteX3" fmla="*/ 107347 w 125825"/>
                    <a:gd name="connsiteY3" fmla="*/ 0 h 140970"/>
                    <a:gd name="connsiteX4" fmla="*/ 0 w 125825"/>
                    <a:gd name="connsiteY4" fmla="*/ 140970 h 1409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25" h="140970">
                      <a:moveTo>
                        <a:pt x="0" y="140970"/>
                      </a:moveTo>
                      <a:lnTo>
                        <a:pt x="75533" y="140970"/>
                      </a:lnTo>
                      <a:lnTo>
                        <a:pt x="125825" y="18479"/>
                      </a:lnTo>
                      <a:lnTo>
                        <a:pt x="107347" y="0"/>
                      </a:lnTo>
                      <a:lnTo>
                        <a:pt x="0" y="14097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8" name="Freeform: Shape 237">
                  <a:extLst>
                    <a:ext uri="{FF2B5EF4-FFF2-40B4-BE49-F238E27FC236}">
                      <a16:creationId xmlns:a16="http://schemas.microsoft.com/office/drawing/2014/main" id="{179620FB-7410-48E7-B667-2AB78003C5C7}"/>
                    </a:ext>
                  </a:extLst>
                </p:cNvPr>
                <p:cNvSpPr/>
                <p:nvPr/>
              </p:nvSpPr>
              <p:spPr>
                <a:xfrm>
                  <a:off x="3862072" y="4658763"/>
                  <a:ext cx="78962" cy="79533"/>
                </a:xfrm>
                <a:custGeom>
                  <a:avLst/>
                  <a:gdLst>
                    <a:gd name="connsiteX0" fmla="*/ 78962 w 78962"/>
                    <a:gd name="connsiteY0" fmla="*/ 18574 h 79533"/>
                    <a:gd name="connsiteX1" fmla="*/ 60484 w 78962"/>
                    <a:gd name="connsiteY1" fmla="*/ 0 h 79533"/>
                    <a:gd name="connsiteX2" fmla="*/ 0 w 78962"/>
                    <a:gd name="connsiteY2" fmla="*/ 79534 h 79533"/>
                    <a:gd name="connsiteX3" fmla="*/ 55817 w 78962"/>
                    <a:gd name="connsiteY3" fmla="*/ 79534 h 79533"/>
                    <a:gd name="connsiteX4" fmla="*/ 78962 w 78962"/>
                    <a:gd name="connsiteY4" fmla="*/ 18574 h 79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62" h="79533">
                      <a:moveTo>
                        <a:pt x="78962" y="18574"/>
                      </a:moveTo>
                      <a:lnTo>
                        <a:pt x="60484" y="0"/>
                      </a:lnTo>
                      <a:lnTo>
                        <a:pt x="0" y="79534"/>
                      </a:lnTo>
                      <a:lnTo>
                        <a:pt x="55817" y="79534"/>
                      </a:lnTo>
                      <a:lnTo>
                        <a:pt x="78962" y="1857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9" name="Freeform: Shape 238">
                  <a:extLst>
                    <a:ext uri="{FF2B5EF4-FFF2-40B4-BE49-F238E27FC236}">
                      <a16:creationId xmlns:a16="http://schemas.microsoft.com/office/drawing/2014/main" id="{29CAC848-891E-4C38-9C8C-80D21E08E554}"/>
                    </a:ext>
                  </a:extLst>
                </p:cNvPr>
                <p:cNvSpPr/>
                <p:nvPr/>
              </p:nvSpPr>
              <p:spPr>
                <a:xfrm>
                  <a:off x="3950655" y="4709055"/>
                  <a:ext cx="51339" cy="29241"/>
                </a:xfrm>
                <a:custGeom>
                  <a:avLst/>
                  <a:gdLst>
                    <a:gd name="connsiteX0" fmla="*/ 22193 w 51339"/>
                    <a:gd name="connsiteY0" fmla="*/ 0 h 29241"/>
                    <a:gd name="connsiteX1" fmla="*/ 0 w 51339"/>
                    <a:gd name="connsiteY1" fmla="*/ 29242 h 29241"/>
                    <a:gd name="connsiteX2" fmla="*/ 51340 w 51339"/>
                    <a:gd name="connsiteY2" fmla="*/ 29242 h 29241"/>
                    <a:gd name="connsiteX3" fmla="*/ 22193 w 51339"/>
                    <a:gd name="connsiteY3" fmla="*/ 0 h 29241"/>
                  </a:gdLst>
                  <a:ahLst/>
                  <a:cxnLst>
                    <a:cxn ang="0">
                      <a:pos x="connsiteX0" y="connsiteY0"/>
                    </a:cxn>
                    <a:cxn ang="0">
                      <a:pos x="connsiteX1" y="connsiteY1"/>
                    </a:cxn>
                    <a:cxn ang="0">
                      <a:pos x="connsiteX2" y="connsiteY2"/>
                    </a:cxn>
                    <a:cxn ang="0">
                      <a:pos x="connsiteX3" y="connsiteY3"/>
                    </a:cxn>
                  </a:cxnLst>
                  <a:rect l="l" t="t" r="r" b="b"/>
                  <a:pathLst>
                    <a:path w="51339" h="29241">
                      <a:moveTo>
                        <a:pt x="22193" y="0"/>
                      </a:moveTo>
                      <a:lnTo>
                        <a:pt x="0" y="29242"/>
                      </a:lnTo>
                      <a:lnTo>
                        <a:pt x="51340" y="29242"/>
                      </a:lnTo>
                      <a:lnTo>
                        <a:pt x="22193"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40" name="Freeform: Shape 239">
                  <a:extLst>
                    <a:ext uri="{FF2B5EF4-FFF2-40B4-BE49-F238E27FC236}">
                      <a16:creationId xmlns:a16="http://schemas.microsoft.com/office/drawing/2014/main" id="{E0D238FA-C82E-45C4-A0AB-C7F644EA4E63}"/>
                    </a:ext>
                  </a:extLst>
                </p:cNvPr>
                <p:cNvSpPr/>
                <p:nvPr/>
              </p:nvSpPr>
              <p:spPr>
                <a:xfrm>
                  <a:off x="3571179" y="4522842"/>
                  <a:ext cx="233933" cy="215455"/>
                </a:xfrm>
                <a:custGeom>
                  <a:avLst/>
                  <a:gdLst>
                    <a:gd name="connsiteX0" fmla="*/ 149828 w 233933"/>
                    <a:gd name="connsiteY0" fmla="*/ 215456 h 215455"/>
                    <a:gd name="connsiteX1" fmla="*/ 233934 w 233933"/>
                    <a:gd name="connsiteY1" fmla="*/ 18479 h 215455"/>
                    <a:gd name="connsiteX2" fmla="*/ 215456 w 233933"/>
                    <a:gd name="connsiteY2" fmla="*/ 0 h 215455"/>
                    <a:gd name="connsiteX3" fmla="*/ 0 w 233933"/>
                    <a:gd name="connsiteY3" fmla="*/ 215456 h 215455"/>
                    <a:gd name="connsiteX4" fmla="*/ 149828 w 233933"/>
                    <a:gd name="connsiteY4" fmla="*/ 215456 h 2154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933" h="215455">
                      <a:moveTo>
                        <a:pt x="149828" y="215456"/>
                      </a:moveTo>
                      <a:lnTo>
                        <a:pt x="233934" y="18479"/>
                      </a:lnTo>
                      <a:lnTo>
                        <a:pt x="215456" y="0"/>
                      </a:lnTo>
                      <a:lnTo>
                        <a:pt x="0" y="215456"/>
                      </a:lnTo>
                      <a:lnTo>
                        <a:pt x="149828" y="21545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230" name="Freeform: Shape 229">
                <a:extLst>
                  <a:ext uri="{FF2B5EF4-FFF2-40B4-BE49-F238E27FC236}">
                    <a16:creationId xmlns:a16="http://schemas.microsoft.com/office/drawing/2014/main" id="{9CA34295-5153-427C-B2FB-7D1D81E3C217}"/>
                  </a:ext>
                </a:extLst>
              </p:cNvPr>
              <p:cNvSpPr/>
              <p:nvPr/>
            </p:nvSpPr>
            <p:spPr>
              <a:xfrm>
                <a:off x="4036380" y="4770777"/>
                <a:ext cx="229457" cy="215931"/>
              </a:xfrm>
              <a:custGeom>
                <a:avLst/>
                <a:gdLst>
                  <a:gd name="connsiteX0" fmla="*/ 188976 w 229457"/>
                  <a:gd name="connsiteY0" fmla="*/ 215932 h 215931"/>
                  <a:gd name="connsiteX1" fmla="*/ 188976 w 229457"/>
                  <a:gd name="connsiteY1" fmla="*/ 123254 h 215931"/>
                  <a:gd name="connsiteX2" fmla="*/ 40481 w 229457"/>
                  <a:gd name="connsiteY2" fmla="*/ 123254 h 215931"/>
                  <a:gd name="connsiteX3" fmla="*/ 40481 w 229457"/>
                  <a:gd name="connsiteY3" fmla="*/ 215932 h 215931"/>
                  <a:gd name="connsiteX4" fmla="*/ 0 w 229457"/>
                  <a:gd name="connsiteY4" fmla="*/ 215932 h 215931"/>
                  <a:gd name="connsiteX5" fmla="*/ 0 w 229457"/>
                  <a:gd name="connsiteY5" fmla="*/ 0 h 215931"/>
                  <a:gd name="connsiteX6" fmla="*/ 40481 w 229457"/>
                  <a:gd name="connsiteY6" fmla="*/ 0 h 215931"/>
                  <a:gd name="connsiteX7" fmla="*/ 40481 w 229457"/>
                  <a:gd name="connsiteY7" fmla="*/ 91440 h 215931"/>
                  <a:gd name="connsiteX8" fmla="*/ 188976 w 229457"/>
                  <a:gd name="connsiteY8" fmla="*/ 91440 h 215931"/>
                  <a:gd name="connsiteX9" fmla="*/ 188976 w 229457"/>
                  <a:gd name="connsiteY9" fmla="*/ 0 h 215931"/>
                  <a:gd name="connsiteX10" fmla="*/ 229457 w 229457"/>
                  <a:gd name="connsiteY10" fmla="*/ 0 h 215931"/>
                  <a:gd name="connsiteX11" fmla="*/ 229457 w 229457"/>
                  <a:gd name="connsiteY11" fmla="*/ 215932 h 215931"/>
                  <a:gd name="connsiteX12" fmla="*/ 188976 w 229457"/>
                  <a:gd name="connsiteY12"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9457" h="215931">
                    <a:moveTo>
                      <a:pt x="188976" y="215932"/>
                    </a:moveTo>
                    <a:lnTo>
                      <a:pt x="188976" y="123254"/>
                    </a:lnTo>
                    <a:lnTo>
                      <a:pt x="40481" y="123254"/>
                    </a:lnTo>
                    <a:lnTo>
                      <a:pt x="40481" y="215932"/>
                    </a:lnTo>
                    <a:lnTo>
                      <a:pt x="0" y="215932"/>
                    </a:lnTo>
                    <a:lnTo>
                      <a:pt x="0" y="0"/>
                    </a:lnTo>
                    <a:lnTo>
                      <a:pt x="40481" y="0"/>
                    </a:lnTo>
                    <a:lnTo>
                      <a:pt x="40481" y="91440"/>
                    </a:lnTo>
                    <a:lnTo>
                      <a:pt x="188976" y="91440"/>
                    </a:lnTo>
                    <a:lnTo>
                      <a:pt x="188976" y="0"/>
                    </a:lnTo>
                    <a:lnTo>
                      <a:pt x="229457" y="0"/>
                    </a:lnTo>
                    <a:lnTo>
                      <a:pt x="229457" y="215932"/>
                    </a:lnTo>
                    <a:lnTo>
                      <a:pt x="188976"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1" name="Freeform: Shape 230">
                <a:extLst>
                  <a:ext uri="{FF2B5EF4-FFF2-40B4-BE49-F238E27FC236}">
                    <a16:creationId xmlns:a16="http://schemas.microsoft.com/office/drawing/2014/main" id="{CC87367B-9649-4AA0-B6E3-554BC88EC1FB}"/>
                  </a:ext>
                </a:extLst>
              </p:cNvPr>
              <p:cNvSpPr/>
              <p:nvPr/>
            </p:nvSpPr>
            <p:spPr>
              <a:xfrm>
                <a:off x="4296031" y="4770777"/>
                <a:ext cx="257460" cy="215931"/>
              </a:xfrm>
              <a:custGeom>
                <a:avLst/>
                <a:gdLst>
                  <a:gd name="connsiteX0" fmla="*/ 149447 w 257460"/>
                  <a:gd name="connsiteY0" fmla="*/ 129731 h 215931"/>
                  <a:gd name="connsiteX1" fmla="*/ 149447 w 257460"/>
                  <a:gd name="connsiteY1" fmla="*/ 215932 h 215931"/>
                  <a:gd name="connsiteX2" fmla="*/ 108966 w 257460"/>
                  <a:gd name="connsiteY2" fmla="*/ 215932 h 215931"/>
                  <a:gd name="connsiteX3" fmla="*/ 108966 w 257460"/>
                  <a:gd name="connsiteY3" fmla="*/ 129064 h 215931"/>
                  <a:gd name="connsiteX4" fmla="*/ 0 w 257460"/>
                  <a:gd name="connsiteY4" fmla="*/ 0 h 215931"/>
                  <a:gd name="connsiteX5" fmla="*/ 48006 w 257460"/>
                  <a:gd name="connsiteY5" fmla="*/ 0 h 215931"/>
                  <a:gd name="connsiteX6" fmla="*/ 131350 w 257460"/>
                  <a:gd name="connsiteY6" fmla="*/ 100203 h 215931"/>
                  <a:gd name="connsiteX7" fmla="*/ 209455 w 257460"/>
                  <a:gd name="connsiteY7" fmla="*/ 0 h 215931"/>
                  <a:gd name="connsiteX8" fmla="*/ 257461 w 257460"/>
                  <a:gd name="connsiteY8" fmla="*/ 0 h 215931"/>
                  <a:gd name="connsiteX9" fmla="*/ 149543 w 257460"/>
                  <a:gd name="connsiteY9" fmla="*/ 129635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460" h="215931">
                    <a:moveTo>
                      <a:pt x="149447" y="129731"/>
                    </a:moveTo>
                    <a:lnTo>
                      <a:pt x="149447" y="215932"/>
                    </a:lnTo>
                    <a:lnTo>
                      <a:pt x="108966" y="215932"/>
                    </a:lnTo>
                    <a:lnTo>
                      <a:pt x="108966" y="129064"/>
                    </a:lnTo>
                    <a:lnTo>
                      <a:pt x="0" y="0"/>
                    </a:lnTo>
                    <a:lnTo>
                      <a:pt x="48006" y="0"/>
                    </a:lnTo>
                    <a:lnTo>
                      <a:pt x="131350" y="100203"/>
                    </a:lnTo>
                    <a:lnTo>
                      <a:pt x="209455" y="0"/>
                    </a:lnTo>
                    <a:lnTo>
                      <a:pt x="257461" y="0"/>
                    </a:lnTo>
                    <a:lnTo>
                      <a:pt x="149543" y="1296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2" name="Freeform: Shape 231">
                <a:extLst>
                  <a:ext uri="{FF2B5EF4-FFF2-40B4-BE49-F238E27FC236}">
                    <a16:creationId xmlns:a16="http://schemas.microsoft.com/office/drawing/2014/main" id="{E880B71D-C505-4D0E-AB5C-22FB730E03A2}"/>
                  </a:ext>
                </a:extLst>
              </p:cNvPr>
              <p:cNvSpPr/>
              <p:nvPr/>
            </p:nvSpPr>
            <p:spPr>
              <a:xfrm>
                <a:off x="4583591" y="4770777"/>
                <a:ext cx="235743" cy="215931"/>
              </a:xfrm>
              <a:custGeom>
                <a:avLst/>
                <a:gdLst>
                  <a:gd name="connsiteX0" fmla="*/ 110585 w 235743"/>
                  <a:gd name="connsiteY0" fmla="*/ 215932 h 215931"/>
                  <a:gd name="connsiteX1" fmla="*/ 0 w 235743"/>
                  <a:gd name="connsiteY1" fmla="*/ 215932 h 215931"/>
                  <a:gd name="connsiteX2" fmla="*/ 0 w 235743"/>
                  <a:gd name="connsiteY2" fmla="*/ 0 h 215931"/>
                  <a:gd name="connsiteX3" fmla="*/ 110585 w 235743"/>
                  <a:gd name="connsiteY3" fmla="*/ 0 h 215931"/>
                  <a:gd name="connsiteX4" fmla="*/ 235744 w 235743"/>
                  <a:gd name="connsiteY4" fmla="*/ 104680 h 215931"/>
                  <a:gd name="connsiteX5" fmla="*/ 235744 w 235743"/>
                  <a:gd name="connsiteY5" fmla="*/ 111824 h 215931"/>
                  <a:gd name="connsiteX6" fmla="*/ 110585 w 235743"/>
                  <a:gd name="connsiteY6" fmla="*/ 215836 h 215931"/>
                  <a:gd name="connsiteX7" fmla="*/ 195167 w 235743"/>
                  <a:gd name="connsiteY7" fmla="*/ 105346 h 215931"/>
                  <a:gd name="connsiteX8" fmla="*/ 109538 w 235743"/>
                  <a:gd name="connsiteY8" fmla="*/ 33718 h 215931"/>
                  <a:gd name="connsiteX9" fmla="*/ 40481 w 235743"/>
                  <a:gd name="connsiteY9" fmla="*/ 33718 h 215931"/>
                  <a:gd name="connsiteX10" fmla="*/ 40481 w 235743"/>
                  <a:gd name="connsiteY10" fmla="*/ 182880 h 215931"/>
                  <a:gd name="connsiteX11" fmla="*/ 109538 w 235743"/>
                  <a:gd name="connsiteY11" fmla="*/ 182880 h 215931"/>
                  <a:gd name="connsiteX12" fmla="*/ 195167 w 235743"/>
                  <a:gd name="connsiteY12" fmla="*/ 110585 h 215931"/>
                  <a:gd name="connsiteX13" fmla="*/ 195167 w 235743"/>
                  <a:gd name="connsiteY13" fmla="*/ 10544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743" h="215931">
                    <a:moveTo>
                      <a:pt x="110585" y="215932"/>
                    </a:moveTo>
                    <a:lnTo>
                      <a:pt x="0" y="215932"/>
                    </a:lnTo>
                    <a:lnTo>
                      <a:pt x="0" y="0"/>
                    </a:lnTo>
                    <a:lnTo>
                      <a:pt x="110585" y="0"/>
                    </a:lnTo>
                    <a:cubicBezTo>
                      <a:pt x="187071" y="0"/>
                      <a:pt x="235744" y="46387"/>
                      <a:pt x="235744" y="104680"/>
                    </a:cubicBezTo>
                    <a:lnTo>
                      <a:pt x="235744" y="111824"/>
                    </a:lnTo>
                    <a:cubicBezTo>
                      <a:pt x="235744" y="169164"/>
                      <a:pt x="187071" y="215836"/>
                      <a:pt x="110585" y="215836"/>
                    </a:cubicBezTo>
                    <a:close/>
                    <a:moveTo>
                      <a:pt x="195167" y="105346"/>
                    </a:moveTo>
                    <a:cubicBezTo>
                      <a:pt x="195167" y="63532"/>
                      <a:pt x="162401" y="33718"/>
                      <a:pt x="109538" y="33718"/>
                    </a:cubicBezTo>
                    <a:lnTo>
                      <a:pt x="40481" y="33718"/>
                    </a:lnTo>
                    <a:lnTo>
                      <a:pt x="40481" y="182880"/>
                    </a:lnTo>
                    <a:lnTo>
                      <a:pt x="109538" y="182880"/>
                    </a:lnTo>
                    <a:cubicBezTo>
                      <a:pt x="162401" y="182880"/>
                      <a:pt x="195167" y="152400"/>
                      <a:pt x="195167" y="110585"/>
                    </a:cubicBezTo>
                    <a:lnTo>
                      <a:pt x="195167" y="10544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3" name="Freeform: Shape 232">
                <a:extLst>
                  <a:ext uri="{FF2B5EF4-FFF2-40B4-BE49-F238E27FC236}">
                    <a16:creationId xmlns:a16="http://schemas.microsoft.com/office/drawing/2014/main" id="{7F96BD23-D2DF-44D7-9AE3-B51883BF63D2}"/>
                  </a:ext>
                </a:extLst>
              </p:cNvPr>
              <p:cNvSpPr/>
              <p:nvPr/>
            </p:nvSpPr>
            <p:spPr>
              <a:xfrm>
                <a:off x="5118420" y="4770777"/>
                <a:ext cx="196119" cy="215931"/>
              </a:xfrm>
              <a:custGeom>
                <a:avLst/>
                <a:gdLst>
                  <a:gd name="connsiteX0" fmla="*/ 0 w 196119"/>
                  <a:gd name="connsiteY0" fmla="*/ 215932 h 215931"/>
                  <a:gd name="connsiteX1" fmla="*/ 0 w 196119"/>
                  <a:gd name="connsiteY1" fmla="*/ 0 h 215931"/>
                  <a:gd name="connsiteX2" fmla="*/ 196120 w 196119"/>
                  <a:gd name="connsiteY2" fmla="*/ 0 h 215931"/>
                  <a:gd name="connsiteX3" fmla="*/ 196120 w 196119"/>
                  <a:gd name="connsiteY3" fmla="*/ 33718 h 215931"/>
                  <a:gd name="connsiteX4" fmla="*/ 40481 w 196119"/>
                  <a:gd name="connsiteY4" fmla="*/ 33718 h 215931"/>
                  <a:gd name="connsiteX5" fmla="*/ 40481 w 196119"/>
                  <a:gd name="connsiteY5" fmla="*/ 89154 h 215931"/>
                  <a:gd name="connsiteX6" fmla="*/ 160115 w 196119"/>
                  <a:gd name="connsiteY6" fmla="*/ 89154 h 215931"/>
                  <a:gd name="connsiteX7" fmla="*/ 160115 w 196119"/>
                  <a:gd name="connsiteY7" fmla="*/ 121920 h 215931"/>
                  <a:gd name="connsiteX8" fmla="*/ 40481 w 196119"/>
                  <a:gd name="connsiteY8" fmla="*/ 121920 h 215931"/>
                  <a:gd name="connsiteX9" fmla="*/ 40481 w 196119"/>
                  <a:gd name="connsiteY9" fmla="*/ 182213 h 215931"/>
                  <a:gd name="connsiteX10" fmla="*/ 196120 w 196119"/>
                  <a:gd name="connsiteY10" fmla="*/ 182213 h 215931"/>
                  <a:gd name="connsiteX11" fmla="*/ 196120 w 196119"/>
                  <a:gd name="connsiteY11" fmla="*/ 215932 h 215931"/>
                  <a:gd name="connsiteX12" fmla="*/ 0 w 196119"/>
                  <a:gd name="connsiteY12"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119" h="215931">
                    <a:moveTo>
                      <a:pt x="0" y="215932"/>
                    </a:moveTo>
                    <a:lnTo>
                      <a:pt x="0" y="0"/>
                    </a:lnTo>
                    <a:lnTo>
                      <a:pt x="196120" y="0"/>
                    </a:lnTo>
                    <a:lnTo>
                      <a:pt x="196120" y="33718"/>
                    </a:lnTo>
                    <a:lnTo>
                      <a:pt x="40481" y="33718"/>
                    </a:lnTo>
                    <a:lnTo>
                      <a:pt x="40481" y="89154"/>
                    </a:lnTo>
                    <a:lnTo>
                      <a:pt x="160115" y="89154"/>
                    </a:lnTo>
                    <a:lnTo>
                      <a:pt x="160115" y="121920"/>
                    </a:lnTo>
                    <a:lnTo>
                      <a:pt x="40481" y="121920"/>
                    </a:lnTo>
                    <a:lnTo>
                      <a:pt x="40481" y="182213"/>
                    </a:lnTo>
                    <a:lnTo>
                      <a:pt x="196120" y="182213"/>
                    </a:lnTo>
                    <a:lnTo>
                      <a:pt x="196120" y="215932"/>
                    </a:lnTo>
                    <a:lnTo>
                      <a:pt x="0"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4" name="Freeform: Shape 233">
                <a:extLst>
                  <a:ext uri="{FF2B5EF4-FFF2-40B4-BE49-F238E27FC236}">
                    <a16:creationId xmlns:a16="http://schemas.microsoft.com/office/drawing/2014/main" id="{B7B13013-3696-4268-95FA-41C8362B0F13}"/>
                  </a:ext>
                </a:extLst>
              </p:cNvPr>
              <p:cNvSpPr/>
              <p:nvPr/>
            </p:nvSpPr>
            <p:spPr>
              <a:xfrm>
                <a:off x="5357592" y="4770777"/>
                <a:ext cx="209454" cy="215931"/>
              </a:xfrm>
              <a:custGeom>
                <a:avLst/>
                <a:gdLst>
                  <a:gd name="connsiteX0" fmla="*/ 95 w 209454"/>
                  <a:gd name="connsiteY0" fmla="*/ 215932 h 215931"/>
                  <a:gd name="connsiteX1" fmla="*/ 95 w 209454"/>
                  <a:gd name="connsiteY1" fmla="*/ 0 h 215931"/>
                  <a:gd name="connsiteX2" fmla="*/ 40576 w 209454"/>
                  <a:gd name="connsiteY2" fmla="*/ 0 h 215931"/>
                  <a:gd name="connsiteX3" fmla="*/ 40576 w 209454"/>
                  <a:gd name="connsiteY3" fmla="*/ 182213 h 215931"/>
                  <a:gd name="connsiteX4" fmla="*/ 209455 w 209454"/>
                  <a:gd name="connsiteY4" fmla="*/ 182213 h 215931"/>
                  <a:gd name="connsiteX5" fmla="*/ 209455 w 209454"/>
                  <a:gd name="connsiteY5" fmla="*/ 215932 h 215931"/>
                  <a:gd name="connsiteX6" fmla="*/ 0 w 209454"/>
                  <a:gd name="connsiteY6" fmla="*/ 215932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54" h="215931">
                    <a:moveTo>
                      <a:pt x="95" y="215932"/>
                    </a:moveTo>
                    <a:lnTo>
                      <a:pt x="95" y="0"/>
                    </a:lnTo>
                    <a:lnTo>
                      <a:pt x="40576" y="0"/>
                    </a:lnTo>
                    <a:lnTo>
                      <a:pt x="40576" y="182213"/>
                    </a:lnTo>
                    <a:lnTo>
                      <a:pt x="209455" y="182213"/>
                    </a:lnTo>
                    <a:lnTo>
                      <a:pt x="209455" y="215932"/>
                    </a:lnTo>
                    <a:lnTo>
                      <a:pt x="0" y="2159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5" name="Freeform: Shape 234">
                <a:extLst>
                  <a:ext uri="{FF2B5EF4-FFF2-40B4-BE49-F238E27FC236}">
                    <a16:creationId xmlns:a16="http://schemas.microsoft.com/office/drawing/2014/main" id="{12063C20-06EE-4983-925F-707A2568972D}"/>
                  </a:ext>
                </a:extLst>
              </p:cNvPr>
              <p:cNvSpPr/>
              <p:nvPr/>
            </p:nvSpPr>
            <p:spPr>
              <a:xfrm>
                <a:off x="4862483" y="4770873"/>
                <a:ext cx="212788" cy="215931"/>
              </a:xfrm>
              <a:custGeom>
                <a:avLst/>
                <a:gdLst>
                  <a:gd name="connsiteX0" fmla="*/ 212788 w 212788"/>
                  <a:gd name="connsiteY0" fmla="*/ 66103 h 215931"/>
                  <a:gd name="connsiteX1" fmla="*/ 117729 w 212788"/>
                  <a:gd name="connsiteY1" fmla="*/ 0 h 215931"/>
                  <a:gd name="connsiteX2" fmla="*/ 0 w 212788"/>
                  <a:gd name="connsiteY2" fmla="*/ 0 h 215931"/>
                  <a:gd name="connsiteX3" fmla="*/ 0 w 212788"/>
                  <a:gd name="connsiteY3" fmla="*/ 215932 h 215931"/>
                  <a:gd name="connsiteX4" fmla="*/ 40481 w 212788"/>
                  <a:gd name="connsiteY4" fmla="*/ 215932 h 215931"/>
                  <a:gd name="connsiteX5" fmla="*/ 40481 w 212788"/>
                  <a:gd name="connsiteY5" fmla="*/ 132302 h 215931"/>
                  <a:gd name="connsiteX6" fmla="*/ 103441 w 212788"/>
                  <a:gd name="connsiteY6" fmla="*/ 132302 h 215931"/>
                  <a:gd name="connsiteX7" fmla="*/ 166973 w 212788"/>
                  <a:gd name="connsiteY7" fmla="*/ 212693 h 215931"/>
                  <a:gd name="connsiteX8" fmla="*/ 212693 w 212788"/>
                  <a:gd name="connsiteY8" fmla="*/ 212693 h 215931"/>
                  <a:gd name="connsiteX9" fmla="*/ 148114 w 212788"/>
                  <a:gd name="connsiteY9" fmla="*/ 129445 h 215931"/>
                  <a:gd name="connsiteX10" fmla="*/ 212693 w 212788"/>
                  <a:gd name="connsiteY10" fmla="*/ 66103 h 215931"/>
                  <a:gd name="connsiteX11" fmla="*/ 40481 w 212788"/>
                  <a:gd name="connsiteY11" fmla="*/ 66103 h 215931"/>
                  <a:gd name="connsiteX12" fmla="*/ 40481 w 212788"/>
                  <a:gd name="connsiteY12" fmla="*/ 33718 h 215931"/>
                  <a:gd name="connsiteX13" fmla="*/ 123444 w 212788"/>
                  <a:gd name="connsiteY13" fmla="*/ 33718 h 215931"/>
                  <a:gd name="connsiteX14" fmla="*/ 170783 w 212788"/>
                  <a:gd name="connsiteY14" fmla="*/ 64484 h 215931"/>
                  <a:gd name="connsiteX15" fmla="*/ 170783 w 212788"/>
                  <a:gd name="connsiteY15" fmla="*/ 67723 h 215931"/>
                  <a:gd name="connsiteX16" fmla="*/ 123444 w 212788"/>
                  <a:gd name="connsiteY16" fmla="*/ 98489 h 215931"/>
                  <a:gd name="connsiteX17" fmla="*/ 40481 w 212788"/>
                  <a:gd name="connsiteY17" fmla="*/ 98489 h 215931"/>
                  <a:gd name="connsiteX18" fmla="*/ 40481 w 212788"/>
                  <a:gd name="connsiteY18" fmla="*/ 66103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788" h="215931">
                    <a:moveTo>
                      <a:pt x="212788" y="66103"/>
                    </a:moveTo>
                    <a:cubicBezTo>
                      <a:pt x="212788" y="32671"/>
                      <a:pt x="182499" y="0"/>
                      <a:pt x="117729" y="0"/>
                    </a:cubicBezTo>
                    <a:lnTo>
                      <a:pt x="0" y="0"/>
                    </a:lnTo>
                    <a:lnTo>
                      <a:pt x="0" y="215932"/>
                    </a:lnTo>
                    <a:lnTo>
                      <a:pt x="40481" y="215932"/>
                    </a:lnTo>
                    <a:lnTo>
                      <a:pt x="40481" y="132302"/>
                    </a:lnTo>
                    <a:lnTo>
                      <a:pt x="103441" y="132302"/>
                    </a:lnTo>
                    <a:lnTo>
                      <a:pt x="166973" y="212693"/>
                    </a:lnTo>
                    <a:lnTo>
                      <a:pt x="212693" y="212693"/>
                    </a:lnTo>
                    <a:lnTo>
                      <a:pt x="148114" y="129445"/>
                    </a:lnTo>
                    <a:cubicBezTo>
                      <a:pt x="191929" y="120872"/>
                      <a:pt x="212693" y="93726"/>
                      <a:pt x="212693" y="66103"/>
                    </a:cubicBezTo>
                    <a:close/>
                    <a:moveTo>
                      <a:pt x="40481" y="66103"/>
                    </a:moveTo>
                    <a:lnTo>
                      <a:pt x="40481" y="33718"/>
                    </a:lnTo>
                    <a:lnTo>
                      <a:pt x="123444" y="33718"/>
                    </a:lnTo>
                    <a:cubicBezTo>
                      <a:pt x="158115" y="33718"/>
                      <a:pt x="170783" y="48958"/>
                      <a:pt x="170783" y="64484"/>
                    </a:cubicBezTo>
                    <a:lnTo>
                      <a:pt x="170783" y="67723"/>
                    </a:lnTo>
                    <a:cubicBezTo>
                      <a:pt x="170783" y="83248"/>
                      <a:pt x="158115" y="98489"/>
                      <a:pt x="123444" y="98489"/>
                    </a:cubicBezTo>
                    <a:lnTo>
                      <a:pt x="40481" y="98489"/>
                    </a:lnTo>
                    <a:lnTo>
                      <a:pt x="40481" y="661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36" name="Freeform: Shape 235">
                <a:extLst>
                  <a:ext uri="{FF2B5EF4-FFF2-40B4-BE49-F238E27FC236}">
                    <a16:creationId xmlns:a16="http://schemas.microsoft.com/office/drawing/2014/main" id="{208E1393-E829-41C6-A6F4-46D78C277055}"/>
                  </a:ext>
                </a:extLst>
              </p:cNvPr>
              <p:cNvSpPr/>
              <p:nvPr/>
            </p:nvSpPr>
            <p:spPr>
              <a:xfrm>
                <a:off x="5524566" y="4772682"/>
                <a:ext cx="18383" cy="18002"/>
              </a:xfrm>
              <a:custGeom>
                <a:avLst/>
                <a:gdLst>
                  <a:gd name="connsiteX0" fmla="*/ 18383 w 18383"/>
                  <a:gd name="connsiteY0" fmla="*/ 8954 h 18002"/>
                  <a:gd name="connsiteX1" fmla="*/ 9239 w 18383"/>
                  <a:gd name="connsiteY1" fmla="*/ 18002 h 18002"/>
                  <a:gd name="connsiteX2" fmla="*/ 0 w 18383"/>
                  <a:gd name="connsiteY2" fmla="*/ 8954 h 18002"/>
                  <a:gd name="connsiteX3" fmla="*/ 9239 w 18383"/>
                  <a:gd name="connsiteY3" fmla="*/ 0 h 18002"/>
                  <a:gd name="connsiteX4" fmla="*/ 18383 w 18383"/>
                  <a:gd name="connsiteY4" fmla="*/ 8954 h 18002"/>
                  <a:gd name="connsiteX5" fmla="*/ 2286 w 18383"/>
                  <a:gd name="connsiteY5" fmla="*/ 8954 h 18002"/>
                  <a:gd name="connsiteX6" fmla="*/ 9239 w 18383"/>
                  <a:gd name="connsiteY6" fmla="*/ 16097 h 18002"/>
                  <a:gd name="connsiteX7" fmla="*/ 16097 w 18383"/>
                  <a:gd name="connsiteY7" fmla="*/ 9049 h 18002"/>
                  <a:gd name="connsiteX8" fmla="*/ 9239 w 18383"/>
                  <a:gd name="connsiteY8" fmla="*/ 1905 h 18002"/>
                  <a:gd name="connsiteX9" fmla="*/ 2286 w 18383"/>
                  <a:gd name="connsiteY9" fmla="*/ 9049 h 18002"/>
                  <a:gd name="connsiteX10" fmla="*/ 7810 w 18383"/>
                  <a:gd name="connsiteY10" fmla="*/ 13621 h 18002"/>
                  <a:gd name="connsiteX11" fmla="*/ 5715 w 18383"/>
                  <a:gd name="connsiteY11" fmla="*/ 13621 h 18002"/>
                  <a:gd name="connsiteX12" fmla="*/ 5715 w 18383"/>
                  <a:gd name="connsiteY12" fmla="*/ 4667 h 18002"/>
                  <a:gd name="connsiteX13" fmla="*/ 9144 w 18383"/>
                  <a:gd name="connsiteY13" fmla="*/ 4382 h 18002"/>
                  <a:gd name="connsiteX14" fmla="*/ 12287 w 18383"/>
                  <a:gd name="connsiteY14" fmla="*/ 5048 h 18002"/>
                  <a:gd name="connsiteX15" fmla="*/ 13145 w 18383"/>
                  <a:gd name="connsiteY15" fmla="*/ 7048 h 18002"/>
                  <a:gd name="connsiteX16" fmla="*/ 11335 w 18383"/>
                  <a:gd name="connsiteY16" fmla="*/ 9144 h 18002"/>
                  <a:gd name="connsiteX17" fmla="*/ 11335 w 18383"/>
                  <a:gd name="connsiteY17" fmla="*/ 9144 h 18002"/>
                  <a:gd name="connsiteX18" fmla="*/ 12954 w 18383"/>
                  <a:gd name="connsiteY18" fmla="*/ 11430 h 18002"/>
                  <a:gd name="connsiteX19" fmla="*/ 13621 w 18383"/>
                  <a:gd name="connsiteY19" fmla="*/ 13621 h 18002"/>
                  <a:gd name="connsiteX20" fmla="*/ 11430 w 18383"/>
                  <a:gd name="connsiteY20" fmla="*/ 13621 h 18002"/>
                  <a:gd name="connsiteX21" fmla="*/ 10763 w 18383"/>
                  <a:gd name="connsiteY21" fmla="*/ 11430 h 18002"/>
                  <a:gd name="connsiteX22" fmla="*/ 8954 w 18383"/>
                  <a:gd name="connsiteY22" fmla="*/ 10001 h 18002"/>
                  <a:gd name="connsiteX23" fmla="*/ 8001 w 18383"/>
                  <a:gd name="connsiteY23" fmla="*/ 10001 h 18002"/>
                  <a:gd name="connsiteX24" fmla="*/ 8001 w 18383"/>
                  <a:gd name="connsiteY24" fmla="*/ 13621 h 18002"/>
                  <a:gd name="connsiteX25" fmla="*/ 7810 w 18383"/>
                  <a:gd name="connsiteY25" fmla="*/ 8572 h 18002"/>
                  <a:gd name="connsiteX26" fmla="*/ 8763 w 18383"/>
                  <a:gd name="connsiteY26" fmla="*/ 8572 h 18002"/>
                  <a:gd name="connsiteX27" fmla="*/ 10858 w 18383"/>
                  <a:gd name="connsiteY27" fmla="*/ 7239 h 18002"/>
                  <a:gd name="connsiteX28" fmla="*/ 8954 w 18383"/>
                  <a:gd name="connsiteY28" fmla="*/ 5906 h 18002"/>
                  <a:gd name="connsiteX29" fmla="*/ 7810 w 18383"/>
                  <a:gd name="connsiteY29" fmla="*/ 6001 h 18002"/>
                  <a:gd name="connsiteX30" fmla="*/ 7810 w 18383"/>
                  <a:gd name="connsiteY30" fmla="*/ 8572 h 1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383" h="18002">
                    <a:moveTo>
                      <a:pt x="18383" y="8954"/>
                    </a:moveTo>
                    <a:cubicBezTo>
                      <a:pt x="18383" y="14002"/>
                      <a:pt x="14383" y="18002"/>
                      <a:pt x="9239" y="18002"/>
                    </a:cubicBezTo>
                    <a:cubicBezTo>
                      <a:pt x="4096" y="18002"/>
                      <a:pt x="0" y="14002"/>
                      <a:pt x="0" y="8954"/>
                    </a:cubicBezTo>
                    <a:cubicBezTo>
                      <a:pt x="0" y="3905"/>
                      <a:pt x="4096" y="0"/>
                      <a:pt x="9239" y="0"/>
                    </a:cubicBezTo>
                    <a:cubicBezTo>
                      <a:pt x="14383" y="0"/>
                      <a:pt x="18383" y="4001"/>
                      <a:pt x="18383" y="8954"/>
                    </a:cubicBezTo>
                    <a:close/>
                    <a:moveTo>
                      <a:pt x="2286" y="8954"/>
                    </a:moveTo>
                    <a:cubicBezTo>
                      <a:pt x="2286" y="12954"/>
                      <a:pt x="5239" y="16097"/>
                      <a:pt x="9239" y="16097"/>
                    </a:cubicBezTo>
                    <a:cubicBezTo>
                      <a:pt x="13240" y="16097"/>
                      <a:pt x="16097" y="12954"/>
                      <a:pt x="16097" y="9049"/>
                    </a:cubicBezTo>
                    <a:cubicBezTo>
                      <a:pt x="16097" y="5144"/>
                      <a:pt x="13240" y="1905"/>
                      <a:pt x="9239" y="1905"/>
                    </a:cubicBezTo>
                    <a:cubicBezTo>
                      <a:pt x="5239" y="1905"/>
                      <a:pt x="2286" y="5144"/>
                      <a:pt x="2286" y="9049"/>
                    </a:cubicBezTo>
                    <a:close/>
                    <a:moveTo>
                      <a:pt x="7810" y="13621"/>
                    </a:moveTo>
                    <a:lnTo>
                      <a:pt x="5715" y="13621"/>
                    </a:lnTo>
                    <a:lnTo>
                      <a:pt x="5715" y="4667"/>
                    </a:lnTo>
                    <a:cubicBezTo>
                      <a:pt x="6572" y="4477"/>
                      <a:pt x="7715" y="4382"/>
                      <a:pt x="9144" y="4382"/>
                    </a:cubicBezTo>
                    <a:cubicBezTo>
                      <a:pt x="10858" y="4382"/>
                      <a:pt x="11621" y="4667"/>
                      <a:pt x="12287" y="5048"/>
                    </a:cubicBezTo>
                    <a:cubicBezTo>
                      <a:pt x="12763" y="5429"/>
                      <a:pt x="13145" y="6096"/>
                      <a:pt x="13145" y="7048"/>
                    </a:cubicBezTo>
                    <a:cubicBezTo>
                      <a:pt x="13145" y="8001"/>
                      <a:pt x="12383" y="8763"/>
                      <a:pt x="11335" y="9144"/>
                    </a:cubicBezTo>
                    <a:lnTo>
                      <a:pt x="11335" y="9144"/>
                    </a:lnTo>
                    <a:cubicBezTo>
                      <a:pt x="12192" y="9620"/>
                      <a:pt x="12668" y="10192"/>
                      <a:pt x="12954" y="11430"/>
                    </a:cubicBezTo>
                    <a:cubicBezTo>
                      <a:pt x="13240" y="12764"/>
                      <a:pt x="13430" y="13335"/>
                      <a:pt x="13621" y="13621"/>
                    </a:cubicBezTo>
                    <a:lnTo>
                      <a:pt x="11430" y="13621"/>
                    </a:lnTo>
                    <a:cubicBezTo>
                      <a:pt x="11430" y="13621"/>
                      <a:pt x="10954" y="12478"/>
                      <a:pt x="10763" y="11430"/>
                    </a:cubicBezTo>
                    <a:cubicBezTo>
                      <a:pt x="10573" y="10478"/>
                      <a:pt x="10096" y="10001"/>
                      <a:pt x="8954" y="10001"/>
                    </a:cubicBezTo>
                    <a:lnTo>
                      <a:pt x="8001" y="10001"/>
                    </a:lnTo>
                    <a:lnTo>
                      <a:pt x="8001" y="13621"/>
                    </a:lnTo>
                    <a:close/>
                    <a:moveTo>
                      <a:pt x="7810" y="8572"/>
                    </a:moveTo>
                    <a:lnTo>
                      <a:pt x="8763" y="8572"/>
                    </a:lnTo>
                    <a:cubicBezTo>
                      <a:pt x="9906" y="8572"/>
                      <a:pt x="10858" y="8192"/>
                      <a:pt x="10858" y="7239"/>
                    </a:cubicBezTo>
                    <a:cubicBezTo>
                      <a:pt x="10858" y="6382"/>
                      <a:pt x="10287" y="5906"/>
                      <a:pt x="8954" y="5906"/>
                    </a:cubicBezTo>
                    <a:cubicBezTo>
                      <a:pt x="8382" y="5906"/>
                      <a:pt x="8001" y="5906"/>
                      <a:pt x="7810" y="6001"/>
                    </a:cubicBezTo>
                    <a:lnTo>
                      <a:pt x="7810" y="857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161" name="Group 160">
              <a:extLst>
                <a:ext uri="{FF2B5EF4-FFF2-40B4-BE49-F238E27FC236}">
                  <a16:creationId xmlns:a16="http://schemas.microsoft.com/office/drawing/2014/main" id="{E6FDB744-3FE8-44C3-A1B8-886C068A5AE8}"/>
                </a:ext>
              </a:extLst>
            </p:cNvPr>
            <p:cNvGrpSpPr/>
            <p:nvPr userDrawn="1"/>
          </p:nvGrpSpPr>
          <p:grpSpPr>
            <a:xfrm>
              <a:off x="5795994" y="2288371"/>
              <a:ext cx="450552" cy="269337"/>
              <a:chOff x="5429272" y="3033696"/>
              <a:chExt cx="1329762" cy="794922"/>
            </a:xfrm>
          </p:grpSpPr>
          <p:sp>
            <p:nvSpPr>
              <p:cNvPr id="215" name="Freeform: Shape 214">
                <a:extLst>
                  <a:ext uri="{FF2B5EF4-FFF2-40B4-BE49-F238E27FC236}">
                    <a16:creationId xmlns:a16="http://schemas.microsoft.com/office/drawing/2014/main" id="{19D766C8-4D23-4BEB-A14F-5EE91E8C04E7}"/>
                  </a:ext>
                </a:extLst>
              </p:cNvPr>
              <p:cNvSpPr/>
              <p:nvPr/>
            </p:nvSpPr>
            <p:spPr>
              <a:xfrm>
                <a:off x="6706457" y="3250596"/>
                <a:ext cx="22479" cy="27717"/>
              </a:xfrm>
              <a:custGeom>
                <a:avLst/>
                <a:gdLst>
                  <a:gd name="connsiteX0" fmla="*/ 0 w 22479"/>
                  <a:gd name="connsiteY0" fmla="*/ 4858 h 27717"/>
                  <a:gd name="connsiteX1" fmla="*/ 8382 w 22479"/>
                  <a:gd name="connsiteY1" fmla="*/ 4858 h 27717"/>
                  <a:gd name="connsiteX2" fmla="*/ 8382 w 22479"/>
                  <a:gd name="connsiteY2" fmla="*/ 27718 h 27717"/>
                  <a:gd name="connsiteX3" fmla="*/ 14097 w 22479"/>
                  <a:gd name="connsiteY3" fmla="*/ 27718 h 27717"/>
                  <a:gd name="connsiteX4" fmla="*/ 14097 w 22479"/>
                  <a:gd name="connsiteY4" fmla="*/ 4858 h 27717"/>
                  <a:gd name="connsiteX5" fmla="*/ 22479 w 22479"/>
                  <a:gd name="connsiteY5" fmla="*/ 4858 h 27717"/>
                  <a:gd name="connsiteX6" fmla="*/ 22479 w 22479"/>
                  <a:gd name="connsiteY6" fmla="*/ 0 h 27717"/>
                  <a:gd name="connsiteX7" fmla="*/ 0 w 22479"/>
                  <a:gd name="connsiteY7" fmla="*/ 0 h 27717"/>
                  <a:gd name="connsiteX8" fmla="*/ 0 w 22479"/>
                  <a:gd name="connsiteY8" fmla="*/ 4858 h 27717"/>
                  <a:gd name="connsiteX9" fmla="*/ 0 w 22479"/>
                  <a:gd name="connsiteY9" fmla="*/ 4858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79" h="27717">
                    <a:moveTo>
                      <a:pt x="0" y="4858"/>
                    </a:moveTo>
                    <a:lnTo>
                      <a:pt x="8382" y="4858"/>
                    </a:lnTo>
                    <a:lnTo>
                      <a:pt x="8382" y="27718"/>
                    </a:lnTo>
                    <a:lnTo>
                      <a:pt x="14097" y="27718"/>
                    </a:lnTo>
                    <a:lnTo>
                      <a:pt x="14097" y="4858"/>
                    </a:lnTo>
                    <a:lnTo>
                      <a:pt x="22479" y="4858"/>
                    </a:lnTo>
                    <a:lnTo>
                      <a:pt x="22479" y="0"/>
                    </a:lnTo>
                    <a:lnTo>
                      <a:pt x="0" y="0"/>
                    </a:lnTo>
                    <a:lnTo>
                      <a:pt x="0" y="4858"/>
                    </a:lnTo>
                    <a:lnTo>
                      <a:pt x="0" y="485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6" name="Freeform: Shape 215">
                <a:extLst>
                  <a:ext uri="{FF2B5EF4-FFF2-40B4-BE49-F238E27FC236}">
                    <a16:creationId xmlns:a16="http://schemas.microsoft.com/office/drawing/2014/main" id="{5AFB079E-9A49-432A-BA0C-C1009BF3C2BC}"/>
                  </a:ext>
                </a:extLst>
              </p:cNvPr>
              <p:cNvSpPr/>
              <p:nvPr/>
            </p:nvSpPr>
            <p:spPr>
              <a:xfrm>
                <a:off x="6732174" y="3250596"/>
                <a:ext cx="26860" cy="27717"/>
              </a:xfrm>
              <a:custGeom>
                <a:avLst/>
                <a:gdLst>
                  <a:gd name="connsiteX0" fmla="*/ 18479 w 26860"/>
                  <a:gd name="connsiteY0" fmla="*/ 0 h 27717"/>
                  <a:gd name="connsiteX1" fmla="*/ 13526 w 26860"/>
                  <a:gd name="connsiteY1" fmla="*/ 21812 h 27717"/>
                  <a:gd name="connsiteX2" fmla="*/ 13430 w 26860"/>
                  <a:gd name="connsiteY2" fmla="*/ 21812 h 27717"/>
                  <a:gd name="connsiteX3" fmla="*/ 8382 w 26860"/>
                  <a:gd name="connsiteY3" fmla="*/ 0 h 27717"/>
                  <a:gd name="connsiteX4" fmla="*/ 0 w 26860"/>
                  <a:gd name="connsiteY4" fmla="*/ 0 h 27717"/>
                  <a:gd name="connsiteX5" fmla="*/ 0 w 26860"/>
                  <a:gd name="connsiteY5" fmla="*/ 27718 h 27717"/>
                  <a:gd name="connsiteX6" fmla="*/ 5334 w 26860"/>
                  <a:gd name="connsiteY6" fmla="*/ 27718 h 27717"/>
                  <a:gd name="connsiteX7" fmla="*/ 5334 w 26860"/>
                  <a:gd name="connsiteY7" fmla="*/ 4572 h 27717"/>
                  <a:gd name="connsiteX8" fmla="*/ 5429 w 26860"/>
                  <a:gd name="connsiteY8" fmla="*/ 4572 h 27717"/>
                  <a:gd name="connsiteX9" fmla="*/ 10478 w 26860"/>
                  <a:gd name="connsiteY9" fmla="*/ 27718 h 27717"/>
                  <a:gd name="connsiteX10" fmla="*/ 16193 w 26860"/>
                  <a:gd name="connsiteY10" fmla="*/ 27718 h 27717"/>
                  <a:gd name="connsiteX11" fmla="*/ 21336 w 26860"/>
                  <a:gd name="connsiteY11" fmla="*/ 4572 h 27717"/>
                  <a:gd name="connsiteX12" fmla="*/ 21431 w 26860"/>
                  <a:gd name="connsiteY12" fmla="*/ 4572 h 27717"/>
                  <a:gd name="connsiteX13" fmla="*/ 21431 w 26860"/>
                  <a:gd name="connsiteY13" fmla="*/ 27718 h 27717"/>
                  <a:gd name="connsiteX14" fmla="*/ 26861 w 26860"/>
                  <a:gd name="connsiteY14" fmla="*/ 27718 h 27717"/>
                  <a:gd name="connsiteX15" fmla="*/ 26861 w 26860"/>
                  <a:gd name="connsiteY15" fmla="*/ 0 h 27717"/>
                  <a:gd name="connsiteX16" fmla="*/ 18479 w 26860"/>
                  <a:gd name="connsiteY16" fmla="*/ 0 h 27717"/>
                  <a:gd name="connsiteX17" fmla="*/ 18479 w 26860"/>
                  <a:gd name="connsiteY17" fmla="*/ 0 h 2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60" h="27717">
                    <a:moveTo>
                      <a:pt x="18479" y="0"/>
                    </a:moveTo>
                    <a:lnTo>
                      <a:pt x="13526" y="21812"/>
                    </a:lnTo>
                    <a:lnTo>
                      <a:pt x="13430" y="21812"/>
                    </a:lnTo>
                    <a:lnTo>
                      <a:pt x="8382" y="0"/>
                    </a:lnTo>
                    <a:lnTo>
                      <a:pt x="0" y="0"/>
                    </a:lnTo>
                    <a:lnTo>
                      <a:pt x="0" y="27718"/>
                    </a:lnTo>
                    <a:lnTo>
                      <a:pt x="5334" y="27718"/>
                    </a:lnTo>
                    <a:lnTo>
                      <a:pt x="5334" y="4572"/>
                    </a:lnTo>
                    <a:lnTo>
                      <a:pt x="5429" y="4572"/>
                    </a:lnTo>
                    <a:lnTo>
                      <a:pt x="10478" y="27718"/>
                    </a:lnTo>
                    <a:lnTo>
                      <a:pt x="16193" y="27718"/>
                    </a:lnTo>
                    <a:lnTo>
                      <a:pt x="21336" y="4572"/>
                    </a:lnTo>
                    <a:lnTo>
                      <a:pt x="21431" y="4572"/>
                    </a:lnTo>
                    <a:lnTo>
                      <a:pt x="21431" y="27718"/>
                    </a:lnTo>
                    <a:lnTo>
                      <a:pt x="26861" y="27718"/>
                    </a:lnTo>
                    <a:lnTo>
                      <a:pt x="26861" y="0"/>
                    </a:lnTo>
                    <a:lnTo>
                      <a:pt x="18479" y="0"/>
                    </a:lnTo>
                    <a:lnTo>
                      <a:pt x="1847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217" name="Graphic 407">
                <a:extLst>
                  <a:ext uri="{FF2B5EF4-FFF2-40B4-BE49-F238E27FC236}">
                    <a16:creationId xmlns:a16="http://schemas.microsoft.com/office/drawing/2014/main" id="{5E819587-7723-447E-820B-399D62B47895}"/>
                  </a:ext>
                </a:extLst>
              </p:cNvPr>
              <p:cNvGrpSpPr/>
              <p:nvPr/>
            </p:nvGrpSpPr>
            <p:grpSpPr>
              <a:xfrm>
                <a:off x="5506688" y="3250377"/>
                <a:ext cx="1174880" cy="578241"/>
                <a:chOff x="5506688" y="3250377"/>
                <a:chExt cx="1174880" cy="578241"/>
              </a:xfrm>
              <a:solidFill>
                <a:srgbClr val="A1ABB2"/>
              </a:solidFill>
            </p:grpSpPr>
            <p:sp>
              <p:nvSpPr>
                <p:cNvPr id="226" name="Freeform: Shape 225">
                  <a:extLst>
                    <a:ext uri="{FF2B5EF4-FFF2-40B4-BE49-F238E27FC236}">
                      <a16:creationId xmlns:a16="http://schemas.microsoft.com/office/drawing/2014/main" id="{A8666AE3-3463-4081-9EE7-ECF46258E92E}"/>
                    </a:ext>
                  </a:extLst>
                </p:cNvPr>
                <p:cNvSpPr/>
                <p:nvPr/>
              </p:nvSpPr>
              <p:spPr>
                <a:xfrm>
                  <a:off x="5506688" y="3265359"/>
                  <a:ext cx="46482" cy="360902"/>
                </a:xfrm>
                <a:custGeom>
                  <a:avLst/>
                  <a:gdLst>
                    <a:gd name="connsiteX0" fmla="*/ 23146 w 46482"/>
                    <a:gd name="connsiteY0" fmla="*/ 0 h 360902"/>
                    <a:gd name="connsiteX1" fmla="*/ 23146 w 46482"/>
                    <a:gd name="connsiteY1" fmla="*/ 0 h 360902"/>
                    <a:gd name="connsiteX2" fmla="*/ 46482 w 46482"/>
                    <a:gd name="connsiteY2" fmla="*/ 23336 h 360902"/>
                    <a:gd name="connsiteX3" fmla="*/ 46482 w 46482"/>
                    <a:gd name="connsiteY3" fmla="*/ 338804 h 360902"/>
                    <a:gd name="connsiteX4" fmla="*/ 24384 w 46482"/>
                    <a:gd name="connsiteY4" fmla="*/ 360902 h 360902"/>
                    <a:gd name="connsiteX5" fmla="*/ 22765 w 46482"/>
                    <a:gd name="connsiteY5" fmla="*/ 360902 h 360902"/>
                    <a:gd name="connsiteX6" fmla="*/ 0 w 46482"/>
                    <a:gd name="connsiteY6" fmla="*/ 338138 h 360902"/>
                    <a:gd name="connsiteX7" fmla="*/ 0 w 46482"/>
                    <a:gd name="connsiteY7" fmla="*/ 23146 h 360902"/>
                    <a:gd name="connsiteX8" fmla="*/ 23146 w 46482"/>
                    <a:gd name="connsiteY8" fmla="*/ 0 h 360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82" h="360902">
                      <a:moveTo>
                        <a:pt x="23146" y="0"/>
                      </a:moveTo>
                      <a:lnTo>
                        <a:pt x="23146" y="0"/>
                      </a:lnTo>
                      <a:cubicBezTo>
                        <a:pt x="36004" y="0"/>
                        <a:pt x="46482" y="10478"/>
                        <a:pt x="46482" y="23336"/>
                      </a:cubicBezTo>
                      <a:lnTo>
                        <a:pt x="46482" y="338804"/>
                      </a:lnTo>
                      <a:cubicBezTo>
                        <a:pt x="46482" y="350996"/>
                        <a:pt x="36576" y="360902"/>
                        <a:pt x="24384" y="360902"/>
                      </a:cubicBezTo>
                      <a:lnTo>
                        <a:pt x="22765" y="360902"/>
                      </a:lnTo>
                      <a:cubicBezTo>
                        <a:pt x="10192" y="360902"/>
                        <a:pt x="0" y="350711"/>
                        <a:pt x="0" y="338138"/>
                      </a:cubicBezTo>
                      <a:lnTo>
                        <a:pt x="0" y="23146"/>
                      </a:lnTo>
                      <a:cubicBezTo>
                        <a:pt x="0" y="10382"/>
                        <a:pt x="10382" y="0"/>
                        <a:pt x="23146" y="0"/>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27" name="Freeform: Shape 226">
                  <a:extLst>
                    <a:ext uri="{FF2B5EF4-FFF2-40B4-BE49-F238E27FC236}">
                      <a16:creationId xmlns:a16="http://schemas.microsoft.com/office/drawing/2014/main" id="{82D8CDED-42E5-4153-993A-3B7EB2804224}"/>
                    </a:ext>
                  </a:extLst>
                </p:cNvPr>
                <p:cNvSpPr/>
                <p:nvPr/>
              </p:nvSpPr>
              <p:spPr>
                <a:xfrm>
                  <a:off x="6296430" y="3250377"/>
                  <a:ext cx="385138" cy="578241"/>
                </a:xfrm>
                <a:custGeom>
                  <a:avLst/>
                  <a:gdLst>
                    <a:gd name="connsiteX0" fmla="*/ 369736 w 385138"/>
                    <a:gd name="connsiteY0" fmla="*/ 2219 h 578241"/>
                    <a:gd name="connsiteX1" fmla="*/ 337542 w 385138"/>
                    <a:gd name="connsiteY1" fmla="*/ 17840 h 578241"/>
                    <a:gd name="connsiteX2" fmla="*/ 194857 w 385138"/>
                    <a:gd name="connsiteY2" fmla="*/ 301494 h 578241"/>
                    <a:gd name="connsiteX3" fmla="*/ 47410 w 385138"/>
                    <a:gd name="connsiteY3" fmla="*/ 19459 h 578241"/>
                    <a:gd name="connsiteX4" fmla="*/ 15216 w 385138"/>
                    <a:gd name="connsiteY4" fmla="*/ 3457 h 578241"/>
                    <a:gd name="connsiteX5" fmla="*/ 1500 w 385138"/>
                    <a:gd name="connsiteY5" fmla="*/ 36414 h 578241"/>
                    <a:gd name="connsiteX6" fmla="*/ 166092 w 385138"/>
                    <a:gd name="connsiteY6" fmla="*/ 358740 h 578241"/>
                    <a:gd name="connsiteX7" fmla="*/ 72937 w 385138"/>
                    <a:gd name="connsiteY7" fmla="*/ 543429 h 578241"/>
                    <a:gd name="connsiteX8" fmla="*/ 85605 w 385138"/>
                    <a:gd name="connsiteY8" fmla="*/ 574862 h 578241"/>
                    <a:gd name="connsiteX9" fmla="*/ 87129 w 385138"/>
                    <a:gd name="connsiteY9" fmla="*/ 575624 h 578241"/>
                    <a:gd name="connsiteX10" fmla="*/ 118562 w 385138"/>
                    <a:gd name="connsiteY10" fmla="*/ 566289 h 578241"/>
                    <a:gd name="connsiteX11" fmla="*/ 381642 w 385138"/>
                    <a:gd name="connsiteY11" fmla="*/ 39366 h 578241"/>
                    <a:gd name="connsiteX12" fmla="*/ 369831 w 385138"/>
                    <a:gd name="connsiteY12" fmla="*/ 2219 h 578241"/>
                    <a:gd name="connsiteX13" fmla="*/ 369831 w 385138"/>
                    <a:gd name="connsiteY13" fmla="*/ 2219 h 578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5138" h="578241">
                      <a:moveTo>
                        <a:pt x="369736" y="2219"/>
                      </a:moveTo>
                      <a:cubicBezTo>
                        <a:pt x="349638" y="-7497"/>
                        <a:pt x="337542" y="17840"/>
                        <a:pt x="337542" y="17840"/>
                      </a:cubicBezTo>
                      <a:lnTo>
                        <a:pt x="194857" y="301494"/>
                      </a:lnTo>
                      <a:lnTo>
                        <a:pt x="47410" y="19459"/>
                      </a:lnTo>
                      <a:cubicBezTo>
                        <a:pt x="47410" y="19459"/>
                        <a:pt x="37123" y="-5687"/>
                        <a:pt x="15216" y="3457"/>
                      </a:cubicBezTo>
                      <a:cubicBezTo>
                        <a:pt x="-6692" y="12506"/>
                        <a:pt x="1500" y="36414"/>
                        <a:pt x="1500" y="36414"/>
                      </a:cubicBezTo>
                      <a:lnTo>
                        <a:pt x="166092" y="358740"/>
                      </a:lnTo>
                      <a:lnTo>
                        <a:pt x="72937" y="543429"/>
                      </a:lnTo>
                      <a:cubicBezTo>
                        <a:pt x="67508" y="554764"/>
                        <a:pt x="73128" y="568861"/>
                        <a:pt x="85605" y="574862"/>
                      </a:cubicBezTo>
                      <a:lnTo>
                        <a:pt x="87129" y="575624"/>
                      </a:lnTo>
                      <a:cubicBezTo>
                        <a:pt x="99226" y="581434"/>
                        <a:pt x="113228" y="577243"/>
                        <a:pt x="118562" y="566289"/>
                      </a:cubicBezTo>
                      <a:lnTo>
                        <a:pt x="381642" y="39366"/>
                      </a:lnTo>
                      <a:cubicBezTo>
                        <a:pt x="381642" y="39366"/>
                        <a:pt x="394882" y="12315"/>
                        <a:pt x="369831" y="2219"/>
                      </a:cubicBezTo>
                      <a:lnTo>
                        <a:pt x="369831" y="221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218" name="Freeform: Shape 217">
                <a:extLst>
                  <a:ext uri="{FF2B5EF4-FFF2-40B4-BE49-F238E27FC236}">
                    <a16:creationId xmlns:a16="http://schemas.microsoft.com/office/drawing/2014/main" id="{A087AC2E-606E-4641-B69B-3516B7973DFB}"/>
                  </a:ext>
                </a:extLst>
              </p:cNvPr>
              <p:cNvSpPr/>
              <p:nvPr/>
            </p:nvSpPr>
            <p:spPr>
              <a:xfrm>
                <a:off x="5509069" y="3267741"/>
                <a:ext cx="41719" cy="356139"/>
              </a:xfrm>
              <a:custGeom>
                <a:avLst/>
                <a:gdLst>
                  <a:gd name="connsiteX0" fmla="*/ 20765 w 41719"/>
                  <a:gd name="connsiteY0" fmla="*/ 0 h 356139"/>
                  <a:gd name="connsiteX1" fmla="*/ 0 w 41719"/>
                  <a:gd name="connsiteY1" fmla="*/ 20765 h 356139"/>
                  <a:gd name="connsiteX2" fmla="*/ 0 w 41719"/>
                  <a:gd name="connsiteY2" fmla="*/ 335756 h 356139"/>
                  <a:gd name="connsiteX3" fmla="*/ 20384 w 41719"/>
                  <a:gd name="connsiteY3" fmla="*/ 356140 h 356139"/>
                  <a:gd name="connsiteX4" fmla="*/ 22003 w 41719"/>
                  <a:gd name="connsiteY4" fmla="*/ 356140 h 356139"/>
                  <a:gd name="connsiteX5" fmla="*/ 41720 w 41719"/>
                  <a:gd name="connsiteY5" fmla="*/ 336423 h 356139"/>
                  <a:gd name="connsiteX6" fmla="*/ 41720 w 41719"/>
                  <a:gd name="connsiteY6" fmla="*/ 20955 h 356139"/>
                  <a:gd name="connsiteX7" fmla="*/ 20765 w 41719"/>
                  <a:gd name="connsiteY7" fmla="*/ 0 h 356139"/>
                  <a:gd name="connsiteX8" fmla="*/ 20765 w 41719"/>
                  <a:gd name="connsiteY8" fmla="*/ 0 h 35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19" h="356139">
                    <a:moveTo>
                      <a:pt x="20765" y="0"/>
                    </a:moveTo>
                    <a:cubicBezTo>
                      <a:pt x="9334" y="0"/>
                      <a:pt x="0" y="9334"/>
                      <a:pt x="0" y="20765"/>
                    </a:cubicBezTo>
                    <a:lnTo>
                      <a:pt x="0" y="335756"/>
                    </a:lnTo>
                    <a:cubicBezTo>
                      <a:pt x="0" y="346996"/>
                      <a:pt x="9144" y="356140"/>
                      <a:pt x="20384" y="356140"/>
                    </a:cubicBezTo>
                    <a:lnTo>
                      <a:pt x="22003" y="356140"/>
                    </a:lnTo>
                    <a:cubicBezTo>
                      <a:pt x="32861" y="356140"/>
                      <a:pt x="41720" y="347282"/>
                      <a:pt x="41720" y="336423"/>
                    </a:cubicBezTo>
                    <a:lnTo>
                      <a:pt x="41720" y="20955"/>
                    </a:lnTo>
                    <a:cubicBezTo>
                      <a:pt x="41720" y="9430"/>
                      <a:pt x="32290" y="0"/>
                      <a:pt x="20765" y="0"/>
                    </a:cubicBezTo>
                    <a:lnTo>
                      <a:pt x="2076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9" name="Freeform: Shape 218">
                <a:extLst>
                  <a:ext uri="{FF2B5EF4-FFF2-40B4-BE49-F238E27FC236}">
                    <a16:creationId xmlns:a16="http://schemas.microsoft.com/office/drawing/2014/main" id="{C6852305-CD88-41BE-B2D7-FB12FA688DF7}"/>
                  </a:ext>
                </a:extLst>
              </p:cNvPr>
              <p:cNvSpPr/>
              <p:nvPr/>
            </p:nvSpPr>
            <p:spPr>
              <a:xfrm>
                <a:off x="5599747" y="3256025"/>
                <a:ext cx="272986" cy="370332"/>
              </a:xfrm>
              <a:custGeom>
                <a:avLst/>
                <a:gdLst>
                  <a:gd name="connsiteX0" fmla="*/ 258032 w 272986"/>
                  <a:gd name="connsiteY0" fmla="*/ 76009 h 370332"/>
                  <a:gd name="connsiteX1" fmla="*/ 211741 w 272986"/>
                  <a:gd name="connsiteY1" fmla="*/ 20574 h 370332"/>
                  <a:gd name="connsiteX2" fmla="*/ 138589 w 272986"/>
                  <a:gd name="connsiteY2" fmla="*/ 286 h 370332"/>
                  <a:gd name="connsiteX3" fmla="*/ 138589 w 272986"/>
                  <a:gd name="connsiteY3" fmla="*/ 0 h 370332"/>
                  <a:gd name="connsiteX4" fmla="*/ 136493 w 272986"/>
                  <a:gd name="connsiteY4" fmla="*/ 95 h 370332"/>
                  <a:gd name="connsiteX5" fmla="*/ 134398 w 272986"/>
                  <a:gd name="connsiteY5" fmla="*/ 0 h 370332"/>
                  <a:gd name="connsiteX6" fmla="*/ 134398 w 272986"/>
                  <a:gd name="connsiteY6" fmla="*/ 286 h 370332"/>
                  <a:gd name="connsiteX7" fmla="*/ 61246 w 272986"/>
                  <a:gd name="connsiteY7" fmla="*/ 20574 h 370332"/>
                  <a:gd name="connsiteX8" fmla="*/ 14954 w 272986"/>
                  <a:gd name="connsiteY8" fmla="*/ 76009 h 370332"/>
                  <a:gd name="connsiteX9" fmla="*/ 0 w 272986"/>
                  <a:gd name="connsiteY9" fmla="*/ 184499 h 370332"/>
                  <a:gd name="connsiteX10" fmla="*/ 0 w 272986"/>
                  <a:gd name="connsiteY10" fmla="*/ 347091 h 370332"/>
                  <a:gd name="connsiteX11" fmla="*/ 23241 w 272986"/>
                  <a:gd name="connsiteY11" fmla="*/ 370332 h 370332"/>
                  <a:gd name="connsiteX12" fmla="*/ 46482 w 272986"/>
                  <a:gd name="connsiteY12" fmla="*/ 347091 h 370332"/>
                  <a:gd name="connsiteX13" fmla="*/ 46482 w 272986"/>
                  <a:gd name="connsiteY13" fmla="*/ 198120 h 370332"/>
                  <a:gd name="connsiteX14" fmla="*/ 51626 w 272986"/>
                  <a:gd name="connsiteY14" fmla="*/ 114872 h 370332"/>
                  <a:gd name="connsiteX15" fmla="*/ 82582 w 272986"/>
                  <a:gd name="connsiteY15" fmla="*/ 60960 h 370332"/>
                  <a:gd name="connsiteX16" fmla="*/ 136493 w 272986"/>
                  <a:gd name="connsiteY16" fmla="*/ 43053 h 370332"/>
                  <a:gd name="connsiteX17" fmla="*/ 190405 w 272986"/>
                  <a:gd name="connsiteY17" fmla="*/ 60960 h 370332"/>
                  <a:gd name="connsiteX18" fmla="*/ 221361 w 272986"/>
                  <a:gd name="connsiteY18" fmla="*/ 114872 h 370332"/>
                  <a:gd name="connsiteX19" fmla="*/ 226505 w 272986"/>
                  <a:gd name="connsiteY19" fmla="*/ 198120 h 370332"/>
                  <a:gd name="connsiteX20" fmla="*/ 226505 w 272986"/>
                  <a:gd name="connsiteY20" fmla="*/ 347091 h 370332"/>
                  <a:gd name="connsiteX21" fmla="*/ 249746 w 272986"/>
                  <a:gd name="connsiteY21" fmla="*/ 370332 h 370332"/>
                  <a:gd name="connsiteX22" fmla="*/ 272987 w 272986"/>
                  <a:gd name="connsiteY22" fmla="*/ 347091 h 370332"/>
                  <a:gd name="connsiteX23" fmla="*/ 272987 w 272986"/>
                  <a:gd name="connsiteY23" fmla="*/ 184499 h 370332"/>
                  <a:gd name="connsiteX24" fmla="*/ 258032 w 272986"/>
                  <a:gd name="connsiteY24" fmla="*/ 76009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2986" h="370332">
                    <a:moveTo>
                      <a:pt x="258032" y="76009"/>
                    </a:moveTo>
                    <a:cubicBezTo>
                      <a:pt x="248031" y="52768"/>
                      <a:pt x="232696" y="34290"/>
                      <a:pt x="211741" y="20574"/>
                    </a:cubicBezTo>
                    <a:cubicBezTo>
                      <a:pt x="191929" y="7525"/>
                      <a:pt x="164402" y="953"/>
                      <a:pt x="138589" y="286"/>
                    </a:cubicBezTo>
                    <a:lnTo>
                      <a:pt x="138589" y="0"/>
                    </a:lnTo>
                    <a:cubicBezTo>
                      <a:pt x="137922" y="0"/>
                      <a:pt x="137160" y="95"/>
                      <a:pt x="136493" y="95"/>
                    </a:cubicBezTo>
                    <a:cubicBezTo>
                      <a:pt x="135827" y="95"/>
                      <a:pt x="135065" y="0"/>
                      <a:pt x="134398" y="0"/>
                    </a:cubicBezTo>
                    <a:lnTo>
                      <a:pt x="134398" y="286"/>
                    </a:lnTo>
                    <a:cubicBezTo>
                      <a:pt x="108585" y="953"/>
                      <a:pt x="81058" y="7620"/>
                      <a:pt x="61246" y="20574"/>
                    </a:cubicBezTo>
                    <a:cubicBezTo>
                      <a:pt x="40386" y="34290"/>
                      <a:pt x="24956" y="52768"/>
                      <a:pt x="14954" y="76009"/>
                    </a:cubicBezTo>
                    <a:cubicBezTo>
                      <a:pt x="4953" y="99250"/>
                      <a:pt x="0" y="135350"/>
                      <a:pt x="0" y="184499"/>
                    </a:cubicBezTo>
                    <a:lnTo>
                      <a:pt x="0" y="347091"/>
                    </a:lnTo>
                    <a:cubicBezTo>
                      <a:pt x="0" y="359950"/>
                      <a:pt x="10382" y="370332"/>
                      <a:pt x="23241" y="370332"/>
                    </a:cubicBezTo>
                    <a:cubicBezTo>
                      <a:pt x="36100" y="370332"/>
                      <a:pt x="46482" y="359950"/>
                      <a:pt x="46482" y="347091"/>
                    </a:cubicBezTo>
                    <a:lnTo>
                      <a:pt x="46482" y="198120"/>
                    </a:lnTo>
                    <a:cubicBezTo>
                      <a:pt x="46482" y="156591"/>
                      <a:pt x="48196" y="128778"/>
                      <a:pt x="51626" y="114872"/>
                    </a:cubicBezTo>
                    <a:cubicBezTo>
                      <a:pt x="57055" y="90964"/>
                      <a:pt x="67342" y="72962"/>
                      <a:pt x="82582" y="60960"/>
                    </a:cubicBezTo>
                    <a:cubicBezTo>
                      <a:pt x="97346" y="49340"/>
                      <a:pt x="113157" y="43434"/>
                      <a:pt x="136493" y="43053"/>
                    </a:cubicBezTo>
                    <a:cubicBezTo>
                      <a:pt x="159734" y="43434"/>
                      <a:pt x="175641" y="49340"/>
                      <a:pt x="190405" y="60960"/>
                    </a:cubicBezTo>
                    <a:cubicBezTo>
                      <a:pt x="205645" y="73057"/>
                      <a:pt x="216027" y="90964"/>
                      <a:pt x="221361" y="114872"/>
                    </a:cubicBezTo>
                    <a:cubicBezTo>
                      <a:pt x="224790" y="128778"/>
                      <a:pt x="226505" y="156591"/>
                      <a:pt x="226505" y="198120"/>
                    </a:cubicBezTo>
                    <a:lnTo>
                      <a:pt x="226505" y="347091"/>
                    </a:lnTo>
                    <a:cubicBezTo>
                      <a:pt x="226505" y="359950"/>
                      <a:pt x="236887" y="370332"/>
                      <a:pt x="249746" y="370332"/>
                    </a:cubicBezTo>
                    <a:cubicBezTo>
                      <a:pt x="262604" y="370332"/>
                      <a:pt x="272987" y="359950"/>
                      <a:pt x="272987" y="347091"/>
                    </a:cubicBezTo>
                    <a:lnTo>
                      <a:pt x="272987" y="184499"/>
                    </a:lnTo>
                    <a:cubicBezTo>
                      <a:pt x="272987" y="135446"/>
                      <a:pt x="268034" y="99250"/>
                      <a:pt x="258032" y="76009"/>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20" name="Freeform: Shape 219">
                <a:extLst>
                  <a:ext uri="{FF2B5EF4-FFF2-40B4-BE49-F238E27FC236}">
                    <a16:creationId xmlns:a16="http://schemas.microsoft.com/office/drawing/2014/main" id="{A6D46980-5270-4C8C-9C41-6DBB3A09CE49}"/>
                  </a:ext>
                </a:extLst>
              </p:cNvPr>
              <p:cNvSpPr/>
              <p:nvPr/>
            </p:nvSpPr>
            <p:spPr>
              <a:xfrm>
                <a:off x="5903213" y="3123627"/>
                <a:ext cx="372903" cy="505301"/>
              </a:xfrm>
              <a:custGeom>
                <a:avLst/>
                <a:gdLst>
                  <a:gd name="connsiteX0" fmla="*/ 303276 w 372903"/>
                  <a:gd name="connsiteY0" fmla="*/ 389668 h 505301"/>
                  <a:gd name="connsiteX1" fmla="*/ 254127 w 372903"/>
                  <a:gd name="connsiteY1" fmla="*/ 439769 h 505301"/>
                  <a:gd name="connsiteX2" fmla="*/ 186023 w 372903"/>
                  <a:gd name="connsiteY2" fmla="*/ 457391 h 505301"/>
                  <a:gd name="connsiteX3" fmla="*/ 117920 w 372903"/>
                  <a:gd name="connsiteY3" fmla="*/ 439769 h 505301"/>
                  <a:gd name="connsiteX4" fmla="*/ 68771 w 372903"/>
                  <a:gd name="connsiteY4" fmla="*/ 389668 h 505301"/>
                  <a:gd name="connsiteX5" fmla="*/ 50578 w 372903"/>
                  <a:gd name="connsiteY5" fmla="*/ 319564 h 505301"/>
                  <a:gd name="connsiteX6" fmla="*/ 90488 w 372903"/>
                  <a:gd name="connsiteY6" fmla="*/ 220218 h 505301"/>
                  <a:gd name="connsiteX7" fmla="*/ 185928 w 372903"/>
                  <a:gd name="connsiteY7" fmla="*/ 179165 h 505301"/>
                  <a:gd name="connsiteX8" fmla="*/ 281178 w 372903"/>
                  <a:gd name="connsiteY8" fmla="*/ 220218 h 505301"/>
                  <a:gd name="connsiteX9" fmla="*/ 321278 w 372903"/>
                  <a:gd name="connsiteY9" fmla="*/ 319564 h 505301"/>
                  <a:gd name="connsiteX10" fmla="*/ 303086 w 372903"/>
                  <a:gd name="connsiteY10" fmla="*/ 389668 h 505301"/>
                  <a:gd name="connsiteX11" fmla="*/ 303086 w 372903"/>
                  <a:gd name="connsiteY11" fmla="*/ 389668 h 505301"/>
                  <a:gd name="connsiteX12" fmla="*/ 365379 w 372903"/>
                  <a:gd name="connsiteY12" fmla="*/ 7430 h 505301"/>
                  <a:gd name="connsiteX13" fmla="*/ 347567 w 372903"/>
                  <a:gd name="connsiteY13" fmla="*/ 0 h 505301"/>
                  <a:gd name="connsiteX14" fmla="*/ 322326 w 372903"/>
                  <a:gd name="connsiteY14" fmla="*/ 25241 h 505301"/>
                  <a:gd name="connsiteX15" fmla="*/ 322326 w 372903"/>
                  <a:gd name="connsiteY15" fmla="*/ 189071 h 505301"/>
                  <a:gd name="connsiteX16" fmla="*/ 186214 w 372903"/>
                  <a:gd name="connsiteY16" fmla="*/ 130016 h 505301"/>
                  <a:gd name="connsiteX17" fmla="*/ 49244 w 372903"/>
                  <a:gd name="connsiteY17" fmla="*/ 190024 h 505301"/>
                  <a:gd name="connsiteX18" fmla="*/ 0 w 372903"/>
                  <a:gd name="connsiteY18" fmla="*/ 318516 h 505301"/>
                  <a:gd name="connsiteX19" fmla="*/ 52102 w 372903"/>
                  <a:gd name="connsiteY19" fmla="*/ 449199 h 505301"/>
                  <a:gd name="connsiteX20" fmla="*/ 186309 w 372903"/>
                  <a:gd name="connsiteY20" fmla="*/ 505111 h 505301"/>
                  <a:gd name="connsiteX21" fmla="*/ 320231 w 372903"/>
                  <a:gd name="connsiteY21" fmla="*/ 449199 h 505301"/>
                  <a:gd name="connsiteX22" fmla="*/ 321564 w 372903"/>
                  <a:gd name="connsiteY22" fmla="*/ 447770 h 505301"/>
                  <a:gd name="connsiteX23" fmla="*/ 321374 w 372903"/>
                  <a:gd name="connsiteY23" fmla="*/ 480155 h 505301"/>
                  <a:gd name="connsiteX24" fmla="*/ 346520 w 372903"/>
                  <a:gd name="connsiteY24" fmla="*/ 505301 h 505301"/>
                  <a:gd name="connsiteX25" fmla="*/ 348139 w 372903"/>
                  <a:gd name="connsiteY25" fmla="*/ 505301 h 505301"/>
                  <a:gd name="connsiteX26" fmla="*/ 372618 w 372903"/>
                  <a:gd name="connsiteY26" fmla="*/ 480822 h 505301"/>
                  <a:gd name="connsiteX27" fmla="*/ 372618 w 372903"/>
                  <a:gd name="connsiteY27" fmla="*/ 215075 h 505301"/>
                  <a:gd name="connsiteX28" fmla="*/ 372904 w 372903"/>
                  <a:gd name="connsiteY28" fmla="*/ 25241 h 505301"/>
                  <a:gd name="connsiteX29" fmla="*/ 365570 w 372903"/>
                  <a:gd name="connsiteY29" fmla="*/ 7334 h 505301"/>
                  <a:gd name="connsiteX30" fmla="*/ 365570 w 372903"/>
                  <a:gd name="connsiteY30" fmla="*/ 7334 h 50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2903" h="505301">
                    <a:moveTo>
                      <a:pt x="303276" y="389668"/>
                    </a:moveTo>
                    <a:cubicBezTo>
                      <a:pt x="291179" y="411194"/>
                      <a:pt x="274701" y="428054"/>
                      <a:pt x="254127" y="439769"/>
                    </a:cubicBezTo>
                    <a:cubicBezTo>
                      <a:pt x="233553" y="451485"/>
                      <a:pt x="210598" y="457391"/>
                      <a:pt x="186023" y="457391"/>
                    </a:cubicBezTo>
                    <a:cubicBezTo>
                      <a:pt x="161449" y="457391"/>
                      <a:pt x="138589" y="451485"/>
                      <a:pt x="117920" y="439769"/>
                    </a:cubicBezTo>
                    <a:cubicBezTo>
                      <a:pt x="97441" y="428054"/>
                      <a:pt x="80867" y="411194"/>
                      <a:pt x="68771" y="389668"/>
                    </a:cubicBezTo>
                    <a:cubicBezTo>
                      <a:pt x="56674" y="368141"/>
                      <a:pt x="50578" y="344615"/>
                      <a:pt x="50578" y="319564"/>
                    </a:cubicBezTo>
                    <a:cubicBezTo>
                      <a:pt x="50578" y="280892"/>
                      <a:pt x="64008" y="247459"/>
                      <a:pt x="90488" y="220218"/>
                    </a:cubicBezTo>
                    <a:cubicBezTo>
                      <a:pt x="116967" y="192977"/>
                      <a:pt x="149066" y="179165"/>
                      <a:pt x="185928" y="179165"/>
                    </a:cubicBezTo>
                    <a:cubicBezTo>
                      <a:pt x="222790" y="179165"/>
                      <a:pt x="254603" y="192977"/>
                      <a:pt x="281178" y="220218"/>
                    </a:cubicBezTo>
                    <a:cubicBezTo>
                      <a:pt x="307848" y="247459"/>
                      <a:pt x="321278" y="280892"/>
                      <a:pt x="321278" y="319564"/>
                    </a:cubicBezTo>
                    <a:cubicBezTo>
                      <a:pt x="321278" y="344519"/>
                      <a:pt x="315182" y="368141"/>
                      <a:pt x="303086" y="389668"/>
                    </a:cubicBezTo>
                    <a:lnTo>
                      <a:pt x="303086" y="389668"/>
                    </a:lnTo>
                    <a:close/>
                    <a:moveTo>
                      <a:pt x="365379" y="7430"/>
                    </a:moveTo>
                    <a:cubicBezTo>
                      <a:pt x="360617" y="2667"/>
                      <a:pt x="354235" y="0"/>
                      <a:pt x="347567" y="0"/>
                    </a:cubicBezTo>
                    <a:cubicBezTo>
                      <a:pt x="333661" y="0"/>
                      <a:pt x="322326" y="11335"/>
                      <a:pt x="322326" y="25241"/>
                    </a:cubicBezTo>
                    <a:lnTo>
                      <a:pt x="322326" y="189071"/>
                    </a:lnTo>
                    <a:cubicBezTo>
                      <a:pt x="286417" y="149924"/>
                      <a:pt x="240697" y="130016"/>
                      <a:pt x="186214" y="130016"/>
                    </a:cubicBezTo>
                    <a:cubicBezTo>
                      <a:pt x="131731" y="130016"/>
                      <a:pt x="85154" y="150209"/>
                      <a:pt x="49244" y="190024"/>
                    </a:cubicBezTo>
                    <a:cubicBezTo>
                      <a:pt x="16574" y="226124"/>
                      <a:pt x="0" y="269367"/>
                      <a:pt x="0" y="318516"/>
                    </a:cubicBezTo>
                    <a:cubicBezTo>
                      <a:pt x="0" y="367665"/>
                      <a:pt x="17526" y="412052"/>
                      <a:pt x="52102" y="449199"/>
                    </a:cubicBezTo>
                    <a:cubicBezTo>
                      <a:pt x="86678" y="486347"/>
                      <a:pt x="131826" y="505111"/>
                      <a:pt x="186309" y="505111"/>
                    </a:cubicBezTo>
                    <a:cubicBezTo>
                      <a:pt x="240792" y="505111"/>
                      <a:pt x="285655" y="486251"/>
                      <a:pt x="320231" y="449199"/>
                    </a:cubicBezTo>
                    <a:cubicBezTo>
                      <a:pt x="320707" y="448723"/>
                      <a:pt x="321088" y="448247"/>
                      <a:pt x="321564" y="447770"/>
                    </a:cubicBezTo>
                    <a:lnTo>
                      <a:pt x="321374" y="480155"/>
                    </a:lnTo>
                    <a:cubicBezTo>
                      <a:pt x="321374" y="494062"/>
                      <a:pt x="332613" y="505301"/>
                      <a:pt x="346520" y="505301"/>
                    </a:cubicBezTo>
                    <a:lnTo>
                      <a:pt x="348139" y="505301"/>
                    </a:lnTo>
                    <a:cubicBezTo>
                      <a:pt x="361569" y="505301"/>
                      <a:pt x="372618" y="494348"/>
                      <a:pt x="372618" y="480822"/>
                    </a:cubicBezTo>
                    <a:lnTo>
                      <a:pt x="372618" y="215075"/>
                    </a:lnTo>
                    <a:lnTo>
                      <a:pt x="372904" y="25241"/>
                    </a:lnTo>
                    <a:cubicBezTo>
                      <a:pt x="372904" y="18479"/>
                      <a:pt x="370332" y="12097"/>
                      <a:pt x="365570" y="7334"/>
                    </a:cubicBezTo>
                    <a:lnTo>
                      <a:pt x="365570" y="733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221" name="Graphic 407">
                <a:extLst>
                  <a:ext uri="{FF2B5EF4-FFF2-40B4-BE49-F238E27FC236}">
                    <a16:creationId xmlns:a16="http://schemas.microsoft.com/office/drawing/2014/main" id="{2103372E-19DE-46AD-9085-6CE3632CEA47}"/>
                  </a:ext>
                </a:extLst>
              </p:cNvPr>
              <p:cNvGrpSpPr/>
              <p:nvPr/>
            </p:nvGrpSpPr>
            <p:grpSpPr>
              <a:xfrm>
                <a:off x="5429272" y="3033696"/>
                <a:ext cx="201993" cy="202126"/>
                <a:chOff x="5429272" y="3033696"/>
                <a:chExt cx="201993" cy="202126"/>
              </a:xfrm>
              <a:solidFill>
                <a:srgbClr val="A1ABB2"/>
              </a:solidFill>
            </p:grpSpPr>
            <p:sp>
              <p:nvSpPr>
                <p:cNvPr id="222" name="Freeform: Shape 221">
                  <a:extLst>
                    <a:ext uri="{FF2B5EF4-FFF2-40B4-BE49-F238E27FC236}">
                      <a16:creationId xmlns:a16="http://schemas.microsoft.com/office/drawing/2014/main" id="{82963F34-0058-45B2-84E4-B0F84E72BCC8}"/>
                    </a:ext>
                  </a:extLst>
                </p:cNvPr>
                <p:cNvSpPr/>
                <p:nvPr/>
              </p:nvSpPr>
              <p:spPr>
                <a:xfrm>
                  <a:off x="5549807" y="3071876"/>
                  <a:ext cx="81458" cy="125926"/>
                </a:xfrm>
                <a:custGeom>
                  <a:avLst/>
                  <a:gdLst>
                    <a:gd name="connsiteX0" fmla="*/ 45273 w 81458"/>
                    <a:gd name="connsiteY0" fmla="*/ 64800 h 125926"/>
                    <a:gd name="connsiteX1" fmla="*/ 76800 w 81458"/>
                    <a:gd name="connsiteY1" fmla="*/ 31272 h 125926"/>
                    <a:gd name="connsiteX2" fmla="*/ 75562 w 81458"/>
                    <a:gd name="connsiteY2" fmla="*/ 5174 h 125926"/>
                    <a:gd name="connsiteX3" fmla="*/ 50130 w 81458"/>
                    <a:gd name="connsiteY3" fmla="*/ 4698 h 125926"/>
                    <a:gd name="connsiteX4" fmla="*/ 17650 w 81458"/>
                    <a:gd name="connsiteY4" fmla="*/ 37654 h 125926"/>
                    <a:gd name="connsiteX5" fmla="*/ 3744 w 81458"/>
                    <a:gd name="connsiteY5" fmla="*/ 52894 h 125926"/>
                    <a:gd name="connsiteX6" fmla="*/ 5172 w 81458"/>
                    <a:gd name="connsiteY6" fmla="*/ 75945 h 125926"/>
                    <a:gd name="connsiteX7" fmla="*/ 49654 w 81458"/>
                    <a:gd name="connsiteY7" fmla="*/ 120426 h 125926"/>
                    <a:gd name="connsiteX8" fmla="*/ 75562 w 81458"/>
                    <a:gd name="connsiteY8" fmla="*/ 120712 h 125926"/>
                    <a:gd name="connsiteX9" fmla="*/ 75372 w 81458"/>
                    <a:gd name="connsiteY9" fmla="*/ 94137 h 125926"/>
                    <a:gd name="connsiteX10" fmla="*/ 45368 w 81458"/>
                    <a:gd name="connsiteY10" fmla="*/ 64800 h 125926"/>
                    <a:gd name="connsiteX11" fmla="*/ 45368 w 81458"/>
                    <a:gd name="connsiteY11" fmla="*/ 64800 h 12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458" h="125926">
                      <a:moveTo>
                        <a:pt x="45273" y="64800"/>
                      </a:moveTo>
                      <a:cubicBezTo>
                        <a:pt x="56703" y="52799"/>
                        <a:pt x="71371" y="37559"/>
                        <a:pt x="76800" y="31272"/>
                      </a:cubicBezTo>
                      <a:cubicBezTo>
                        <a:pt x="83563" y="23367"/>
                        <a:pt x="82801" y="12222"/>
                        <a:pt x="75562" y="5174"/>
                      </a:cubicBezTo>
                      <a:cubicBezTo>
                        <a:pt x="68895" y="-1398"/>
                        <a:pt x="57560" y="-1875"/>
                        <a:pt x="50130" y="4698"/>
                      </a:cubicBezTo>
                      <a:cubicBezTo>
                        <a:pt x="45177" y="9079"/>
                        <a:pt x="21746" y="32511"/>
                        <a:pt x="17650" y="37654"/>
                      </a:cubicBezTo>
                      <a:cubicBezTo>
                        <a:pt x="13078" y="42512"/>
                        <a:pt x="9078" y="46227"/>
                        <a:pt x="3744" y="52894"/>
                      </a:cubicBezTo>
                      <a:cubicBezTo>
                        <a:pt x="-1686" y="59752"/>
                        <a:pt x="-1209" y="69372"/>
                        <a:pt x="5172" y="75945"/>
                      </a:cubicBezTo>
                      <a:cubicBezTo>
                        <a:pt x="19746" y="90994"/>
                        <a:pt x="34509" y="105853"/>
                        <a:pt x="49654" y="120426"/>
                      </a:cubicBezTo>
                      <a:cubicBezTo>
                        <a:pt x="57369" y="127856"/>
                        <a:pt x="68514" y="127570"/>
                        <a:pt x="75562" y="120712"/>
                      </a:cubicBezTo>
                      <a:cubicBezTo>
                        <a:pt x="82896" y="113568"/>
                        <a:pt x="82992" y="102138"/>
                        <a:pt x="75372" y="94137"/>
                      </a:cubicBezTo>
                      <a:lnTo>
                        <a:pt x="45368" y="64800"/>
                      </a:lnTo>
                      <a:lnTo>
                        <a:pt x="45368" y="6480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23" name="Freeform: Shape 222">
                  <a:extLst>
                    <a:ext uri="{FF2B5EF4-FFF2-40B4-BE49-F238E27FC236}">
                      <a16:creationId xmlns:a16="http://schemas.microsoft.com/office/drawing/2014/main" id="{D4E40B4F-0F6B-48FD-A674-8058483C5A1F}"/>
                    </a:ext>
                  </a:extLst>
                </p:cNvPr>
                <p:cNvSpPr/>
                <p:nvPr/>
              </p:nvSpPr>
              <p:spPr>
                <a:xfrm>
                  <a:off x="5467469" y="3033696"/>
                  <a:ext cx="125926" cy="81545"/>
                </a:xfrm>
                <a:custGeom>
                  <a:avLst/>
                  <a:gdLst>
                    <a:gd name="connsiteX0" fmla="*/ 120753 w 125926"/>
                    <a:gd name="connsiteY0" fmla="*/ 5825 h 81545"/>
                    <a:gd name="connsiteX1" fmla="*/ 94655 w 125926"/>
                    <a:gd name="connsiteY1" fmla="*/ 4587 h 81545"/>
                    <a:gd name="connsiteX2" fmla="*/ 61127 w 125926"/>
                    <a:gd name="connsiteY2" fmla="*/ 36115 h 81545"/>
                    <a:gd name="connsiteX3" fmla="*/ 31790 w 125926"/>
                    <a:gd name="connsiteY3" fmla="*/ 6206 h 81545"/>
                    <a:gd name="connsiteX4" fmla="*/ 5215 w 125926"/>
                    <a:gd name="connsiteY4" fmla="*/ 6016 h 81545"/>
                    <a:gd name="connsiteX5" fmla="*/ 5501 w 125926"/>
                    <a:gd name="connsiteY5" fmla="*/ 31924 h 81545"/>
                    <a:gd name="connsiteX6" fmla="*/ 49982 w 125926"/>
                    <a:gd name="connsiteY6" fmla="*/ 76406 h 81545"/>
                    <a:gd name="connsiteX7" fmla="*/ 73033 w 125926"/>
                    <a:gd name="connsiteY7" fmla="*/ 77834 h 81545"/>
                    <a:gd name="connsiteX8" fmla="*/ 88273 w 125926"/>
                    <a:gd name="connsiteY8" fmla="*/ 63928 h 81545"/>
                    <a:gd name="connsiteX9" fmla="*/ 121229 w 125926"/>
                    <a:gd name="connsiteY9" fmla="*/ 31448 h 81545"/>
                    <a:gd name="connsiteX10" fmla="*/ 120753 w 125926"/>
                    <a:gd name="connsiteY10" fmla="*/ 6016 h 81545"/>
                    <a:gd name="connsiteX11" fmla="*/ 120753 w 125926"/>
                    <a:gd name="connsiteY11" fmla="*/ 6016 h 81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6" h="81545">
                      <a:moveTo>
                        <a:pt x="120753" y="5825"/>
                      </a:moveTo>
                      <a:cubicBezTo>
                        <a:pt x="113705" y="-1318"/>
                        <a:pt x="102560" y="-2080"/>
                        <a:pt x="94655" y="4587"/>
                      </a:cubicBezTo>
                      <a:cubicBezTo>
                        <a:pt x="88368" y="9921"/>
                        <a:pt x="73128" y="24685"/>
                        <a:pt x="61127" y="36115"/>
                      </a:cubicBezTo>
                      <a:lnTo>
                        <a:pt x="31790" y="6206"/>
                      </a:lnTo>
                      <a:cubicBezTo>
                        <a:pt x="23789" y="-1414"/>
                        <a:pt x="12359" y="-1318"/>
                        <a:pt x="5215" y="6016"/>
                      </a:cubicBezTo>
                      <a:cubicBezTo>
                        <a:pt x="-1643" y="13064"/>
                        <a:pt x="-1929" y="24209"/>
                        <a:pt x="5501" y="31924"/>
                      </a:cubicBezTo>
                      <a:cubicBezTo>
                        <a:pt x="20074" y="46973"/>
                        <a:pt x="34933" y="61832"/>
                        <a:pt x="49982" y="76406"/>
                      </a:cubicBezTo>
                      <a:cubicBezTo>
                        <a:pt x="56459" y="82692"/>
                        <a:pt x="66175" y="83264"/>
                        <a:pt x="73033" y="77834"/>
                      </a:cubicBezTo>
                      <a:cubicBezTo>
                        <a:pt x="79700" y="72500"/>
                        <a:pt x="83415" y="68500"/>
                        <a:pt x="88273" y="63928"/>
                      </a:cubicBezTo>
                      <a:cubicBezTo>
                        <a:pt x="93416" y="59832"/>
                        <a:pt x="116848" y="36305"/>
                        <a:pt x="121229" y="31448"/>
                      </a:cubicBezTo>
                      <a:cubicBezTo>
                        <a:pt x="127802" y="24018"/>
                        <a:pt x="127325" y="12683"/>
                        <a:pt x="120753" y="6016"/>
                      </a:cubicBezTo>
                      <a:lnTo>
                        <a:pt x="120753" y="601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24" name="Freeform: Shape 223">
                  <a:extLst>
                    <a:ext uri="{FF2B5EF4-FFF2-40B4-BE49-F238E27FC236}">
                      <a16:creationId xmlns:a16="http://schemas.microsoft.com/office/drawing/2014/main" id="{61FC4825-E958-4373-B228-472A62B331F0}"/>
                    </a:ext>
                  </a:extLst>
                </p:cNvPr>
                <p:cNvSpPr/>
                <p:nvPr/>
              </p:nvSpPr>
              <p:spPr>
                <a:xfrm>
                  <a:off x="5467469" y="3154269"/>
                  <a:ext cx="125926" cy="81553"/>
                </a:xfrm>
                <a:custGeom>
                  <a:avLst/>
                  <a:gdLst>
                    <a:gd name="connsiteX0" fmla="*/ 121229 w 125926"/>
                    <a:gd name="connsiteY0" fmla="*/ 50130 h 81553"/>
                    <a:gd name="connsiteX1" fmla="*/ 88273 w 125926"/>
                    <a:gd name="connsiteY1" fmla="*/ 17650 h 81553"/>
                    <a:gd name="connsiteX2" fmla="*/ 73033 w 125926"/>
                    <a:gd name="connsiteY2" fmla="*/ 3744 h 81553"/>
                    <a:gd name="connsiteX3" fmla="*/ 49982 w 125926"/>
                    <a:gd name="connsiteY3" fmla="*/ 5172 h 81553"/>
                    <a:gd name="connsiteX4" fmla="*/ 5501 w 125926"/>
                    <a:gd name="connsiteY4" fmla="*/ 49654 h 81553"/>
                    <a:gd name="connsiteX5" fmla="*/ 5215 w 125926"/>
                    <a:gd name="connsiteY5" fmla="*/ 75562 h 81553"/>
                    <a:gd name="connsiteX6" fmla="*/ 31790 w 125926"/>
                    <a:gd name="connsiteY6" fmla="*/ 75372 h 81553"/>
                    <a:gd name="connsiteX7" fmla="*/ 61127 w 125926"/>
                    <a:gd name="connsiteY7" fmla="*/ 45368 h 81553"/>
                    <a:gd name="connsiteX8" fmla="*/ 94655 w 125926"/>
                    <a:gd name="connsiteY8" fmla="*/ 76896 h 81553"/>
                    <a:gd name="connsiteX9" fmla="*/ 120753 w 125926"/>
                    <a:gd name="connsiteY9" fmla="*/ 75657 h 81553"/>
                    <a:gd name="connsiteX10" fmla="*/ 121229 w 125926"/>
                    <a:gd name="connsiteY10" fmla="*/ 50226 h 81553"/>
                    <a:gd name="connsiteX11" fmla="*/ 121229 w 125926"/>
                    <a:gd name="connsiteY11" fmla="*/ 50226 h 8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926" h="81553">
                      <a:moveTo>
                        <a:pt x="121229" y="50130"/>
                      </a:moveTo>
                      <a:cubicBezTo>
                        <a:pt x="116848" y="45177"/>
                        <a:pt x="93416" y="21746"/>
                        <a:pt x="88273" y="17650"/>
                      </a:cubicBezTo>
                      <a:cubicBezTo>
                        <a:pt x="83415" y="13078"/>
                        <a:pt x="79700" y="9078"/>
                        <a:pt x="73033" y="3744"/>
                      </a:cubicBezTo>
                      <a:cubicBezTo>
                        <a:pt x="66175" y="-1686"/>
                        <a:pt x="56555" y="-1209"/>
                        <a:pt x="49982" y="5172"/>
                      </a:cubicBezTo>
                      <a:cubicBezTo>
                        <a:pt x="34933" y="19746"/>
                        <a:pt x="20074" y="34509"/>
                        <a:pt x="5501" y="49654"/>
                      </a:cubicBezTo>
                      <a:cubicBezTo>
                        <a:pt x="-1929" y="57369"/>
                        <a:pt x="-1643" y="68514"/>
                        <a:pt x="5215" y="75562"/>
                      </a:cubicBezTo>
                      <a:cubicBezTo>
                        <a:pt x="12359" y="82896"/>
                        <a:pt x="23789" y="82992"/>
                        <a:pt x="31790" y="75372"/>
                      </a:cubicBezTo>
                      <a:lnTo>
                        <a:pt x="61127" y="45368"/>
                      </a:lnTo>
                      <a:cubicBezTo>
                        <a:pt x="73128" y="56798"/>
                        <a:pt x="88368" y="71466"/>
                        <a:pt x="94655" y="76896"/>
                      </a:cubicBezTo>
                      <a:cubicBezTo>
                        <a:pt x="102560" y="83658"/>
                        <a:pt x="113705" y="82896"/>
                        <a:pt x="120753" y="75657"/>
                      </a:cubicBezTo>
                      <a:cubicBezTo>
                        <a:pt x="127325" y="68990"/>
                        <a:pt x="127802" y="57655"/>
                        <a:pt x="121229" y="50226"/>
                      </a:cubicBezTo>
                      <a:lnTo>
                        <a:pt x="121229" y="5022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25" name="Freeform: Shape 224">
                  <a:extLst>
                    <a:ext uri="{FF2B5EF4-FFF2-40B4-BE49-F238E27FC236}">
                      <a16:creationId xmlns:a16="http://schemas.microsoft.com/office/drawing/2014/main" id="{D82101B9-A1CB-49E3-A370-A72CE6E69789}"/>
                    </a:ext>
                  </a:extLst>
                </p:cNvPr>
                <p:cNvSpPr/>
                <p:nvPr/>
              </p:nvSpPr>
              <p:spPr>
                <a:xfrm>
                  <a:off x="5429272" y="3072580"/>
                  <a:ext cx="80650" cy="124675"/>
                </a:xfrm>
                <a:custGeom>
                  <a:avLst/>
                  <a:gdLst>
                    <a:gd name="connsiteX0" fmla="*/ 76939 w 80650"/>
                    <a:gd name="connsiteY0" fmla="*/ 52381 h 124675"/>
                    <a:gd name="connsiteX1" fmla="*/ 63128 w 80650"/>
                    <a:gd name="connsiteY1" fmla="*/ 37236 h 124675"/>
                    <a:gd name="connsiteX2" fmla="*/ 30933 w 80650"/>
                    <a:gd name="connsiteY2" fmla="*/ 4661 h 124675"/>
                    <a:gd name="connsiteX3" fmla="*/ 5787 w 80650"/>
                    <a:gd name="connsiteY3" fmla="*/ 5137 h 124675"/>
                    <a:gd name="connsiteX4" fmla="*/ 4549 w 80650"/>
                    <a:gd name="connsiteY4" fmla="*/ 30950 h 124675"/>
                    <a:gd name="connsiteX5" fmla="*/ 35696 w 80650"/>
                    <a:gd name="connsiteY5" fmla="*/ 64097 h 124675"/>
                    <a:gd name="connsiteX6" fmla="*/ 6073 w 80650"/>
                    <a:gd name="connsiteY6" fmla="*/ 93148 h 124675"/>
                    <a:gd name="connsiteX7" fmla="*/ 5883 w 80650"/>
                    <a:gd name="connsiteY7" fmla="*/ 119532 h 124675"/>
                    <a:gd name="connsiteX8" fmla="*/ 31505 w 80650"/>
                    <a:gd name="connsiteY8" fmla="*/ 119246 h 124675"/>
                    <a:gd name="connsiteX9" fmla="*/ 75510 w 80650"/>
                    <a:gd name="connsiteY9" fmla="*/ 75241 h 124675"/>
                    <a:gd name="connsiteX10" fmla="*/ 76939 w 80650"/>
                    <a:gd name="connsiteY10" fmla="*/ 52381 h 124675"/>
                    <a:gd name="connsiteX11" fmla="*/ 76939 w 80650"/>
                    <a:gd name="connsiteY11" fmla="*/ 52381 h 12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650" h="124675">
                      <a:moveTo>
                        <a:pt x="76939" y="52381"/>
                      </a:moveTo>
                      <a:cubicBezTo>
                        <a:pt x="71605" y="45713"/>
                        <a:pt x="67700" y="42094"/>
                        <a:pt x="63128" y="37236"/>
                      </a:cubicBezTo>
                      <a:cubicBezTo>
                        <a:pt x="59032" y="32188"/>
                        <a:pt x="35791" y="8947"/>
                        <a:pt x="30933" y="4661"/>
                      </a:cubicBezTo>
                      <a:cubicBezTo>
                        <a:pt x="23504" y="-1816"/>
                        <a:pt x="12360" y="-1435"/>
                        <a:pt x="5787" y="5137"/>
                      </a:cubicBezTo>
                      <a:cubicBezTo>
                        <a:pt x="-1356" y="12090"/>
                        <a:pt x="-2023" y="23234"/>
                        <a:pt x="4549" y="30950"/>
                      </a:cubicBezTo>
                      <a:cubicBezTo>
                        <a:pt x="9883" y="37141"/>
                        <a:pt x="24456" y="52286"/>
                        <a:pt x="35696" y="64097"/>
                      </a:cubicBezTo>
                      <a:lnTo>
                        <a:pt x="6073" y="93148"/>
                      </a:lnTo>
                      <a:cubicBezTo>
                        <a:pt x="-1547" y="101149"/>
                        <a:pt x="-1356" y="112388"/>
                        <a:pt x="5883" y="119532"/>
                      </a:cubicBezTo>
                      <a:cubicBezTo>
                        <a:pt x="12836" y="126295"/>
                        <a:pt x="23885" y="126581"/>
                        <a:pt x="31505" y="119246"/>
                      </a:cubicBezTo>
                      <a:cubicBezTo>
                        <a:pt x="46459" y="104864"/>
                        <a:pt x="61128" y="90100"/>
                        <a:pt x="75510" y="75241"/>
                      </a:cubicBezTo>
                      <a:cubicBezTo>
                        <a:pt x="81797" y="68764"/>
                        <a:pt x="82368" y="59239"/>
                        <a:pt x="76939" y="52381"/>
                      </a:cubicBezTo>
                      <a:lnTo>
                        <a:pt x="76939" y="5238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162" name="Group 161">
              <a:extLst>
                <a:ext uri="{FF2B5EF4-FFF2-40B4-BE49-F238E27FC236}">
                  <a16:creationId xmlns:a16="http://schemas.microsoft.com/office/drawing/2014/main" id="{7A9882CA-9907-40D6-814D-18B6A545FA72}"/>
                </a:ext>
              </a:extLst>
            </p:cNvPr>
            <p:cNvGrpSpPr/>
            <p:nvPr userDrawn="1"/>
          </p:nvGrpSpPr>
          <p:grpSpPr>
            <a:xfrm>
              <a:off x="6627137" y="2322553"/>
              <a:ext cx="513747" cy="200972"/>
              <a:chOff x="5734050" y="3286125"/>
              <a:chExt cx="722185" cy="282511"/>
            </a:xfrm>
          </p:grpSpPr>
          <p:sp>
            <p:nvSpPr>
              <p:cNvPr id="204" name="Freeform: Shape 203">
                <a:extLst>
                  <a:ext uri="{FF2B5EF4-FFF2-40B4-BE49-F238E27FC236}">
                    <a16:creationId xmlns:a16="http://schemas.microsoft.com/office/drawing/2014/main" id="{2EFFD9EA-3FA8-49F7-A5B7-95DF0CE48B39}"/>
                  </a:ext>
                </a:extLst>
              </p:cNvPr>
              <p:cNvSpPr/>
              <p:nvPr/>
            </p:nvSpPr>
            <p:spPr>
              <a:xfrm>
                <a:off x="5824728" y="3286125"/>
                <a:ext cx="57054" cy="56959"/>
              </a:xfrm>
              <a:custGeom>
                <a:avLst/>
                <a:gdLst>
                  <a:gd name="connsiteX0" fmla="*/ 0 w 57054"/>
                  <a:gd name="connsiteY0" fmla="*/ 28480 h 56959"/>
                  <a:gd name="connsiteX1" fmla="*/ 28575 w 57054"/>
                  <a:gd name="connsiteY1" fmla="*/ 0 h 56959"/>
                  <a:gd name="connsiteX2" fmla="*/ 57055 w 57054"/>
                  <a:gd name="connsiteY2" fmla="*/ 28480 h 56959"/>
                  <a:gd name="connsiteX3" fmla="*/ 28575 w 57054"/>
                  <a:gd name="connsiteY3" fmla="*/ 56960 h 56959"/>
                  <a:gd name="connsiteX4" fmla="*/ 95 w 57054"/>
                  <a:gd name="connsiteY4" fmla="*/ 28480 h 56959"/>
                  <a:gd name="connsiteX5" fmla="*/ 95 w 57054"/>
                  <a:gd name="connsiteY5" fmla="*/ 28480 h 56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54" h="56959">
                    <a:moveTo>
                      <a:pt x="0" y="28480"/>
                    </a:moveTo>
                    <a:cubicBezTo>
                      <a:pt x="0" y="12764"/>
                      <a:pt x="12763" y="0"/>
                      <a:pt x="28575" y="0"/>
                    </a:cubicBezTo>
                    <a:cubicBezTo>
                      <a:pt x="44387" y="0"/>
                      <a:pt x="57055" y="12764"/>
                      <a:pt x="57055" y="28480"/>
                    </a:cubicBezTo>
                    <a:cubicBezTo>
                      <a:pt x="57055" y="44196"/>
                      <a:pt x="44291" y="56960"/>
                      <a:pt x="28575" y="56960"/>
                    </a:cubicBezTo>
                    <a:cubicBezTo>
                      <a:pt x="12859" y="56960"/>
                      <a:pt x="95" y="44196"/>
                      <a:pt x="95" y="28480"/>
                    </a:cubicBezTo>
                    <a:lnTo>
                      <a:pt x="95" y="2848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5" name="Freeform: Shape 204">
                <a:extLst>
                  <a:ext uri="{FF2B5EF4-FFF2-40B4-BE49-F238E27FC236}">
                    <a16:creationId xmlns:a16="http://schemas.microsoft.com/office/drawing/2014/main" id="{2D032704-844D-4354-B93D-72041F85580F}"/>
                  </a:ext>
                </a:extLst>
              </p:cNvPr>
              <p:cNvSpPr/>
              <p:nvPr/>
            </p:nvSpPr>
            <p:spPr>
              <a:xfrm>
                <a:off x="5906261" y="3363182"/>
                <a:ext cx="126015" cy="194405"/>
              </a:xfrm>
              <a:custGeom>
                <a:avLst/>
                <a:gdLst>
                  <a:gd name="connsiteX0" fmla="*/ 34576 w 126015"/>
                  <a:gd name="connsiteY0" fmla="*/ 0 h 194405"/>
                  <a:gd name="connsiteX1" fmla="*/ 34576 w 126015"/>
                  <a:gd name="connsiteY1" fmla="*/ 129254 h 194405"/>
                  <a:gd name="connsiteX2" fmla="*/ 62865 w 126015"/>
                  <a:gd name="connsiteY2" fmla="*/ 160782 h 194405"/>
                  <a:gd name="connsiteX3" fmla="*/ 91440 w 126015"/>
                  <a:gd name="connsiteY3" fmla="*/ 126682 h 194405"/>
                  <a:gd name="connsiteX4" fmla="*/ 91440 w 126015"/>
                  <a:gd name="connsiteY4" fmla="*/ 0 h 194405"/>
                  <a:gd name="connsiteX5" fmla="*/ 126016 w 126015"/>
                  <a:gd name="connsiteY5" fmla="*/ 0 h 194405"/>
                  <a:gd name="connsiteX6" fmla="*/ 126016 w 126015"/>
                  <a:gd name="connsiteY6" fmla="*/ 126206 h 194405"/>
                  <a:gd name="connsiteX7" fmla="*/ 107061 w 126015"/>
                  <a:gd name="connsiteY7" fmla="*/ 175736 h 194405"/>
                  <a:gd name="connsiteX8" fmla="*/ 63151 w 126015"/>
                  <a:gd name="connsiteY8" fmla="*/ 194405 h 194405"/>
                  <a:gd name="connsiteX9" fmla="*/ 17431 w 126015"/>
                  <a:gd name="connsiteY9" fmla="*/ 174212 h 194405"/>
                  <a:gd name="connsiteX10" fmla="*/ 0 w 126015"/>
                  <a:gd name="connsiteY10" fmla="*/ 125254 h 194405"/>
                  <a:gd name="connsiteX11" fmla="*/ 0 w 126015"/>
                  <a:gd name="connsiteY11" fmla="*/ 0 h 194405"/>
                  <a:gd name="connsiteX12" fmla="*/ 34576 w 126015"/>
                  <a:gd name="connsiteY12" fmla="*/ 0 h 19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4405">
                    <a:moveTo>
                      <a:pt x="34576" y="0"/>
                    </a:moveTo>
                    <a:lnTo>
                      <a:pt x="34576" y="129254"/>
                    </a:lnTo>
                    <a:cubicBezTo>
                      <a:pt x="34576" y="145447"/>
                      <a:pt x="45910" y="160782"/>
                      <a:pt x="62865" y="160782"/>
                    </a:cubicBezTo>
                    <a:cubicBezTo>
                      <a:pt x="80772" y="160782"/>
                      <a:pt x="91440" y="145352"/>
                      <a:pt x="91440" y="126682"/>
                    </a:cubicBezTo>
                    <a:lnTo>
                      <a:pt x="91440" y="0"/>
                    </a:lnTo>
                    <a:lnTo>
                      <a:pt x="126016" y="0"/>
                    </a:lnTo>
                    <a:lnTo>
                      <a:pt x="126016" y="126206"/>
                    </a:lnTo>
                    <a:cubicBezTo>
                      <a:pt x="126016" y="145161"/>
                      <a:pt x="120206" y="164878"/>
                      <a:pt x="107061" y="175736"/>
                    </a:cubicBezTo>
                    <a:cubicBezTo>
                      <a:pt x="94964" y="185833"/>
                      <a:pt x="81344" y="194405"/>
                      <a:pt x="63151" y="194405"/>
                    </a:cubicBezTo>
                    <a:cubicBezTo>
                      <a:pt x="43244" y="194405"/>
                      <a:pt x="26289" y="183071"/>
                      <a:pt x="17431" y="174212"/>
                    </a:cubicBezTo>
                    <a:cubicBezTo>
                      <a:pt x="3810" y="160592"/>
                      <a:pt x="0" y="143637"/>
                      <a:pt x="0" y="125254"/>
                    </a:cubicBezTo>
                    <a:lnTo>
                      <a:pt x="0" y="0"/>
                    </a:lnTo>
                    <a:lnTo>
                      <a:pt x="3457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6" name="Freeform: Shape 205">
                <a:extLst>
                  <a:ext uri="{FF2B5EF4-FFF2-40B4-BE49-F238E27FC236}">
                    <a16:creationId xmlns:a16="http://schemas.microsoft.com/office/drawing/2014/main" id="{B541A904-858A-4258-9B85-82DE67309FDE}"/>
                  </a:ext>
                </a:extLst>
              </p:cNvPr>
              <p:cNvSpPr/>
              <p:nvPr/>
            </p:nvSpPr>
            <p:spPr>
              <a:xfrm>
                <a:off x="5895213" y="3352133"/>
                <a:ext cx="148018" cy="216503"/>
              </a:xfrm>
              <a:custGeom>
                <a:avLst/>
                <a:gdLst>
                  <a:gd name="connsiteX0" fmla="*/ 22098 w 148018"/>
                  <a:gd name="connsiteY0" fmla="*/ 22098 h 216503"/>
                  <a:gd name="connsiteX1" fmla="*/ 22098 w 148018"/>
                  <a:gd name="connsiteY1" fmla="*/ 136303 h 216503"/>
                  <a:gd name="connsiteX2" fmla="*/ 36290 w 148018"/>
                  <a:gd name="connsiteY2" fmla="*/ 177451 h 216503"/>
                  <a:gd name="connsiteX3" fmla="*/ 74200 w 148018"/>
                  <a:gd name="connsiteY3" fmla="*/ 194405 h 216503"/>
                  <a:gd name="connsiteX4" fmla="*/ 111062 w 148018"/>
                  <a:gd name="connsiteY4" fmla="*/ 178308 h 216503"/>
                  <a:gd name="connsiteX5" fmla="*/ 126016 w 148018"/>
                  <a:gd name="connsiteY5" fmla="*/ 137351 h 216503"/>
                  <a:gd name="connsiteX6" fmla="*/ 126016 w 148018"/>
                  <a:gd name="connsiteY6" fmla="*/ 22098 h 216503"/>
                  <a:gd name="connsiteX7" fmla="*/ 113538 w 148018"/>
                  <a:gd name="connsiteY7" fmla="*/ 22098 h 216503"/>
                  <a:gd name="connsiteX8" fmla="*/ 113538 w 148018"/>
                  <a:gd name="connsiteY8" fmla="*/ 137827 h 216503"/>
                  <a:gd name="connsiteX9" fmla="*/ 73914 w 148018"/>
                  <a:gd name="connsiteY9" fmla="*/ 182975 h 216503"/>
                  <a:gd name="connsiteX10" fmla="*/ 34576 w 148018"/>
                  <a:gd name="connsiteY10" fmla="*/ 140399 h 216503"/>
                  <a:gd name="connsiteX11" fmla="*/ 34576 w 148018"/>
                  <a:gd name="connsiteY11" fmla="*/ 22098 h 216503"/>
                  <a:gd name="connsiteX12" fmla="*/ 22098 w 148018"/>
                  <a:gd name="connsiteY12" fmla="*/ 22098 h 216503"/>
                  <a:gd name="connsiteX13" fmla="*/ 74200 w 148018"/>
                  <a:gd name="connsiteY13" fmla="*/ 216503 h 216503"/>
                  <a:gd name="connsiteX14" fmla="*/ 20669 w 148018"/>
                  <a:gd name="connsiteY14" fmla="*/ 193072 h 216503"/>
                  <a:gd name="connsiteX15" fmla="*/ 0 w 148018"/>
                  <a:gd name="connsiteY15" fmla="*/ 136303 h 216503"/>
                  <a:gd name="connsiteX16" fmla="*/ 0 w 148018"/>
                  <a:gd name="connsiteY16" fmla="*/ 0 h 216503"/>
                  <a:gd name="connsiteX17" fmla="*/ 56674 w 148018"/>
                  <a:gd name="connsiteY17" fmla="*/ 0 h 216503"/>
                  <a:gd name="connsiteX18" fmla="*/ 56674 w 148018"/>
                  <a:gd name="connsiteY18" fmla="*/ 140303 h 216503"/>
                  <a:gd name="connsiteX19" fmla="*/ 73914 w 148018"/>
                  <a:gd name="connsiteY19" fmla="*/ 160782 h 216503"/>
                  <a:gd name="connsiteX20" fmla="*/ 91345 w 148018"/>
                  <a:gd name="connsiteY20" fmla="*/ 137732 h 216503"/>
                  <a:gd name="connsiteX21" fmla="*/ 91345 w 148018"/>
                  <a:gd name="connsiteY21" fmla="*/ 0 h 216503"/>
                  <a:gd name="connsiteX22" fmla="*/ 148018 w 148018"/>
                  <a:gd name="connsiteY22" fmla="*/ 0 h 216503"/>
                  <a:gd name="connsiteX23" fmla="*/ 148018 w 148018"/>
                  <a:gd name="connsiteY23" fmla="*/ 137255 h 216503"/>
                  <a:gd name="connsiteX24" fmla="*/ 125063 w 148018"/>
                  <a:gd name="connsiteY24" fmla="*/ 195263 h 216503"/>
                  <a:gd name="connsiteX25" fmla="*/ 74105 w 148018"/>
                  <a:gd name="connsiteY25" fmla="*/ 216503 h 216503"/>
                  <a:gd name="connsiteX26" fmla="*/ 74105 w 148018"/>
                  <a:gd name="connsiteY26" fmla="*/ 216503 h 2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8018" h="216503">
                    <a:moveTo>
                      <a:pt x="22098" y="22098"/>
                    </a:moveTo>
                    <a:lnTo>
                      <a:pt x="22098" y="136303"/>
                    </a:lnTo>
                    <a:cubicBezTo>
                      <a:pt x="22098" y="154972"/>
                      <a:pt x="26480" y="167640"/>
                      <a:pt x="36290" y="177451"/>
                    </a:cubicBezTo>
                    <a:cubicBezTo>
                      <a:pt x="44482" y="185642"/>
                      <a:pt x="58769" y="194405"/>
                      <a:pt x="74200" y="194405"/>
                    </a:cubicBezTo>
                    <a:cubicBezTo>
                      <a:pt x="89630" y="194405"/>
                      <a:pt x="100965" y="186690"/>
                      <a:pt x="111062" y="178308"/>
                    </a:cubicBezTo>
                    <a:cubicBezTo>
                      <a:pt x="120396" y="170593"/>
                      <a:pt x="126016" y="155258"/>
                      <a:pt x="126016" y="137351"/>
                    </a:cubicBezTo>
                    <a:lnTo>
                      <a:pt x="126016" y="22098"/>
                    </a:lnTo>
                    <a:lnTo>
                      <a:pt x="113538" y="22098"/>
                    </a:lnTo>
                    <a:lnTo>
                      <a:pt x="113538" y="137827"/>
                    </a:lnTo>
                    <a:cubicBezTo>
                      <a:pt x="113538" y="164021"/>
                      <a:pt x="96869" y="182975"/>
                      <a:pt x="73914" y="182975"/>
                    </a:cubicBezTo>
                    <a:cubicBezTo>
                      <a:pt x="52197" y="182975"/>
                      <a:pt x="34576" y="163830"/>
                      <a:pt x="34576" y="140399"/>
                    </a:cubicBezTo>
                    <a:lnTo>
                      <a:pt x="34576" y="22098"/>
                    </a:lnTo>
                    <a:lnTo>
                      <a:pt x="22098" y="22098"/>
                    </a:lnTo>
                    <a:close/>
                    <a:moveTo>
                      <a:pt x="74200" y="216503"/>
                    </a:moveTo>
                    <a:cubicBezTo>
                      <a:pt x="46292" y="216503"/>
                      <a:pt x="26194" y="198596"/>
                      <a:pt x="20669" y="193072"/>
                    </a:cubicBezTo>
                    <a:cubicBezTo>
                      <a:pt x="2191" y="174593"/>
                      <a:pt x="0" y="151829"/>
                      <a:pt x="0" y="136303"/>
                    </a:cubicBezTo>
                    <a:lnTo>
                      <a:pt x="0" y="0"/>
                    </a:lnTo>
                    <a:lnTo>
                      <a:pt x="56674" y="0"/>
                    </a:lnTo>
                    <a:lnTo>
                      <a:pt x="56674" y="140303"/>
                    </a:lnTo>
                    <a:cubicBezTo>
                      <a:pt x="56674" y="150209"/>
                      <a:pt x="63246" y="160782"/>
                      <a:pt x="73914" y="160782"/>
                    </a:cubicBezTo>
                    <a:cubicBezTo>
                      <a:pt x="86011" y="160782"/>
                      <a:pt x="91345" y="149257"/>
                      <a:pt x="91345" y="137732"/>
                    </a:cubicBezTo>
                    <a:lnTo>
                      <a:pt x="91345" y="0"/>
                    </a:lnTo>
                    <a:lnTo>
                      <a:pt x="148018" y="0"/>
                    </a:lnTo>
                    <a:lnTo>
                      <a:pt x="148018" y="137255"/>
                    </a:lnTo>
                    <a:cubicBezTo>
                      <a:pt x="148018" y="162020"/>
                      <a:pt x="139637" y="183166"/>
                      <a:pt x="125063" y="195263"/>
                    </a:cubicBezTo>
                    <a:cubicBezTo>
                      <a:pt x="113252" y="205169"/>
                      <a:pt x="96679" y="216503"/>
                      <a:pt x="74105" y="216503"/>
                    </a:cubicBezTo>
                    <a:lnTo>
                      <a:pt x="74105" y="2165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7" name="Freeform: Shape 206">
                <a:extLst>
                  <a:ext uri="{FF2B5EF4-FFF2-40B4-BE49-F238E27FC236}">
                    <a16:creationId xmlns:a16="http://schemas.microsoft.com/office/drawing/2014/main" id="{DFF559A3-B81E-4D9B-945B-F8142AFA3E44}"/>
                  </a:ext>
                </a:extLst>
              </p:cNvPr>
              <p:cNvSpPr/>
              <p:nvPr/>
            </p:nvSpPr>
            <p:spPr>
              <a:xfrm>
                <a:off x="5745098" y="3363182"/>
                <a:ext cx="126015" cy="194405"/>
              </a:xfrm>
              <a:custGeom>
                <a:avLst/>
                <a:gdLst>
                  <a:gd name="connsiteX0" fmla="*/ 34576 w 126015"/>
                  <a:gd name="connsiteY0" fmla="*/ 123254 h 194405"/>
                  <a:gd name="connsiteX1" fmla="*/ 34576 w 126015"/>
                  <a:gd name="connsiteY1" fmla="*/ 129254 h 194405"/>
                  <a:gd name="connsiteX2" fmla="*/ 62865 w 126015"/>
                  <a:gd name="connsiteY2" fmla="*/ 160782 h 194405"/>
                  <a:gd name="connsiteX3" fmla="*/ 91440 w 126015"/>
                  <a:gd name="connsiteY3" fmla="*/ 126682 h 194405"/>
                  <a:gd name="connsiteX4" fmla="*/ 91440 w 126015"/>
                  <a:gd name="connsiteY4" fmla="*/ 0 h 194405"/>
                  <a:gd name="connsiteX5" fmla="*/ 126016 w 126015"/>
                  <a:gd name="connsiteY5" fmla="*/ 0 h 194405"/>
                  <a:gd name="connsiteX6" fmla="*/ 126016 w 126015"/>
                  <a:gd name="connsiteY6" fmla="*/ 126206 h 194405"/>
                  <a:gd name="connsiteX7" fmla="*/ 107061 w 126015"/>
                  <a:gd name="connsiteY7" fmla="*/ 175736 h 194405"/>
                  <a:gd name="connsiteX8" fmla="*/ 63151 w 126015"/>
                  <a:gd name="connsiteY8" fmla="*/ 194405 h 194405"/>
                  <a:gd name="connsiteX9" fmla="*/ 17431 w 126015"/>
                  <a:gd name="connsiteY9" fmla="*/ 174212 h 194405"/>
                  <a:gd name="connsiteX10" fmla="*/ 0 w 126015"/>
                  <a:gd name="connsiteY10" fmla="*/ 125254 h 194405"/>
                  <a:gd name="connsiteX11" fmla="*/ 0 w 126015"/>
                  <a:gd name="connsiteY11" fmla="*/ 123254 h 194405"/>
                  <a:gd name="connsiteX12" fmla="*/ 34576 w 126015"/>
                  <a:gd name="connsiteY12" fmla="*/ 123254 h 19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4405">
                    <a:moveTo>
                      <a:pt x="34576" y="123254"/>
                    </a:moveTo>
                    <a:lnTo>
                      <a:pt x="34576" y="129254"/>
                    </a:lnTo>
                    <a:cubicBezTo>
                      <a:pt x="34576" y="145447"/>
                      <a:pt x="45911" y="160782"/>
                      <a:pt x="62865" y="160782"/>
                    </a:cubicBezTo>
                    <a:cubicBezTo>
                      <a:pt x="80772" y="160782"/>
                      <a:pt x="91440" y="145352"/>
                      <a:pt x="91440" y="126682"/>
                    </a:cubicBezTo>
                    <a:lnTo>
                      <a:pt x="91440" y="0"/>
                    </a:lnTo>
                    <a:lnTo>
                      <a:pt x="126016" y="0"/>
                    </a:lnTo>
                    <a:lnTo>
                      <a:pt x="126016" y="126206"/>
                    </a:lnTo>
                    <a:cubicBezTo>
                      <a:pt x="126016" y="145161"/>
                      <a:pt x="120206" y="164878"/>
                      <a:pt x="107061" y="175736"/>
                    </a:cubicBezTo>
                    <a:cubicBezTo>
                      <a:pt x="94964" y="185833"/>
                      <a:pt x="81344" y="194405"/>
                      <a:pt x="63151" y="194405"/>
                    </a:cubicBezTo>
                    <a:cubicBezTo>
                      <a:pt x="43244" y="194405"/>
                      <a:pt x="26289" y="183071"/>
                      <a:pt x="17431" y="174212"/>
                    </a:cubicBezTo>
                    <a:cubicBezTo>
                      <a:pt x="3810" y="160592"/>
                      <a:pt x="0" y="143637"/>
                      <a:pt x="0" y="125254"/>
                    </a:cubicBezTo>
                    <a:lnTo>
                      <a:pt x="0" y="123254"/>
                    </a:lnTo>
                    <a:lnTo>
                      <a:pt x="34576" y="12325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8" name="Freeform: Shape 207">
                <a:extLst>
                  <a:ext uri="{FF2B5EF4-FFF2-40B4-BE49-F238E27FC236}">
                    <a16:creationId xmlns:a16="http://schemas.microsoft.com/office/drawing/2014/main" id="{AC7C8176-A139-4C38-92F7-0F6994C80B32}"/>
                  </a:ext>
                </a:extLst>
              </p:cNvPr>
              <p:cNvSpPr/>
              <p:nvPr/>
            </p:nvSpPr>
            <p:spPr>
              <a:xfrm>
                <a:off x="5734050" y="3352133"/>
                <a:ext cx="148018" cy="216503"/>
              </a:xfrm>
              <a:custGeom>
                <a:avLst/>
                <a:gdLst>
                  <a:gd name="connsiteX0" fmla="*/ 22479 w 148018"/>
                  <a:gd name="connsiteY0" fmla="*/ 145352 h 216503"/>
                  <a:gd name="connsiteX1" fmla="*/ 36290 w 148018"/>
                  <a:gd name="connsiteY1" fmla="*/ 177451 h 216503"/>
                  <a:gd name="connsiteX2" fmla="*/ 74200 w 148018"/>
                  <a:gd name="connsiteY2" fmla="*/ 194405 h 216503"/>
                  <a:gd name="connsiteX3" fmla="*/ 111062 w 148018"/>
                  <a:gd name="connsiteY3" fmla="*/ 178308 h 216503"/>
                  <a:gd name="connsiteX4" fmla="*/ 126016 w 148018"/>
                  <a:gd name="connsiteY4" fmla="*/ 137351 h 216503"/>
                  <a:gd name="connsiteX5" fmla="*/ 126016 w 148018"/>
                  <a:gd name="connsiteY5" fmla="*/ 22098 h 216503"/>
                  <a:gd name="connsiteX6" fmla="*/ 113538 w 148018"/>
                  <a:gd name="connsiteY6" fmla="*/ 22098 h 216503"/>
                  <a:gd name="connsiteX7" fmla="*/ 113538 w 148018"/>
                  <a:gd name="connsiteY7" fmla="*/ 137827 h 216503"/>
                  <a:gd name="connsiteX8" fmla="*/ 73914 w 148018"/>
                  <a:gd name="connsiteY8" fmla="*/ 182975 h 216503"/>
                  <a:gd name="connsiteX9" fmla="*/ 34862 w 148018"/>
                  <a:gd name="connsiteY9" fmla="*/ 145447 h 216503"/>
                  <a:gd name="connsiteX10" fmla="*/ 22479 w 148018"/>
                  <a:gd name="connsiteY10" fmla="*/ 145447 h 216503"/>
                  <a:gd name="connsiteX11" fmla="*/ 74200 w 148018"/>
                  <a:gd name="connsiteY11" fmla="*/ 216503 h 216503"/>
                  <a:gd name="connsiteX12" fmla="*/ 20669 w 148018"/>
                  <a:gd name="connsiteY12" fmla="*/ 193072 h 216503"/>
                  <a:gd name="connsiteX13" fmla="*/ 0 w 148018"/>
                  <a:gd name="connsiteY13" fmla="*/ 136303 h 216503"/>
                  <a:gd name="connsiteX14" fmla="*/ 0 w 148018"/>
                  <a:gd name="connsiteY14" fmla="*/ 123254 h 216503"/>
                  <a:gd name="connsiteX15" fmla="*/ 56674 w 148018"/>
                  <a:gd name="connsiteY15" fmla="*/ 123254 h 216503"/>
                  <a:gd name="connsiteX16" fmla="*/ 56674 w 148018"/>
                  <a:gd name="connsiteY16" fmla="*/ 140303 h 216503"/>
                  <a:gd name="connsiteX17" fmla="*/ 73914 w 148018"/>
                  <a:gd name="connsiteY17" fmla="*/ 160782 h 216503"/>
                  <a:gd name="connsiteX18" fmla="*/ 91345 w 148018"/>
                  <a:gd name="connsiteY18" fmla="*/ 137732 h 216503"/>
                  <a:gd name="connsiteX19" fmla="*/ 91345 w 148018"/>
                  <a:gd name="connsiteY19" fmla="*/ 0 h 216503"/>
                  <a:gd name="connsiteX20" fmla="*/ 148019 w 148018"/>
                  <a:gd name="connsiteY20" fmla="*/ 0 h 216503"/>
                  <a:gd name="connsiteX21" fmla="*/ 148019 w 148018"/>
                  <a:gd name="connsiteY21" fmla="*/ 137255 h 216503"/>
                  <a:gd name="connsiteX22" fmla="*/ 125063 w 148018"/>
                  <a:gd name="connsiteY22" fmla="*/ 195263 h 216503"/>
                  <a:gd name="connsiteX23" fmla="*/ 74105 w 148018"/>
                  <a:gd name="connsiteY23" fmla="*/ 216503 h 216503"/>
                  <a:gd name="connsiteX24" fmla="*/ 74105 w 148018"/>
                  <a:gd name="connsiteY24" fmla="*/ 216503 h 216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8018" h="216503">
                    <a:moveTo>
                      <a:pt x="22479" y="145352"/>
                    </a:moveTo>
                    <a:cubicBezTo>
                      <a:pt x="23717" y="159163"/>
                      <a:pt x="28099" y="169259"/>
                      <a:pt x="36290" y="177451"/>
                    </a:cubicBezTo>
                    <a:cubicBezTo>
                      <a:pt x="44482" y="185642"/>
                      <a:pt x="58769" y="194405"/>
                      <a:pt x="74200" y="194405"/>
                    </a:cubicBezTo>
                    <a:cubicBezTo>
                      <a:pt x="89630" y="194405"/>
                      <a:pt x="101060" y="186690"/>
                      <a:pt x="111062" y="178308"/>
                    </a:cubicBezTo>
                    <a:cubicBezTo>
                      <a:pt x="120396" y="170593"/>
                      <a:pt x="126016" y="155258"/>
                      <a:pt x="126016" y="137351"/>
                    </a:cubicBezTo>
                    <a:lnTo>
                      <a:pt x="126016" y="22098"/>
                    </a:lnTo>
                    <a:lnTo>
                      <a:pt x="113538" y="22098"/>
                    </a:lnTo>
                    <a:lnTo>
                      <a:pt x="113538" y="137827"/>
                    </a:lnTo>
                    <a:cubicBezTo>
                      <a:pt x="113538" y="164021"/>
                      <a:pt x="96869" y="182975"/>
                      <a:pt x="73914" y="182975"/>
                    </a:cubicBezTo>
                    <a:cubicBezTo>
                      <a:pt x="53816" y="182975"/>
                      <a:pt x="37148" y="166497"/>
                      <a:pt x="34862" y="145447"/>
                    </a:cubicBezTo>
                    <a:lnTo>
                      <a:pt x="22479" y="145447"/>
                    </a:lnTo>
                    <a:close/>
                    <a:moveTo>
                      <a:pt x="74200" y="216503"/>
                    </a:moveTo>
                    <a:cubicBezTo>
                      <a:pt x="46292" y="216503"/>
                      <a:pt x="26194" y="198596"/>
                      <a:pt x="20669" y="193072"/>
                    </a:cubicBezTo>
                    <a:cubicBezTo>
                      <a:pt x="2191" y="174593"/>
                      <a:pt x="0" y="151829"/>
                      <a:pt x="0" y="136303"/>
                    </a:cubicBezTo>
                    <a:lnTo>
                      <a:pt x="0" y="123254"/>
                    </a:lnTo>
                    <a:lnTo>
                      <a:pt x="56674" y="123254"/>
                    </a:lnTo>
                    <a:lnTo>
                      <a:pt x="56674" y="140303"/>
                    </a:lnTo>
                    <a:cubicBezTo>
                      <a:pt x="56674" y="150209"/>
                      <a:pt x="63246" y="160782"/>
                      <a:pt x="73914" y="160782"/>
                    </a:cubicBezTo>
                    <a:cubicBezTo>
                      <a:pt x="86011" y="160782"/>
                      <a:pt x="91345" y="149257"/>
                      <a:pt x="91345" y="137732"/>
                    </a:cubicBezTo>
                    <a:lnTo>
                      <a:pt x="91345" y="0"/>
                    </a:lnTo>
                    <a:lnTo>
                      <a:pt x="148019" y="0"/>
                    </a:lnTo>
                    <a:lnTo>
                      <a:pt x="148019" y="137255"/>
                    </a:lnTo>
                    <a:cubicBezTo>
                      <a:pt x="148019" y="162020"/>
                      <a:pt x="139637" y="183166"/>
                      <a:pt x="125063" y="195263"/>
                    </a:cubicBezTo>
                    <a:cubicBezTo>
                      <a:pt x="113252" y="205169"/>
                      <a:pt x="96679" y="216503"/>
                      <a:pt x="74105" y="216503"/>
                    </a:cubicBezTo>
                    <a:lnTo>
                      <a:pt x="74105" y="21650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9" name="Freeform: Shape 208">
                <a:extLst>
                  <a:ext uri="{FF2B5EF4-FFF2-40B4-BE49-F238E27FC236}">
                    <a16:creationId xmlns:a16="http://schemas.microsoft.com/office/drawing/2014/main" id="{F7F04CA0-7D2B-454C-BE02-D2A52920471E}"/>
                  </a:ext>
                </a:extLst>
              </p:cNvPr>
              <p:cNvSpPr/>
              <p:nvPr/>
            </p:nvSpPr>
            <p:spPr>
              <a:xfrm>
                <a:off x="6065996" y="3362515"/>
                <a:ext cx="126015" cy="195071"/>
              </a:xfrm>
              <a:custGeom>
                <a:avLst/>
                <a:gdLst>
                  <a:gd name="connsiteX0" fmla="*/ 91440 w 126015"/>
                  <a:gd name="connsiteY0" fmla="*/ 195072 h 195071"/>
                  <a:gd name="connsiteX1" fmla="*/ 91440 w 126015"/>
                  <a:gd name="connsiteY1" fmla="*/ 65151 h 195071"/>
                  <a:gd name="connsiteX2" fmla="*/ 63151 w 126015"/>
                  <a:gd name="connsiteY2" fmla="*/ 33623 h 195071"/>
                  <a:gd name="connsiteX3" fmla="*/ 34576 w 126015"/>
                  <a:gd name="connsiteY3" fmla="*/ 67723 h 195071"/>
                  <a:gd name="connsiteX4" fmla="*/ 34576 w 126015"/>
                  <a:gd name="connsiteY4" fmla="*/ 195072 h 195071"/>
                  <a:gd name="connsiteX5" fmla="*/ 0 w 126015"/>
                  <a:gd name="connsiteY5" fmla="*/ 195072 h 195071"/>
                  <a:gd name="connsiteX6" fmla="*/ 0 w 126015"/>
                  <a:gd name="connsiteY6" fmla="*/ 68199 h 195071"/>
                  <a:gd name="connsiteX7" fmla="*/ 18955 w 126015"/>
                  <a:gd name="connsiteY7" fmla="*/ 18669 h 195071"/>
                  <a:gd name="connsiteX8" fmla="*/ 62865 w 126015"/>
                  <a:gd name="connsiteY8" fmla="*/ 0 h 195071"/>
                  <a:gd name="connsiteX9" fmla="*/ 108585 w 126015"/>
                  <a:gd name="connsiteY9" fmla="*/ 20193 h 195071"/>
                  <a:gd name="connsiteX10" fmla="*/ 126016 w 126015"/>
                  <a:gd name="connsiteY10" fmla="*/ 69151 h 195071"/>
                  <a:gd name="connsiteX11" fmla="*/ 126016 w 126015"/>
                  <a:gd name="connsiteY11" fmla="*/ 194977 h 195071"/>
                  <a:gd name="connsiteX12" fmla="*/ 91440 w 126015"/>
                  <a:gd name="connsiteY12" fmla="*/ 194977 h 1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015" h="195071">
                    <a:moveTo>
                      <a:pt x="91440" y="195072"/>
                    </a:moveTo>
                    <a:lnTo>
                      <a:pt x="91440" y="65151"/>
                    </a:lnTo>
                    <a:cubicBezTo>
                      <a:pt x="91440" y="48958"/>
                      <a:pt x="80105" y="33623"/>
                      <a:pt x="63151" y="33623"/>
                    </a:cubicBezTo>
                    <a:cubicBezTo>
                      <a:pt x="45244" y="33623"/>
                      <a:pt x="34576" y="49054"/>
                      <a:pt x="34576" y="67723"/>
                    </a:cubicBezTo>
                    <a:lnTo>
                      <a:pt x="34576" y="195072"/>
                    </a:lnTo>
                    <a:lnTo>
                      <a:pt x="0" y="195072"/>
                    </a:lnTo>
                    <a:lnTo>
                      <a:pt x="0" y="68199"/>
                    </a:lnTo>
                    <a:cubicBezTo>
                      <a:pt x="0" y="49244"/>
                      <a:pt x="5810" y="29527"/>
                      <a:pt x="18955" y="18669"/>
                    </a:cubicBezTo>
                    <a:cubicBezTo>
                      <a:pt x="31052" y="8572"/>
                      <a:pt x="44672" y="0"/>
                      <a:pt x="62865" y="0"/>
                    </a:cubicBezTo>
                    <a:cubicBezTo>
                      <a:pt x="82772" y="0"/>
                      <a:pt x="99727" y="11335"/>
                      <a:pt x="108585" y="20193"/>
                    </a:cubicBezTo>
                    <a:cubicBezTo>
                      <a:pt x="122206" y="33814"/>
                      <a:pt x="126016" y="50768"/>
                      <a:pt x="126016" y="69151"/>
                    </a:cubicBezTo>
                    <a:lnTo>
                      <a:pt x="126016" y="194977"/>
                    </a:lnTo>
                    <a:lnTo>
                      <a:pt x="91440" y="19497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0" name="Freeform: Shape 209">
                <a:extLst>
                  <a:ext uri="{FF2B5EF4-FFF2-40B4-BE49-F238E27FC236}">
                    <a16:creationId xmlns:a16="http://schemas.microsoft.com/office/drawing/2014/main" id="{1E9D318D-AD64-485A-9675-C1D74E04D735}"/>
                  </a:ext>
                </a:extLst>
              </p:cNvPr>
              <p:cNvSpPr/>
              <p:nvPr/>
            </p:nvSpPr>
            <p:spPr>
              <a:xfrm>
                <a:off x="6054947" y="3351466"/>
                <a:ext cx="148113" cy="217169"/>
              </a:xfrm>
              <a:custGeom>
                <a:avLst/>
                <a:gdLst>
                  <a:gd name="connsiteX0" fmla="*/ 113538 w 148113"/>
                  <a:gd name="connsiteY0" fmla="*/ 195072 h 217169"/>
                  <a:gd name="connsiteX1" fmla="*/ 126016 w 148113"/>
                  <a:gd name="connsiteY1" fmla="*/ 195072 h 217169"/>
                  <a:gd name="connsiteX2" fmla="*/ 126016 w 148113"/>
                  <a:gd name="connsiteY2" fmla="*/ 80296 h 217169"/>
                  <a:gd name="connsiteX3" fmla="*/ 111824 w 148113"/>
                  <a:gd name="connsiteY3" fmla="*/ 39148 h 217169"/>
                  <a:gd name="connsiteX4" fmla="*/ 73914 w 148113"/>
                  <a:gd name="connsiteY4" fmla="*/ 22193 h 217169"/>
                  <a:gd name="connsiteX5" fmla="*/ 37052 w 148113"/>
                  <a:gd name="connsiteY5" fmla="*/ 38291 h 217169"/>
                  <a:gd name="connsiteX6" fmla="*/ 22098 w 148113"/>
                  <a:gd name="connsiteY6" fmla="*/ 79248 h 217169"/>
                  <a:gd name="connsiteX7" fmla="*/ 22098 w 148113"/>
                  <a:gd name="connsiteY7" fmla="*/ 194977 h 217169"/>
                  <a:gd name="connsiteX8" fmla="*/ 34576 w 148113"/>
                  <a:gd name="connsiteY8" fmla="*/ 194977 h 217169"/>
                  <a:gd name="connsiteX9" fmla="*/ 34576 w 148113"/>
                  <a:gd name="connsiteY9" fmla="*/ 78772 h 217169"/>
                  <a:gd name="connsiteX10" fmla="*/ 74200 w 148113"/>
                  <a:gd name="connsiteY10" fmla="*/ 33623 h 217169"/>
                  <a:gd name="connsiteX11" fmla="*/ 113538 w 148113"/>
                  <a:gd name="connsiteY11" fmla="*/ 76200 h 217169"/>
                  <a:gd name="connsiteX12" fmla="*/ 113538 w 148113"/>
                  <a:gd name="connsiteY12" fmla="*/ 194977 h 217169"/>
                  <a:gd name="connsiteX13" fmla="*/ 113538 w 148113"/>
                  <a:gd name="connsiteY13" fmla="*/ 194977 h 217169"/>
                  <a:gd name="connsiteX14" fmla="*/ 148114 w 148113"/>
                  <a:gd name="connsiteY14" fmla="*/ 217170 h 217169"/>
                  <a:gd name="connsiteX15" fmla="*/ 91440 w 148113"/>
                  <a:gd name="connsiteY15" fmla="*/ 217170 h 217169"/>
                  <a:gd name="connsiteX16" fmla="*/ 91440 w 148113"/>
                  <a:gd name="connsiteY16" fmla="*/ 76200 h 217169"/>
                  <a:gd name="connsiteX17" fmla="*/ 74200 w 148113"/>
                  <a:gd name="connsiteY17" fmla="*/ 55721 h 217169"/>
                  <a:gd name="connsiteX18" fmla="*/ 56674 w 148113"/>
                  <a:gd name="connsiteY18" fmla="*/ 78772 h 217169"/>
                  <a:gd name="connsiteX19" fmla="*/ 56674 w 148113"/>
                  <a:gd name="connsiteY19" fmla="*/ 217170 h 217169"/>
                  <a:gd name="connsiteX20" fmla="*/ 0 w 148113"/>
                  <a:gd name="connsiteY20" fmla="*/ 217170 h 217169"/>
                  <a:gd name="connsiteX21" fmla="*/ 0 w 148113"/>
                  <a:gd name="connsiteY21" fmla="*/ 79248 h 217169"/>
                  <a:gd name="connsiteX22" fmla="*/ 22955 w 148113"/>
                  <a:gd name="connsiteY22" fmla="*/ 21241 h 217169"/>
                  <a:gd name="connsiteX23" fmla="*/ 73914 w 148113"/>
                  <a:gd name="connsiteY23" fmla="*/ 0 h 217169"/>
                  <a:gd name="connsiteX24" fmla="*/ 127445 w 148113"/>
                  <a:gd name="connsiteY24" fmla="*/ 23431 h 217169"/>
                  <a:gd name="connsiteX25" fmla="*/ 148114 w 148113"/>
                  <a:gd name="connsiteY25" fmla="*/ 80201 h 217169"/>
                  <a:gd name="connsiteX26" fmla="*/ 148114 w 148113"/>
                  <a:gd name="connsiteY26" fmla="*/ 217075 h 217169"/>
                  <a:gd name="connsiteX27" fmla="*/ 148114 w 148113"/>
                  <a:gd name="connsiteY27" fmla="*/ 217075 h 21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8113" h="217169">
                    <a:moveTo>
                      <a:pt x="113538" y="195072"/>
                    </a:moveTo>
                    <a:lnTo>
                      <a:pt x="126016" y="195072"/>
                    </a:lnTo>
                    <a:lnTo>
                      <a:pt x="126016" y="80296"/>
                    </a:lnTo>
                    <a:cubicBezTo>
                      <a:pt x="126016" y="61627"/>
                      <a:pt x="121634" y="48959"/>
                      <a:pt x="111824" y="39148"/>
                    </a:cubicBezTo>
                    <a:cubicBezTo>
                      <a:pt x="103632" y="30956"/>
                      <a:pt x="89345" y="22193"/>
                      <a:pt x="73914" y="22193"/>
                    </a:cubicBezTo>
                    <a:cubicBezTo>
                      <a:pt x="58484" y="22193"/>
                      <a:pt x="47054" y="29908"/>
                      <a:pt x="37052" y="38291"/>
                    </a:cubicBezTo>
                    <a:cubicBezTo>
                      <a:pt x="27718" y="46006"/>
                      <a:pt x="22098" y="61341"/>
                      <a:pt x="22098" y="79248"/>
                    </a:cubicBezTo>
                    <a:lnTo>
                      <a:pt x="22098" y="194977"/>
                    </a:lnTo>
                    <a:lnTo>
                      <a:pt x="34576" y="194977"/>
                    </a:lnTo>
                    <a:lnTo>
                      <a:pt x="34576" y="78772"/>
                    </a:lnTo>
                    <a:cubicBezTo>
                      <a:pt x="34576" y="52578"/>
                      <a:pt x="51245" y="33623"/>
                      <a:pt x="74200" y="33623"/>
                    </a:cubicBezTo>
                    <a:cubicBezTo>
                      <a:pt x="95917" y="33623"/>
                      <a:pt x="113538" y="52768"/>
                      <a:pt x="113538" y="76200"/>
                    </a:cubicBezTo>
                    <a:lnTo>
                      <a:pt x="113538" y="194977"/>
                    </a:lnTo>
                    <a:lnTo>
                      <a:pt x="113538" y="194977"/>
                    </a:lnTo>
                    <a:close/>
                    <a:moveTo>
                      <a:pt x="148114" y="217170"/>
                    </a:moveTo>
                    <a:lnTo>
                      <a:pt x="91440" y="217170"/>
                    </a:lnTo>
                    <a:lnTo>
                      <a:pt x="91440" y="76200"/>
                    </a:lnTo>
                    <a:cubicBezTo>
                      <a:pt x="91440" y="66294"/>
                      <a:pt x="84868" y="55721"/>
                      <a:pt x="74200" y="55721"/>
                    </a:cubicBezTo>
                    <a:cubicBezTo>
                      <a:pt x="62103" y="55721"/>
                      <a:pt x="56674" y="67247"/>
                      <a:pt x="56674" y="78772"/>
                    </a:cubicBezTo>
                    <a:lnTo>
                      <a:pt x="56674" y="217170"/>
                    </a:lnTo>
                    <a:lnTo>
                      <a:pt x="0" y="217170"/>
                    </a:lnTo>
                    <a:lnTo>
                      <a:pt x="0" y="79248"/>
                    </a:lnTo>
                    <a:cubicBezTo>
                      <a:pt x="0" y="54483"/>
                      <a:pt x="8382" y="33337"/>
                      <a:pt x="22955" y="21241"/>
                    </a:cubicBezTo>
                    <a:cubicBezTo>
                      <a:pt x="34766" y="11335"/>
                      <a:pt x="51340" y="0"/>
                      <a:pt x="73914" y="0"/>
                    </a:cubicBezTo>
                    <a:cubicBezTo>
                      <a:pt x="101822" y="0"/>
                      <a:pt x="121920" y="17907"/>
                      <a:pt x="127445" y="23431"/>
                    </a:cubicBezTo>
                    <a:cubicBezTo>
                      <a:pt x="145923" y="41910"/>
                      <a:pt x="148114" y="64675"/>
                      <a:pt x="148114" y="80201"/>
                    </a:cubicBezTo>
                    <a:lnTo>
                      <a:pt x="148114" y="217075"/>
                    </a:lnTo>
                    <a:lnTo>
                      <a:pt x="148114" y="21707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1" name="Freeform: Shape 210">
                <a:extLst>
                  <a:ext uri="{FF2B5EF4-FFF2-40B4-BE49-F238E27FC236}">
                    <a16:creationId xmlns:a16="http://schemas.microsoft.com/office/drawing/2014/main" id="{F6A26159-CCD1-4CBE-86A7-0E80BF529E07}"/>
                  </a:ext>
                </a:extLst>
              </p:cNvPr>
              <p:cNvSpPr/>
              <p:nvPr/>
            </p:nvSpPr>
            <p:spPr>
              <a:xfrm>
                <a:off x="6224396" y="3362896"/>
                <a:ext cx="194500" cy="194690"/>
              </a:xfrm>
              <a:custGeom>
                <a:avLst/>
                <a:gdLst>
                  <a:gd name="connsiteX0" fmla="*/ 34671 w 194500"/>
                  <a:gd name="connsiteY0" fmla="*/ 96964 h 194690"/>
                  <a:gd name="connsiteX1" fmla="*/ 97536 w 194500"/>
                  <a:gd name="connsiteY1" fmla="*/ 161068 h 194690"/>
                  <a:gd name="connsiteX2" fmla="*/ 159925 w 194500"/>
                  <a:gd name="connsiteY2" fmla="*/ 96679 h 194690"/>
                  <a:gd name="connsiteX3" fmla="*/ 97346 w 194500"/>
                  <a:gd name="connsiteY3" fmla="*/ 33528 h 194690"/>
                  <a:gd name="connsiteX4" fmla="*/ 34766 w 194500"/>
                  <a:gd name="connsiteY4" fmla="*/ 96869 h 194690"/>
                  <a:gd name="connsiteX5" fmla="*/ 34766 w 194500"/>
                  <a:gd name="connsiteY5" fmla="*/ 96869 h 194690"/>
                  <a:gd name="connsiteX6" fmla="*/ 194501 w 194500"/>
                  <a:gd name="connsiteY6" fmla="*/ 97441 h 194690"/>
                  <a:gd name="connsiteX7" fmla="*/ 97250 w 194500"/>
                  <a:gd name="connsiteY7" fmla="*/ 194691 h 194690"/>
                  <a:gd name="connsiteX8" fmla="*/ 0 w 194500"/>
                  <a:gd name="connsiteY8" fmla="*/ 97726 h 194690"/>
                  <a:gd name="connsiteX9" fmla="*/ 97250 w 194500"/>
                  <a:gd name="connsiteY9" fmla="*/ 0 h 194690"/>
                  <a:gd name="connsiteX10" fmla="*/ 194501 w 194500"/>
                  <a:gd name="connsiteY10" fmla="*/ 97441 h 194690"/>
                  <a:gd name="connsiteX11" fmla="*/ 194501 w 194500"/>
                  <a:gd name="connsiteY11" fmla="*/ 97441 h 194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4500" h="194690">
                    <a:moveTo>
                      <a:pt x="34671" y="96964"/>
                    </a:moveTo>
                    <a:cubicBezTo>
                      <a:pt x="34671" y="131540"/>
                      <a:pt x="62960" y="161068"/>
                      <a:pt x="97536" y="161068"/>
                    </a:cubicBezTo>
                    <a:cubicBezTo>
                      <a:pt x="132112" y="161068"/>
                      <a:pt x="159925" y="131255"/>
                      <a:pt x="159925" y="96679"/>
                    </a:cubicBezTo>
                    <a:cubicBezTo>
                      <a:pt x="159925" y="62103"/>
                      <a:pt x="132683" y="33528"/>
                      <a:pt x="97346" y="33528"/>
                    </a:cubicBezTo>
                    <a:cubicBezTo>
                      <a:pt x="62008" y="33528"/>
                      <a:pt x="34766" y="62294"/>
                      <a:pt x="34766" y="96869"/>
                    </a:cubicBezTo>
                    <a:lnTo>
                      <a:pt x="34766" y="96869"/>
                    </a:lnTo>
                    <a:close/>
                    <a:moveTo>
                      <a:pt x="194501" y="97441"/>
                    </a:moveTo>
                    <a:cubicBezTo>
                      <a:pt x="194501" y="150495"/>
                      <a:pt x="151543" y="194691"/>
                      <a:pt x="97250" y="194691"/>
                    </a:cubicBezTo>
                    <a:cubicBezTo>
                      <a:pt x="42958" y="194691"/>
                      <a:pt x="0" y="150781"/>
                      <a:pt x="0" y="97726"/>
                    </a:cubicBezTo>
                    <a:cubicBezTo>
                      <a:pt x="0" y="44672"/>
                      <a:pt x="42386" y="0"/>
                      <a:pt x="97250" y="0"/>
                    </a:cubicBezTo>
                    <a:cubicBezTo>
                      <a:pt x="152114" y="0"/>
                      <a:pt x="194501" y="44482"/>
                      <a:pt x="194501" y="97441"/>
                    </a:cubicBezTo>
                    <a:lnTo>
                      <a:pt x="194501" y="97441"/>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2" name="Freeform: Shape 211">
                <a:extLst>
                  <a:ext uri="{FF2B5EF4-FFF2-40B4-BE49-F238E27FC236}">
                    <a16:creationId xmlns:a16="http://schemas.microsoft.com/office/drawing/2014/main" id="{E1BFAD05-AE81-4819-B8DD-4B310448B0BB}"/>
                  </a:ext>
                </a:extLst>
              </p:cNvPr>
              <p:cNvSpPr/>
              <p:nvPr/>
            </p:nvSpPr>
            <p:spPr>
              <a:xfrm>
                <a:off x="6213347" y="3351847"/>
                <a:ext cx="216598" cy="216788"/>
              </a:xfrm>
              <a:custGeom>
                <a:avLst/>
                <a:gdLst>
                  <a:gd name="connsiteX0" fmla="*/ 108299 w 216598"/>
                  <a:gd name="connsiteY0" fmla="*/ 22098 h 216788"/>
                  <a:gd name="connsiteX1" fmla="*/ 22098 w 216598"/>
                  <a:gd name="connsiteY1" fmla="*/ 108776 h 216788"/>
                  <a:gd name="connsiteX2" fmla="*/ 108299 w 216598"/>
                  <a:gd name="connsiteY2" fmla="*/ 194691 h 216788"/>
                  <a:gd name="connsiteX3" fmla="*/ 194500 w 216598"/>
                  <a:gd name="connsiteY3" fmla="*/ 108490 h 216788"/>
                  <a:gd name="connsiteX4" fmla="*/ 108299 w 216598"/>
                  <a:gd name="connsiteY4" fmla="*/ 22098 h 216788"/>
                  <a:gd name="connsiteX5" fmla="*/ 108299 w 216598"/>
                  <a:gd name="connsiteY5" fmla="*/ 22098 h 216788"/>
                  <a:gd name="connsiteX6" fmla="*/ 108299 w 216598"/>
                  <a:gd name="connsiteY6" fmla="*/ 216789 h 216788"/>
                  <a:gd name="connsiteX7" fmla="*/ 0 w 216598"/>
                  <a:gd name="connsiteY7" fmla="*/ 108776 h 216788"/>
                  <a:gd name="connsiteX8" fmla="*/ 108299 w 216598"/>
                  <a:gd name="connsiteY8" fmla="*/ 0 h 216788"/>
                  <a:gd name="connsiteX9" fmla="*/ 216598 w 216598"/>
                  <a:gd name="connsiteY9" fmla="*/ 108490 h 216788"/>
                  <a:gd name="connsiteX10" fmla="*/ 108299 w 216598"/>
                  <a:gd name="connsiteY10" fmla="*/ 216789 h 216788"/>
                  <a:gd name="connsiteX11" fmla="*/ 108299 w 216598"/>
                  <a:gd name="connsiteY11" fmla="*/ 216789 h 216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6598" h="216788">
                    <a:moveTo>
                      <a:pt x="108299" y="22098"/>
                    </a:moveTo>
                    <a:cubicBezTo>
                      <a:pt x="60770" y="22098"/>
                      <a:pt x="22098" y="60960"/>
                      <a:pt x="22098" y="108776"/>
                    </a:cubicBezTo>
                    <a:cubicBezTo>
                      <a:pt x="22098" y="156591"/>
                      <a:pt x="60770" y="194691"/>
                      <a:pt x="108299" y="194691"/>
                    </a:cubicBezTo>
                    <a:cubicBezTo>
                      <a:pt x="155829" y="194691"/>
                      <a:pt x="194500" y="156020"/>
                      <a:pt x="194500" y="108490"/>
                    </a:cubicBezTo>
                    <a:cubicBezTo>
                      <a:pt x="194500" y="60960"/>
                      <a:pt x="155829" y="22098"/>
                      <a:pt x="108299" y="22098"/>
                    </a:cubicBezTo>
                    <a:lnTo>
                      <a:pt x="108299" y="22098"/>
                    </a:lnTo>
                    <a:close/>
                    <a:moveTo>
                      <a:pt x="108299" y="216789"/>
                    </a:moveTo>
                    <a:cubicBezTo>
                      <a:pt x="48577" y="216789"/>
                      <a:pt x="0" y="168307"/>
                      <a:pt x="0" y="108776"/>
                    </a:cubicBezTo>
                    <a:cubicBezTo>
                      <a:pt x="0" y="49244"/>
                      <a:pt x="48577" y="0"/>
                      <a:pt x="108299" y="0"/>
                    </a:cubicBezTo>
                    <a:cubicBezTo>
                      <a:pt x="168021" y="0"/>
                      <a:pt x="216598" y="48673"/>
                      <a:pt x="216598" y="108490"/>
                    </a:cubicBezTo>
                    <a:cubicBezTo>
                      <a:pt x="216598" y="168307"/>
                      <a:pt x="168021" y="216789"/>
                      <a:pt x="108299" y="216789"/>
                    </a:cubicBezTo>
                    <a:lnTo>
                      <a:pt x="108299" y="2167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3" name="Freeform: Shape 212">
                <a:extLst>
                  <a:ext uri="{FF2B5EF4-FFF2-40B4-BE49-F238E27FC236}">
                    <a16:creationId xmlns:a16="http://schemas.microsoft.com/office/drawing/2014/main" id="{59A3803B-AD99-4BFF-A524-AE467DB88197}"/>
                  </a:ext>
                </a:extLst>
              </p:cNvPr>
              <p:cNvSpPr/>
              <p:nvPr/>
            </p:nvSpPr>
            <p:spPr>
              <a:xfrm>
                <a:off x="6248018" y="3385470"/>
                <a:ext cx="147256" cy="149637"/>
              </a:xfrm>
              <a:custGeom>
                <a:avLst/>
                <a:gdLst>
                  <a:gd name="connsiteX0" fmla="*/ 73628 w 147256"/>
                  <a:gd name="connsiteY0" fmla="*/ 22003 h 149637"/>
                  <a:gd name="connsiteX1" fmla="*/ 22098 w 147256"/>
                  <a:gd name="connsiteY1" fmla="*/ 74295 h 149637"/>
                  <a:gd name="connsiteX2" fmla="*/ 73914 w 147256"/>
                  <a:gd name="connsiteY2" fmla="*/ 127349 h 149637"/>
                  <a:gd name="connsiteX3" fmla="*/ 125254 w 147256"/>
                  <a:gd name="connsiteY3" fmla="*/ 74009 h 149637"/>
                  <a:gd name="connsiteX4" fmla="*/ 73724 w 147256"/>
                  <a:gd name="connsiteY4" fmla="*/ 21907 h 149637"/>
                  <a:gd name="connsiteX5" fmla="*/ 73724 w 147256"/>
                  <a:gd name="connsiteY5" fmla="*/ 21907 h 149637"/>
                  <a:gd name="connsiteX6" fmla="*/ 73914 w 147256"/>
                  <a:gd name="connsiteY6" fmla="*/ 149542 h 149637"/>
                  <a:gd name="connsiteX7" fmla="*/ 0 w 147256"/>
                  <a:gd name="connsiteY7" fmla="*/ 74390 h 149637"/>
                  <a:gd name="connsiteX8" fmla="*/ 73628 w 147256"/>
                  <a:gd name="connsiteY8" fmla="*/ 0 h 149637"/>
                  <a:gd name="connsiteX9" fmla="*/ 147256 w 147256"/>
                  <a:gd name="connsiteY9" fmla="*/ 74200 h 149637"/>
                  <a:gd name="connsiteX10" fmla="*/ 73819 w 147256"/>
                  <a:gd name="connsiteY10" fmla="*/ 149638 h 149637"/>
                  <a:gd name="connsiteX11" fmla="*/ 73819 w 147256"/>
                  <a:gd name="connsiteY11" fmla="*/ 149638 h 14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6" h="149637">
                    <a:moveTo>
                      <a:pt x="73628" y="22003"/>
                    </a:moveTo>
                    <a:cubicBezTo>
                      <a:pt x="44672" y="22003"/>
                      <a:pt x="22098" y="44958"/>
                      <a:pt x="22098" y="74295"/>
                    </a:cubicBezTo>
                    <a:cubicBezTo>
                      <a:pt x="22098" y="103632"/>
                      <a:pt x="45815" y="127349"/>
                      <a:pt x="73914" y="127349"/>
                    </a:cubicBezTo>
                    <a:cubicBezTo>
                      <a:pt x="102013" y="127349"/>
                      <a:pt x="125254" y="102965"/>
                      <a:pt x="125254" y="74009"/>
                    </a:cubicBezTo>
                    <a:cubicBezTo>
                      <a:pt x="125254" y="45053"/>
                      <a:pt x="102108" y="21907"/>
                      <a:pt x="73724" y="21907"/>
                    </a:cubicBezTo>
                    <a:lnTo>
                      <a:pt x="73724" y="21907"/>
                    </a:lnTo>
                    <a:close/>
                    <a:moveTo>
                      <a:pt x="73914" y="149542"/>
                    </a:moveTo>
                    <a:cubicBezTo>
                      <a:pt x="33814" y="149542"/>
                      <a:pt x="0" y="115157"/>
                      <a:pt x="0" y="74390"/>
                    </a:cubicBezTo>
                    <a:cubicBezTo>
                      <a:pt x="0" y="33623"/>
                      <a:pt x="32385" y="0"/>
                      <a:pt x="73628" y="0"/>
                    </a:cubicBezTo>
                    <a:cubicBezTo>
                      <a:pt x="114871" y="0"/>
                      <a:pt x="147256" y="33242"/>
                      <a:pt x="147256" y="74200"/>
                    </a:cubicBezTo>
                    <a:cubicBezTo>
                      <a:pt x="147256" y="115157"/>
                      <a:pt x="113633" y="149638"/>
                      <a:pt x="73819" y="149638"/>
                    </a:cubicBezTo>
                    <a:lnTo>
                      <a:pt x="73819" y="1496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14" name="Freeform: Shape 213">
                <a:extLst>
                  <a:ext uri="{FF2B5EF4-FFF2-40B4-BE49-F238E27FC236}">
                    <a16:creationId xmlns:a16="http://schemas.microsoft.com/office/drawing/2014/main" id="{F96F484E-25C1-4C3A-BEC5-B4A075A3CF00}"/>
                  </a:ext>
                </a:extLst>
              </p:cNvPr>
              <p:cNvSpPr/>
              <p:nvPr/>
            </p:nvSpPr>
            <p:spPr>
              <a:xfrm>
                <a:off x="6422993" y="3356514"/>
                <a:ext cx="33242" cy="33623"/>
              </a:xfrm>
              <a:custGeom>
                <a:avLst/>
                <a:gdLst>
                  <a:gd name="connsiteX0" fmla="*/ 13621 w 33242"/>
                  <a:gd name="connsiteY0" fmla="*/ 16097 h 33623"/>
                  <a:gd name="connsiteX1" fmla="*/ 15811 w 33242"/>
                  <a:gd name="connsiteY1" fmla="*/ 16097 h 33623"/>
                  <a:gd name="connsiteX2" fmla="*/ 20383 w 33242"/>
                  <a:gd name="connsiteY2" fmla="*/ 12859 h 33623"/>
                  <a:gd name="connsiteX3" fmla="*/ 15811 w 33242"/>
                  <a:gd name="connsiteY3" fmla="*/ 9620 h 33623"/>
                  <a:gd name="connsiteX4" fmla="*/ 13621 w 33242"/>
                  <a:gd name="connsiteY4" fmla="*/ 9811 h 33623"/>
                  <a:gd name="connsiteX5" fmla="*/ 13621 w 33242"/>
                  <a:gd name="connsiteY5" fmla="*/ 16193 h 33623"/>
                  <a:gd name="connsiteX6" fmla="*/ 13621 w 33242"/>
                  <a:gd name="connsiteY6" fmla="*/ 16193 h 33623"/>
                  <a:gd name="connsiteX7" fmla="*/ 13621 w 33242"/>
                  <a:gd name="connsiteY7" fmla="*/ 26480 h 33623"/>
                  <a:gd name="connsiteX8" fmla="*/ 10668 w 33242"/>
                  <a:gd name="connsiteY8" fmla="*/ 26480 h 33623"/>
                  <a:gd name="connsiteX9" fmla="*/ 10668 w 33242"/>
                  <a:gd name="connsiteY9" fmla="*/ 7715 h 33623"/>
                  <a:gd name="connsiteX10" fmla="*/ 16002 w 33242"/>
                  <a:gd name="connsiteY10" fmla="*/ 7239 h 33623"/>
                  <a:gd name="connsiteX11" fmla="*/ 21812 w 33242"/>
                  <a:gd name="connsiteY11" fmla="*/ 8668 h 33623"/>
                  <a:gd name="connsiteX12" fmla="*/ 23527 w 33242"/>
                  <a:gd name="connsiteY12" fmla="*/ 12573 h 33623"/>
                  <a:gd name="connsiteX13" fmla="*/ 19907 w 33242"/>
                  <a:gd name="connsiteY13" fmla="*/ 17145 h 33623"/>
                  <a:gd name="connsiteX14" fmla="*/ 19907 w 33242"/>
                  <a:gd name="connsiteY14" fmla="*/ 17336 h 33623"/>
                  <a:gd name="connsiteX15" fmla="*/ 23050 w 33242"/>
                  <a:gd name="connsiteY15" fmla="*/ 21907 h 33623"/>
                  <a:gd name="connsiteX16" fmla="*/ 24289 w 33242"/>
                  <a:gd name="connsiteY16" fmla="*/ 26575 h 33623"/>
                  <a:gd name="connsiteX17" fmla="*/ 21146 w 33242"/>
                  <a:gd name="connsiteY17" fmla="*/ 26575 h 33623"/>
                  <a:gd name="connsiteX18" fmla="*/ 19907 w 33242"/>
                  <a:gd name="connsiteY18" fmla="*/ 21812 h 33623"/>
                  <a:gd name="connsiteX19" fmla="*/ 15907 w 33242"/>
                  <a:gd name="connsiteY19" fmla="*/ 18574 h 33623"/>
                  <a:gd name="connsiteX20" fmla="*/ 13811 w 33242"/>
                  <a:gd name="connsiteY20" fmla="*/ 18574 h 33623"/>
                  <a:gd name="connsiteX21" fmla="*/ 13811 w 33242"/>
                  <a:gd name="connsiteY21" fmla="*/ 26670 h 33623"/>
                  <a:gd name="connsiteX22" fmla="*/ 13811 w 33242"/>
                  <a:gd name="connsiteY22" fmla="*/ 26670 h 33623"/>
                  <a:gd name="connsiteX23" fmla="*/ 16764 w 33242"/>
                  <a:gd name="connsiteY23" fmla="*/ 2572 h 33623"/>
                  <a:gd name="connsiteX24" fmla="*/ 3334 w 33242"/>
                  <a:gd name="connsiteY24" fmla="*/ 16764 h 33623"/>
                  <a:gd name="connsiteX25" fmla="*/ 16859 w 33242"/>
                  <a:gd name="connsiteY25" fmla="*/ 31051 h 33623"/>
                  <a:gd name="connsiteX26" fmla="*/ 30290 w 33242"/>
                  <a:gd name="connsiteY26" fmla="*/ 16859 h 33623"/>
                  <a:gd name="connsiteX27" fmla="*/ 16859 w 33242"/>
                  <a:gd name="connsiteY27" fmla="*/ 2572 h 33623"/>
                  <a:gd name="connsiteX28" fmla="*/ 16859 w 33242"/>
                  <a:gd name="connsiteY28" fmla="*/ 2572 h 33623"/>
                  <a:gd name="connsiteX29" fmla="*/ 16764 w 33242"/>
                  <a:gd name="connsiteY29" fmla="*/ 0 h 33623"/>
                  <a:gd name="connsiteX30" fmla="*/ 33242 w 33242"/>
                  <a:gd name="connsiteY30" fmla="*/ 16764 h 33623"/>
                  <a:gd name="connsiteX31" fmla="*/ 16669 w 33242"/>
                  <a:gd name="connsiteY31" fmla="*/ 33623 h 33623"/>
                  <a:gd name="connsiteX32" fmla="*/ 0 w 33242"/>
                  <a:gd name="connsiteY32" fmla="*/ 16764 h 33623"/>
                  <a:gd name="connsiteX33" fmla="*/ 16669 w 33242"/>
                  <a:gd name="connsiteY33" fmla="*/ 0 h 33623"/>
                  <a:gd name="connsiteX34" fmla="*/ 16669 w 33242"/>
                  <a:gd name="connsiteY34" fmla="*/ 0 h 33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3242" h="33623">
                    <a:moveTo>
                      <a:pt x="13621" y="16097"/>
                    </a:moveTo>
                    <a:lnTo>
                      <a:pt x="15811" y="16097"/>
                    </a:lnTo>
                    <a:cubicBezTo>
                      <a:pt x="18288" y="16097"/>
                      <a:pt x="20383" y="15240"/>
                      <a:pt x="20383" y="12859"/>
                    </a:cubicBezTo>
                    <a:cubicBezTo>
                      <a:pt x="20383" y="11239"/>
                      <a:pt x="19145" y="9620"/>
                      <a:pt x="15811" y="9620"/>
                    </a:cubicBezTo>
                    <a:cubicBezTo>
                      <a:pt x="14859" y="9620"/>
                      <a:pt x="14192" y="9620"/>
                      <a:pt x="13621" y="9811"/>
                    </a:cubicBezTo>
                    <a:lnTo>
                      <a:pt x="13621" y="16193"/>
                    </a:lnTo>
                    <a:lnTo>
                      <a:pt x="13621" y="16193"/>
                    </a:lnTo>
                    <a:close/>
                    <a:moveTo>
                      <a:pt x="13621" y="26480"/>
                    </a:moveTo>
                    <a:lnTo>
                      <a:pt x="10668" y="26480"/>
                    </a:lnTo>
                    <a:lnTo>
                      <a:pt x="10668" y="7715"/>
                    </a:lnTo>
                    <a:cubicBezTo>
                      <a:pt x="12192" y="7525"/>
                      <a:pt x="13716" y="7239"/>
                      <a:pt x="16002" y="7239"/>
                    </a:cubicBezTo>
                    <a:cubicBezTo>
                      <a:pt x="18859" y="7239"/>
                      <a:pt x="20669" y="7811"/>
                      <a:pt x="21812" y="8668"/>
                    </a:cubicBezTo>
                    <a:cubicBezTo>
                      <a:pt x="22955" y="9525"/>
                      <a:pt x="23527" y="10763"/>
                      <a:pt x="23527" y="12573"/>
                    </a:cubicBezTo>
                    <a:cubicBezTo>
                      <a:pt x="23527" y="15050"/>
                      <a:pt x="21907" y="16574"/>
                      <a:pt x="19907" y="17145"/>
                    </a:cubicBezTo>
                    <a:lnTo>
                      <a:pt x="19907" y="17336"/>
                    </a:lnTo>
                    <a:cubicBezTo>
                      <a:pt x="21526" y="17621"/>
                      <a:pt x="22669" y="19145"/>
                      <a:pt x="23050" y="21907"/>
                    </a:cubicBezTo>
                    <a:cubicBezTo>
                      <a:pt x="23527" y="24860"/>
                      <a:pt x="23908" y="25908"/>
                      <a:pt x="24289" y="26575"/>
                    </a:cubicBezTo>
                    <a:lnTo>
                      <a:pt x="21146" y="26575"/>
                    </a:lnTo>
                    <a:cubicBezTo>
                      <a:pt x="20669" y="26003"/>
                      <a:pt x="20288" y="24289"/>
                      <a:pt x="19907" y="21812"/>
                    </a:cubicBezTo>
                    <a:cubicBezTo>
                      <a:pt x="19431" y="19431"/>
                      <a:pt x="18288" y="18574"/>
                      <a:pt x="15907" y="18574"/>
                    </a:cubicBezTo>
                    <a:lnTo>
                      <a:pt x="13811" y="18574"/>
                    </a:lnTo>
                    <a:lnTo>
                      <a:pt x="13811" y="26670"/>
                    </a:lnTo>
                    <a:lnTo>
                      <a:pt x="13811" y="26670"/>
                    </a:lnTo>
                    <a:close/>
                    <a:moveTo>
                      <a:pt x="16764" y="2572"/>
                    </a:moveTo>
                    <a:cubicBezTo>
                      <a:pt x="9334" y="2572"/>
                      <a:pt x="3334" y="8954"/>
                      <a:pt x="3334" y="16764"/>
                    </a:cubicBezTo>
                    <a:cubicBezTo>
                      <a:pt x="3334" y="24575"/>
                      <a:pt x="9334" y="31051"/>
                      <a:pt x="16859" y="31051"/>
                    </a:cubicBezTo>
                    <a:cubicBezTo>
                      <a:pt x="24289" y="31051"/>
                      <a:pt x="30290" y="24765"/>
                      <a:pt x="30290" y="16859"/>
                    </a:cubicBezTo>
                    <a:cubicBezTo>
                      <a:pt x="30290" y="8954"/>
                      <a:pt x="24289" y="2572"/>
                      <a:pt x="16859" y="2572"/>
                    </a:cubicBezTo>
                    <a:lnTo>
                      <a:pt x="16859" y="2572"/>
                    </a:lnTo>
                    <a:close/>
                    <a:moveTo>
                      <a:pt x="16764" y="0"/>
                    </a:moveTo>
                    <a:cubicBezTo>
                      <a:pt x="25908" y="0"/>
                      <a:pt x="33242" y="7430"/>
                      <a:pt x="33242" y="16764"/>
                    </a:cubicBezTo>
                    <a:cubicBezTo>
                      <a:pt x="33242" y="26099"/>
                      <a:pt x="25908" y="33623"/>
                      <a:pt x="16669" y="33623"/>
                    </a:cubicBezTo>
                    <a:cubicBezTo>
                      <a:pt x="7429" y="33623"/>
                      <a:pt x="0" y="26194"/>
                      <a:pt x="0" y="16764"/>
                    </a:cubicBezTo>
                    <a:cubicBezTo>
                      <a:pt x="0" y="7334"/>
                      <a:pt x="7429" y="0"/>
                      <a:pt x="16669" y="0"/>
                    </a:cubicBezTo>
                    <a:lnTo>
                      <a:pt x="1666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163" name="Group 162">
              <a:extLst>
                <a:ext uri="{FF2B5EF4-FFF2-40B4-BE49-F238E27FC236}">
                  <a16:creationId xmlns:a16="http://schemas.microsoft.com/office/drawing/2014/main" id="{7E7E78B6-2043-490D-B3EE-B96804A3D0B2}"/>
                </a:ext>
              </a:extLst>
            </p:cNvPr>
            <p:cNvGrpSpPr/>
            <p:nvPr userDrawn="1"/>
          </p:nvGrpSpPr>
          <p:grpSpPr>
            <a:xfrm>
              <a:off x="7521475" y="2323616"/>
              <a:ext cx="691678" cy="198846"/>
              <a:chOff x="4448053" y="5268962"/>
              <a:chExt cx="1897541" cy="545512"/>
            </a:xfrm>
          </p:grpSpPr>
          <p:grpSp>
            <p:nvGrpSpPr>
              <p:cNvPr id="182" name="Graphic 1339">
                <a:extLst>
                  <a:ext uri="{FF2B5EF4-FFF2-40B4-BE49-F238E27FC236}">
                    <a16:creationId xmlns:a16="http://schemas.microsoft.com/office/drawing/2014/main" id="{B3C07373-4569-434E-8614-82732E96D21B}"/>
                  </a:ext>
                </a:extLst>
              </p:cNvPr>
              <p:cNvGrpSpPr/>
              <p:nvPr/>
            </p:nvGrpSpPr>
            <p:grpSpPr>
              <a:xfrm>
                <a:off x="4448053" y="5268962"/>
                <a:ext cx="544422" cy="545512"/>
                <a:chOff x="4448053" y="5268962"/>
                <a:chExt cx="544422" cy="545512"/>
              </a:xfrm>
              <a:solidFill>
                <a:srgbClr val="A1ABB2"/>
              </a:solidFill>
            </p:grpSpPr>
            <p:sp>
              <p:nvSpPr>
                <p:cNvPr id="201" name="Freeform: Shape 200">
                  <a:extLst>
                    <a:ext uri="{FF2B5EF4-FFF2-40B4-BE49-F238E27FC236}">
                      <a16:creationId xmlns:a16="http://schemas.microsoft.com/office/drawing/2014/main" id="{46C2A7B9-EFC9-405E-9399-A7747F02E2BA}"/>
                    </a:ext>
                  </a:extLst>
                </p:cNvPr>
                <p:cNvSpPr/>
                <p:nvPr/>
              </p:nvSpPr>
              <p:spPr>
                <a:xfrm>
                  <a:off x="4448053" y="5268962"/>
                  <a:ext cx="322851" cy="442645"/>
                </a:xfrm>
                <a:custGeom>
                  <a:avLst/>
                  <a:gdLst>
                    <a:gd name="connsiteX0" fmla="*/ 61787 w 322851"/>
                    <a:gd name="connsiteY0" fmla="*/ 442646 h 442645"/>
                    <a:gd name="connsiteX1" fmla="*/ 48812 w 322851"/>
                    <a:gd name="connsiteY1" fmla="*/ 119300 h 442645"/>
                    <a:gd name="connsiteX2" fmla="*/ 322852 w 322851"/>
                    <a:gd name="connsiteY2" fmla="*/ 6155 h 442645"/>
                    <a:gd name="connsiteX3" fmla="*/ 61787 w 322851"/>
                    <a:gd name="connsiteY3" fmla="*/ 442646 h 442645"/>
                  </a:gdLst>
                  <a:ahLst/>
                  <a:cxnLst>
                    <a:cxn ang="0">
                      <a:pos x="connsiteX0" y="connsiteY0"/>
                    </a:cxn>
                    <a:cxn ang="0">
                      <a:pos x="connsiteX1" y="connsiteY1"/>
                    </a:cxn>
                    <a:cxn ang="0">
                      <a:pos x="connsiteX2" y="connsiteY2"/>
                    </a:cxn>
                    <a:cxn ang="0">
                      <a:pos x="connsiteX3" y="connsiteY3"/>
                    </a:cxn>
                  </a:cxnLst>
                  <a:rect l="l" t="t" r="r" b="b"/>
                  <a:pathLst>
                    <a:path w="322851" h="442645">
                      <a:moveTo>
                        <a:pt x="61787" y="442646"/>
                      </a:moveTo>
                      <a:cubicBezTo>
                        <a:pt x="-21774" y="354932"/>
                        <a:pt x="-15027" y="209608"/>
                        <a:pt x="48812" y="119300"/>
                      </a:cubicBezTo>
                      <a:cubicBezTo>
                        <a:pt x="111094" y="29510"/>
                        <a:pt x="202959" y="-17720"/>
                        <a:pt x="322852" y="6155"/>
                      </a:cubicBezTo>
                      <a:lnTo>
                        <a:pt x="61787" y="442646"/>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2" name="Freeform: Shape 201">
                  <a:extLst>
                    <a:ext uri="{FF2B5EF4-FFF2-40B4-BE49-F238E27FC236}">
                      <a16:creationId xmlns:a16="http://schemas.microsoft.com/office/drawing/2014/main" id="{FB272702-B945-4D0A-8D58-273B98683FBA}"/>
                    </a:ext>
                  </a:extLst>
                </p:cNvPr>
                <p:cNvSpPr/>
                <p:nvPr/>
              </p:nvSpPr>
              <p:spPr>
                <a:xfrm>
                  <a:off x="4681115" y="5319752"/>
                  <a:ext cx="311360" cy="319193"/>
                </a:xfrm>
                <a:custGeom>
                  <a:avLst/>
                  <a:gdLst>
                    <a:gd name="connsiteX0" fmla="*/ 295838 w 311360"/>
                    <a:gd name="connsiteY0" fmla="*/ 319194 h 319193"/>
                    <a:gd name="connsiteX1" fmla="*/ 0 w 311360"/>
                    <a:gd name="connsiteY1" fmla="*/ 319194 h 319193"/>
                    <a:gd name="connsiteX2" fmla="*/ 195150 w 311360"/>
                    <a:gd name="connsiteY2" fmla="*/ 0 h 319193"/>
                    <a:gd name="connsiteX3" fmla="*/ 295838 w 311360"/>
                    <a:gd name="connsiteY3" fmla="*/ 319194 h 319193"/>
                  </a:gdLst>
                  <a:ahLst/>
                  <a:cxnLst>
                    <a:cxn ang="0">
                      <a:pos x="connsiteX0" y="connsiteY0"/>
                    </a:cxn>
                    <a:cxn ang="0">
                      <a:pos x="connsiteX1" y="connsiteY1"/>
                    </a:cxn>
                    <a:cxn ang="0">
                      <a:pos x="connsiteX2" y="connsiteY2"/>
                    </a:cxn>
                    <a:cxn ang="0">
                      <a:pos x="connsiteX3" y="connsiteY3"/>
                    </a:cxn>
                  </a:cxnLst>
                  <a:rect l="l" t="t" r="r" b="b"/>
                  <a:pathLst>
                    <a:path w="311360" h="319193">
                      <a:moveTo>
                        <a:pt x="295838" y="319194"/>
                      </a:moveTo>
                      <a:lnTo>
                        <a:pt x="0" y="319194"/>
                      </a:lnTo>
                      <a:lnTo>
                        <a:pt x="195150" y="0"/>
                      </a:lnTo>
                      <a:cubicBezTo>
                        <a:pt x="295838" y="64358"/>
                        <a:pt x="336321" y="201378"/>
                        <a:pt x="295838" y="319194"/>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3" name="Freeform: Shape 202">
                  <a:extLst>
                    <a:ext uri="{FF2B5EF4-FFF2-40B4-BE49-F238E27FC236}">
                      <a16:creationId xmlns:a16="http://schemas.microsoft.com/office/drawing/2014/main" id="{E23EF4B3-4992-4FB0-A53B-CF6C0A699693}"/>
                    </a:ext>
                  </a:extLst>
                </p:cNvPr>
                <p:cNvSpPr/>
                <p:nvPr/>
              </p:nvSpPr>
              <p:spPr>
                <a:xfrm>
                  <a:off x="4546171" y="5750015"/>
                  <a:ext cx="348777" cy="64459"/>
                </a:xfrm>
                <a:custGeom>
                  <a:avLst/>
                  <a:gdLst>
                    <a:gd name="connsiteX0" fmla="*/ 184250 w 348777"/>
                    <a:gd name="connsiteY0" fmla="*/ 64358 h 64459"/>
                    <a:gd name="connsiteX1" fmla="*/ 0 w 348777"/>
                    <a:gd name="connsiteY1" fmla="*/ 0 h 64459"/>
                    <a:gd name="connsiteX2" fmla="*/ 348778 w 348777"/>
                    <a:gd name="connsiteY2" fmla="*/ 0 h 64459"/>
                    <a:gd name="connsiteX3" fmla="*/ 183731 w 348777"/>
                    <a:gd name="connsiteY3" fmla="*/ 64358 h 64459"/>
                  </a:gdLst>
                  <a:ahLst/>
                  <a:cxnLst>
                    <a:cxn ang="0">
                      <a:pos x="connsiteX0" y="connsiteY0"/>
                    </a:cxn>
                    <a:cxn ang="0">
                      <a:pos x="connsiteX1" y="connsiteY1"/>
                    </a:cxn>
                    <a:cxn ang="0">
                      <a:pos x="connsiteX2" y="connsiteY2"/>
                    </a:cxn>
                    <a:cxn ang="0">
                      <a:pos x="connsiteX3" y="connsiteY3"/>
                    </a:cxn>
                  </a:cxnLst>
                  <a:rect l="l" t="t" r="r" b="b"/>
                  <a:pathLst>
                    <a:path w="348777" h="64459">
                      <a:moveTo>
                        <a:pt x="184250" y="64358"/>
                      </a:moveTo>
                      <a:cubicBezTo>
                        <a:pt x="115740" y="66434"/>
                        <a:pt x="36331" y="36331"/>
                        <a:pt x="0" y="0"/>
                      </a:cubicBezTo>
                      <a:lnTo>
                        <a:pt x="348778" y="0"/>
                      </a:lnTo>
                      <a:cubicBezTo>
                        <a:pt x="308295" y="38407"/>
                        <a:pt x="252241" y="62282"/>
                        <a:pt x="183731" y="64358"/>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183" name="Freeform: Shape 182">
                <a:extLst>
                  <a:ext uri="{FF2B5EF4-FFF2-40B4-BE49-F238E27FC236}">
                    <a16:creationId xmlns:a16="http://schemas.microsoft.com/office/drawing/2014/main" id="{46DBDEE1-F56B-4F4A-BCD3-8713C89214B2}"/>
                  </a:ext>
                </a:extLst>
              </p:cNvPr>
              <p:cNvSpPr/>
              <p:nvPr/>
            </p:nvSpPr>
            <p:spPr>
              <a:xfrm>
                <a:off x="5098922" y="5360754"/>
                <a:ext cx="146881" cy="142729"/>
              </a:xfrm>
              <a:custGeom>
                <a:avLst/>
                <a:gdLst>
                  <a:gd name="connsiteX0" fmla="*/ 0 w 146881"/>
                  <a:gd name="connsiteY0" fmla="*/ 142729 h 142729"/>
                  <a:gd name="connsiteX1" fmla="*/ 82004 w 146881"/>
                  <a:gd name="connsiteY1" fmla="*/ 0 h 142729"/>
                  <a:gd name="connsiteX2" fmla="*/ 130792 w 146881"/>
                  <a:gd name="connsiteY2" fmla="*/ 0 h 142729"/>
                  <a:gd name="connsiteX3" fmla="*/ 69548 w 146881"/>
                  <a:gd name="connsiteY3" fmla="*/ 103284 h 142729"/>
                  <a:gd name="connsiteX4" fmla="*/ 146881 w 146881"/>
                  <a:gd name="connsiteY4" fmla="*/ 103284 h 142729"/>
                  <a:gd name="connsiteX5" fmla="*/ 124045 w 146881"/>
                  <a:gd name="connsiteY5" fmla="*/ 142729 h 142729"/>
                  <a:gd name="connsiteX6" fmla="*/ 0 w 146881"/>
                  <a:gd name="connsiteY6" fmla="*/ 142729 h 142729"/>
                  <a:gd name="connsiteX7" fmla="*/ 0 w 146881"/>
                  <a:gd name="connsiteY7"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6881" h="142729">
                    <a:moveTo>
                      <a:pt x="0" y="142729"/>
                    </a:moveTo>
                    <a:lnTo>
                      <a:pt x="82004" y="0"/>
                    </a:lnTo>
                    <a:lnTo>
                      <a:pt x="130792" y="0"/>
                    </a:lnTo>
                    <a:lnTo>
                      <a:pt x="69548" y="103284"/>
                    </a:lnTo>
                    <a:lnTo>
                      <a:pt x="146881" y="103284"/>
                    </a:lnTo>
                    <a:lnTo>
                      <a:pt x="12404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4" name="Freeform: Shape 183">
                <a:extLst>
                  <a:ext uri="{FF2B5EF4-FFF2-40B4-BE49-F238E27FC236}">
                    <a16:creationId xmlns:a16="http://schemas.microsoft.com/office/drawing/2014/main" id="{E628E6F8-1DD0-4C05-B357-CCE8E235D7F6}"/>
                  </a:ext>
                </a:extLst>
              </p:cNvPr>
              <p:cNvSpPr/>
              <p:nvPr/>
            </p:nvSpPr>
            <p:spPr>
              <a:xfrm>
                <a:off x="5240613" y="5360754"/>
                <a:ext cx="128715" cy="142729"/>
              </a:xfrm>
              <a:custGeom>
                <a:avLst/>
                <a:gdLst>
                  <a:gd name="connsiteX0" fmla="*/ 0 w 128715"/>
                  <a:gd name="connsiteY0" fmla="*/ 142729 h 142729"/>
                  <a:gd name="connsiteX1" fmla="*/ 84080 w 128715"/>
                  <a:gd name="connsiteY1" fmla="*/ 0 h 142729"/>
                  <a:gd name="connsiteX2" fmla="*/ 128716 w 128715"/>
                  <a:gd name="connsiteY2" fmla="*/ 0 h 142729"/>
                  <a:gd name="connsiteX3" fmla="*/ 46711 w 128715"/>
                  <a:gd name="connsiteY3" fmla="*/ 142729 h 142729"/>
                  <a:gd name="connsiteX4" fmla="*/ 0 w 128715"/>
                  <a:gd name="connsiteY4" fmla="*/ 142729 h 142729"/>
                  <a:gd name="connsiteX5" fmla="*/ 0 w 128715"/>
                  <a:gd name="connsiteY5"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9">
                    <a:moveTo>
                      <a:pt x="0" y="142729"/>
                    </a:moveTo>
                    <a:lnTo>
                      <a:pt x="84080" y="0"/>
                    </a:lnTo>
                    <a:lnTo>
                      <a:pt x="128716" y="0"/>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5" name="Freeform: Shape 184">
                <a:extLst>
                  <a:ext uri="{FF2B5EF4-FFF2-40B4-BE49-F238E27FC236}">
                    <a16:creationId xmlns:a16="http://schemas.microsoft.com/office/drawing/2014/main" id="{60AEF1D1-01CB-4249-B0A7-066632B04975}"/>
                  </a:ext>
                </a:extLst>
              </p:cNvPr>
              <p:cNvSpPr/>
              <p:nvPr/>
            </p:nvSpPr>
            <p:spPr>
              <a:xfrm>
                <a:off x="6048719" y="5360754"/>
                <a:ext cx="128715" cy="142729"/>
              </a:xfrm>
              <a:custGeom>
                <a:avLst/>
                <a:gdLst>
                  <a:gd name="connsiteX0" fmla="*/ 0 w 128715"/>
                  <a:gd name="connsiteY0" fmla="*/ 142729 h 142729"/>
                  <a:gd name="connsiteX1" fmla="*/ 84080 w 128715"/>
                  <a:gd name="connsiteY1" fmla="*/ 0 h 142729"/>
                  <a:gd name="connsiteX2" fmla="*/ 128716 w 128715"/>
                  <a:gd name="connsiteY2" fmla="*/ 0 h 142729"/>
                  <a:gd name="connsiteX3" fmla="*/ 46711 w 128715"/>
                  <a:gd name="connsiteY3" fmla="*/ 142729 h 142729"/>
                  <a:gd name="connsiteX4" fmla="*/ 0 w 128715"/>
                  <a:gd name="connsiteY4" fmla="*/ 142729 h 142729"/>
                  <a:gd name="connsiteX5" fmla="*/ 0 w 128715"/>
                  <a:gd name="connsiteY5"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9">
                    <a:moveTo>
                      <a:pt x="0" y="142729"/>
                    </a:moveTo>
                    <a:lnTo>
                      <a:pt x="84080" y="0"/>
                    </a:lnTo>
                    <a:lnTo>
                      <a:pt x="128716" y="0"/>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6" name="Freeform: Shape 185">
                <a:extLst>
                  <a:ext uri="{FF2B5EF4-FFF2-40B4-BE49-F238E27FC236}">
                    <a16:creationId xmlns:a16="http://schemas.microsoft.com/office/drawing/2014/main" id="{0F0C78A9-BED3-4129-A881-5D273656E469}"/>
                  </a:ext>
                </a:extLst>
              </p:cNvPr>
              <p:cNvSpPr/>
              <p:nvPr/>
            </p:nvSpPr>
            <p:spPr>
              <a:xfrm>
                <a:off x="5351163" y="5360754"/>
                <a:ext cx="172831" cy="143248"/>
              </a:xfrm>
              <a:custGeom>
                <a:avLst/>
                <a:gdLst>
                  <a:gd name="connsiteX0" fmla="*/ 0 w 172831"/>
                  <a:gd name="connsiteY0" fmla="*/ 143248 h 143248"/>
                  <a:gd name="connsiteX1" fmla="*/ 58649 w 172831"/>
                  <a:gd name="connsiteY1" fmla="*/ 41002 h 143248"/>
                  <a:gd name="connsiteX2" fmla="*/ 13494 w 172831"/>
                  <a:gd name="connsiteY2" fmla="*/ 41002 h 143248"/>
                  <a:gd name="connsiteX3" fmla="*/ 37369 w 172831"/>
                  <a:gd name="connsiteY3" fmla="*/ 0 h 143248"/>
                  <a:gd name="connsiteX4" fmla="*/ 172832 w 172831"/>
                  <a:gd name="connsiteY4" fmla="*/ 0 h 143248"/>
                  <a:gd name="connsiteX5" fmla="*/ 149995 w 172831"/>
                  <a:gd name="connsiteY5" fmla="*/ 41002 h 143248"/>
                  <a:gd name="connsiteX6" fmla="*/ 103284 w 172831"/>
                  <a:gd name="connsiteY6" fmla="*/ 41002 h 143248"/>
                  <a:gd name="connsiteX7" fmla="*/ 44635 w 172831"/>
                  <a:gd name="connsiteY7" fmla="*/ 143248 h 143248"/>
                  <a:gd name="connsiteX8" fmla="*/ 0 w 172831"/>
                  <a:gd name="connsiteY8" fmla="*/ 143248 h 143248"/>
                  <a:gd name="connsiteX9" fmla="*/ 0 w 172831"/>
                  <a:gd name="connsiteY9" fmla="*/ 143248 h 14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831" h="143248">
                    <a:moveTo>
                      <a:pt x="0" y="143248"/>
                    </a:moveTo>
                    <a:lnTo>
                      <a:pt x="58649" y="41002"/>
                    </a:lnTo>
                    <a:lnTo>
                      <a:pt x="13494" y="41002"/>
                    </a:lnTo>
                    <a:lnTo>
                      <a:pt x="37369" y="0"/>
                    </a:lnTo>
                    <a:lnTo>
                      <a:pt x="172832" y="0"/>
                    </a:lnTo>
                    <a:lnTo>
                      <a:pt x="149995" y="41002"/>
                    </a:lnTo>
                    <a:lnTo>
                      <a:pt x="103284" y="41002"/>
                    </a:lnTo>
                    <a:lnTo>
                      <a:pt x="44635" y="143248"/>
                    </a:lnTo>
                    <a:lnTo>
                      <a:pt x="0" y="143248"/>
                    </a:lnTo>
                    <a:lnTo>
                      <a:pt x="0" y="143248"/>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7" name="Freeform: Shape 186">
                <a:extLst>
                  <a:ext uri="{FF2B5EF4-FFF2-40B4-BE49-F238E27FC236}">
                    <a16:creationId xmlns:a16="http://schemas.microsoft.com/office/drawing/2014/main" id="{3FD11C39-62F1-42AF-9C95-8861AAF42563}"/>
                  </a:ext>
                </a:extLst>
              </p:cNvPr>
              <p:cNvSpPr/>
              <p:nvPr/>
            </p:nvSpPr>
            <p:spPr>
              <a:xfrm>
                <a:off x="5460675" y="5360754"/>
                <a:ext cx="243417" cy="142729"/>
              </a:xfrm>
              <a:custGeom>
                <a:avLst/>
                <a:gdLst>
                  <a:gd name="connsiteX0" fmla="*/ 0 w 243417"/>
                  <a:gd name="connsiteY0" fmla="*/ 142729 h 142729"/>
                  <a:gd name="connsiteX1" fmla="*/ 84080 w 243417"/>
                  <a:gd name="connsiteY1" fmla="*/ 0 h 142729"/>
                  <a:gd name="connsiteX2" fmla="*/ 128197 w 243417"/>
                  <a:gd name="connsiteY2" fmla="*/ 0 h 142729"/>
                  <a:gd name="connsiteX3" fmla="*/ 97056 w 243417"/>
                  <a:gd name="connsiteY3" fmla="*/ 52420 h 142729"/>
                  <a:gd name="connsiteX4" fmla="*/ 169199 w 243417"/>
                  <a:gd name="connsiteY4" fmla="*/ 52420 h 142729"/>
                  <a:gd name="connsiteX5" fmla="*/ 200340 w 243417"/>
                  <a:gd name="connsiteY5" fmla="*/ 0 h 142729"/>
                  <a:gd name="connsiteX6" fmla="*/ 243418 w 243417"/>
                  <a:gd name="connsiteY6" fmla="*/ 0 h 142729"/>
                  <a:gd name="connsiteX7" fmla="*/ 161933 w 243417"/>
                  <a:gd name="connsiteY7" fmla="*/ 142729 h 142729"/>
                  <a:gd name="connsiteX8" fmla="*/ 115221 w 243417"/>
                  <a:gd name="connsiteY8" fmla="*/ 142729 h 142729"/>
                  <a:gd name="connsiteX9" fmla="*/ 146362 w 243417"/>
                  <a:gd name="connsiteY9" fmla="*/ 87713 h 142729"/>
                  <a:gd name="connsiteX10" fmla="*/ 75257 w 243417"/>
                  <a:gd name="connsiteY10" fmla="*/ 87713 h 142729"/>
                  <a:gd name="connsiteX11" fmla="*/ 44116 w 243417"/>
                  <a:gd name="connsiteY11" fmla="*/ 142729 h 142729"/>
                  <a:gd name="connsiteX12" fmla="*/ 0 w 243417"/>
                  <a:gd name="connsiteY12" fmla="*/ 142729 h 142729"/>
                  <a:gd name="connsiteX13" fmla="*/ 0 w 243417"/>
                  <a:gd name="connsiteY13"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417" h="142729">
                    <a:moveTo>
                      <a:pt x="0" y="142729"/>
                    </a:moveTo>
                    <a:lnTo>
                      <a:pt x="84080" y="0"/>
                    </a:lnTo>
                    <a:lnTo>
                      <a:pt x="128197" y="0"/>
                    </a:lnTo>
                    <a:lnTo>
                      <a:pt x="97056" y="52420"/>
                    </a:lnTo>
                    <a:lnTo>
                      <a:pt x="169199" y="52420"/>
                    </a:lnTo>
                    <a:lnTo>
                      <a:pt x="200340" y="0"/>
                    </a:lnTo>
                    <a:lnTo>
                      <a:pt x="243418" y="0"/>
                    </a:lnTo>
                    <a:lnTo>
                      <a:pt x="161933" y="142729"/>
                    </a:lnTo>
                    <a:lnTo>
                      <a:pt x="115221" y="142729"/>
                    </a:lnTo>
                    <a:lnTo>
                      <a:pt x="146362" y="87713"/>
                    </a:lnTo>
                    <a:lnTo>
                      <a:pt x="75257" y="87713"/>
                    </a:lnTo>
                    <a:lnTo>
                      <a:pt x="44116"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8" name="Freeform: Shape 187">
                <a:extLst>
                  <a:ext uri="{FF2B5EF4-FFF2-40B4-BE49-F238E27FC236}">
                    <a16:creationId xmlns:a16="http://schemas.microsoft.com/office/drawing/2014/main" id="{C3D2B84C-408A-4674-8BDA-8AF978CF8E7E}"/>
                  </a:ext>
                </a:extLst>
              </p:cNvPr>
              <p:cNvSpPr/>
              <p:nvPr/>
            </p:nvSpPr>
            <p:spPr>
              <a:xfrm>
                <a:off x="5666410" y="5360235"/>
                <a:ext cx="216209" cy="144286"/>
              </a:xfrm>
              <a:custGeom>
                <a:avLst/>
                <a:gdLst>
                  <a:gd name="connsiteX0" fmla="*/ 20036 w 216209"/>
                  <a:gd name="connsiteY0" fmla="*/ 144286 h 144286"/>
                  <a:gd name="connsiteX1" fmla="*/ 1871 w 216209"/>
                  <a:gd name="connsiteY1" fmla="*/ 115221 h 144286"/>
                  <a:gd name="connsiteX2" fmla="*/ 52215 w 216209"/>
                  <a:gd name="connsiteY2" fmla="*/ 26470 h 144286"/>
                  <a:gd name="connsiteX3" fmla="*/ 91660 w 216209"/>
                  <a:gd name="connsiteY3" fmla="*/ 0 h 144286"/>
                  <a:gd name="connsiteX4" fmla="*/ 199615 w 216209"/>
                  <a:gd name="connsiteY4" fmla="*/ 0 h 144286"/>
                  <a:gd name="connsiteX5" fmla="*/ 215186 w 216209"/>
                  <a:gd name="connsiteY5" fmla="*/ 25432 h 144286"/>
                  <a:gd name="connsiteX6" fmla="*/ 165879 w 216209"/>
                  <a:gd name="connsiteY6" fmla="*/ 115221 h 144286"/>
                  <a:gd name="connsiteX7" fmla="*/ 119168 w 216209"/>
                  <a:gd name="connsiteY7" fmla="*/ 144286 h 144286"/>
                  <a:gd name="connsiteX8" fmla="*/ 19517 w 216209"/>
                  <a:gd name="connsiteY8" fmla="*/ 144286 h 144286"/>
                  <a:gd name="connsiteX9" fmla="*/ 113459 w 216209"/>
                  <a:gd name="connsiteY9" fmla="*/ 104841 h 144286"/>
                  <a:gd name="connsiteX10" fmla="*/ 135257 w 216209"/>
                  <a:gd name="connsiteY10" fmla="*/ 91866 h 144286"/>
                  <a:gd name="connsiteX11" fmla="*/ 155499 w 216209"/>
                  <a:gd name="connsiteY11" fmla="*/ 52420 h 144286"/>
                  <a:gd name="connsiteX12" fmla="*/ 148233 w 216209"/>
                  <a:gd name="connsiteY12" fmla="*/ 40483 h 144286"/>
                  <a:gd name="connsiteX13" fmla="*/ 100483 w 216209"/>
                  <a:gd name="connsiteY13" fmla="*/ 40483 h 144286"/>
                  <a:gd name="connsiteX14" fmla="*/ 82318 w 216209"/>
                  <a:gd name="connsiteY14" fmla="*/ 52420 h 144286"/>
                  <a:gd name="connsiteX15" fmla="*/ 60519 w 216209"/>
                  <a:gd name="connsiteY15" fmla="*/ 91866 h 144286"/>
                  <a:gd name="connsiteX16" fmla="*/ 67785 w 216209"/>
                  <a:gd name="connsiteY16" fmla="*/ 104841 h 144286"/>
                  <a:gd name="connsiteX17" fmla="*/ 113459 w 216209"/>
                  <a:gd name="connsiteY17" fmla="*/ 104841 h 14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209" h="144286">
                    <a:moveTo>
                      <a:pt x="20036" y="144286"/>
                    </a:moveTo>
                    <a:cubicBezTo>
                      <a:pt x="10175" y="141691"/>
                      <a:pt x="-5396" y="140653"/>
                      <a:pt x="1871" y="115221"/>
                    </a:cubicBezTo>
                    <a:lnTo>
                      <a:pt x="52215" y="26470"/>
                    </a:lnTo>
                    <a:cubicBezTo>
                      <a:pt x="65190" y="10899"/>
                      <a:pt x="75052" y="0"/>
                      <a:pt x="91660" y="0"/>
                    </a:cubicBezTo>
                    <a:lnTo>
                      <a:pt x="199615" y="0"/>
                    </a:lnTo>
                    <a:cubicBezTo>
                      <a:pt x="212590" y="0"/>
                      <a:pt x="218819" y="19204"/>
                      <a:pt x="215186" y="25432"/>
                    </a:cubicBezTo>
                    <a:lnTo>
                      <a:pt x="165879" y="115221"/>
                    </a:lnTo>
                    <a:cubicBezTo>
                      <a:pt x="156537" y="133387"/>
                      <a:pt x="135776" y="144286"/>
                      <a:pt x="119168" y="144286"/>
                    </a:cubicBezTo>
                    <a:lnTo>
                      <a:pt x="19517" y="144286"/>
                    </a:lnTo>
                    <a:close/>
                    <a:moveTo>
                      <a:pt x="113459" y="104841"/>
                    </a:moveTo>
                    <a:cubicBezTo>
                      <a:pt x="120725" y="104841"/>
                      <a:pt x="127991" y="98613"/>
                      <a:pt x="135257" y="91866"/>
                    </a:cubicBezTo>
                    <a:lnTo>
                      <a:pt x="155499" y="52420"/>
                    </a:lnTo>
                    <a:cubicBezTo>
                      <a:pt x="156537" y="48787"/>
                      <a:pt x="154461" y="40483"/>
                      <a:pt x="148233" y="40483"/>
                    </a:cubicBezTo>
                    <a:lnTo>
                      <a:pt x="100483" y="40483"/>
                    </a:lnTo>
                    <a:cubicBezTo>
                      <a:pt x="93217" y="40483"/>
                      <a:pt x="88546" y="45154"/>
                      <a:pt x="82318" y="52420"/>
                    </a:cubicBezTo>
                    <a:lnTo>
                      <a:pt x="60519" y="91866"/>
                    </a:lnTo>
                    <a:cubicBezTo>
                      <a:pt x="55848" y="103803"/>
                      <a:pt x="64152" y="103803"/>
                      <a:pt x="67785" y="104841"/>
                    </a:cubicBezTo>
                    <a:lnTo>
                      <a:pt x="113459" y="104841"/>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9" name="Freeform: Shape 188">
                <a:extLst>
                  <a:ext uri="{FF2B5EF4-FFF2-40B4-BE49-F238E27FC236}">
                    <a16:creationId xmlns:a16="http://schemas.microsoft.com/office/drawing/2014/main" id="{C2D5A7BF-DE76-4806-9A0F-5F0C556013D0}"/>
                  </a:ext>
                </a:extLst>
              </p:cNvPr>
              <p:cNvSpPr/>
              <p:nvPr/>
            </p:nvSpPr>
            <p:spPr>
              <a:xfrm>
                <a:off x="5848379" y="5360754"/>
                <a:ext cx="252241" cy="142729"/>
              </a:xfrm>
              <a:custGeom>
                <a:avLst/>
                <a:gdLst>
                  <a:gd name="connsiteX0" fmla="*/ 0 w 252241"/>
                  <a:gd name="connsiteY0" fmla="*/ 142729 h 142729"/>
                  <a:gd name="connsiteX1" fmla="*/ 81485 w 252241"/>
                  <a:gd name="connsiteY1" fmla="*/ 0 h 142729"/>
                  <a:gd name="connsiteX2" fmla="*/ 127159 w 252241"/>
                  <a:gd name="connsiteY2" fmla="*/ 0 h 142729"/>
                  <a:gd name="connsiteX3" fmla="*/ 154666 w 252241"/>
                  <a:gd name="connsiteY3" fmla="*/ 89790 h 142729"/>
                  <a:gd name="connsiteX4" fmla="*/ 207606 w 252241"/>
                  <a:gd name="connsiteY4" fmla="*/ 0 h 142729"/>
                  <a:gd name="connsiteX5" fmla="*/ 252241 w 252241"/>
                  <a:gd name="connsiteY5" fmla="*/ 0 h 142729"/>
                  <a:gd name="connsiteX6" fmla="*/ 169199 w 252241"/>
                  <a:gd name="connsiteY6" fmla="*/ 142729 h 142729"/>
                  <a:gd name="connsiteX7" fmla="*/ 129754 w 252241"/>
                  <a:gd name="connsiteY7" fmla="*/ 142729 h 142729"/>
                  <a:gd name="connsiteX8" fmla="*/ 100689 w 252241"/>
                  <a:gd name="connsiteY8" fmla="*/ 49306 h 142729"/>
                  <a:gd name="connsiteX9" fmla="*/ 46711 w 252241"/>
                  <a:gd name="connsiteY9" fmla="*/ 142729 h 142729"/>
                  <a:gd name="connsiteX10" fmla="*/ 0 w 252241"/>
                  <a:gd name="connsiteY10" fmla="*/ 142729 h 142729"/>
                  <a:gd name="connsiteX11" fmla="*/ 0 w 252241"/>
                  <a:gd name="connsiteY11" fmla="*/ 142729 h 14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2241" h="142729">
                    <a:moveTo>
                      <a:pt x="0" y="142729"/>
                    </a:moveTo>
                    <a:lnTo>
                      <a:pt x="81485" y="0"/>
                    </a:lnTo>
                    <a:lnTo>
                      <a:pt x="127159" y="0"/>
                    </a:lnTo>
                    <a:lnTo>
                      <a:pt x="154666" y="89790"/>
                    </a:lnTo>
                    <a:lnTo>
                      <a:pt x="207606" y="0"/>
                    </a:lnTo>
                    <a:lnTo>
                      <a:pt x="252241" y="0"/>
                    </a:lnTo>
                    <a:lnTo>
                      <a:pt x="169199" y="142729"/>
                    </a:lnTo>
                    <a:lnTo>
                      <a:pt x="129754" y="142729"/>
                    </a:lnTo>
                    <a:lnTo>
                      <a:pt x="100689" y="49306"/>
                    </a:lnTo>
                    <a:lnTo>
                      <a:pt x="46711"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0" name="Freeform: Shape 189">
                <a:extLst>
                  <a:ext uri="{FF2B5EF4-FFF2-40B4-BE49-F238E27FC236}">
                    <a16:creationId xmlns:a16="http://schemas.microsoft.com/office/drawing/2014/main" id="{C05897B6-88BE-4DBC-9FD7-EFAAA8E781D4}"/>
                  </a:ext>
                </a:extLst>
              </p:cNvPr>
              <p:cNvSpPr/>
              <p:nvPr/>
            </p:nvSpPr>
            <p:spPr>
              <a:xfrm>
                <a:off x="6115152" y="5359716"/>
                <a:ext cx="210200" cy="143767"/>
              </a:xfrm>
              <a:custGeom>
                <a:avLst/>
                <a:gdLst>
                  <a:gd name="connsiteX0" fmla="*/ 116259 w 210200"/>
                  <a:gd name="connsiteY0" fmla="*/ 90828 h 143767"/>
                  <a:gd name="connsiteX1" fmla="*/ 166604 w 210200"/>
                  <a:gd name="connsiteY1" fmla="*/ 45154 h 143767"/>
                  <a:gd name="connsiteX2" fmla="*/ 164009 w 210200"/>
                  <a:gd name="connsiteY2" fmla="*/ 89790 h 143767"/>
                  <a:gd name="connsiteX3" fmla="*/ 116259 w 210200"/>
                  <a:gd name="connsiteY3" fmla="*/ 90828 h 143767"/>
                  <a:gd name="connsiteX4" fmla="*/ 116259 w 210200"/>
                  <a:gd name="connsiteY4" fmla="*/ 90828 h 143767"/>
                  <a:gd name="connsiteX5" fmla="*/ 58649 w 210200"/>
                  <a:gd name="connsiteY5" fmla="*/ 143767 h 143767"/>
                  <a:gd name="connsiteX6" fmla="*/ 80447 w 210200"/>
                  <a:gd name="connsiteY6" fmla="*/ 124044 h 143767"/>
                  <a:gd name="connsiteX7" fmla="*/ 163490 w 210200"/>
                  <a:gd name="connsiteY7" fmla="*/ 124044 h 143767"/>
                  <a:gd name="connsiteX8" fmla="*/ 162452 w 210200"/>
                  <a:gd name="connsiteY8" fmla="*/ 143248 h 143767"/>
                  <a:gd name="connsiteX9" fmla="*/ 203973 w 210200"/>
                  <a:gd name="connsiteY9" fmla="*/ 143248 h 143767"/>
                  <a:gd name="connsiteX10" fmla="*/ 210201 w 210200"/>
                  <a:gd name="connsiteY10" fmla="*/ 0 h 143767"/>
                  <a:gd name="connsiteX11" fmla="*/ 157262 w 210200"/>
                  <a:gd name="connsiteY11" fmla="*/ 0 h 143767"/>
                  <a:gd name="connsiteX12" fmla="*/ 0 w 210200"/>
                  <a:gd name="connsiteY12" fmla="*/ 143248 h 143767"/>
                  <a:gd name="connsiteX13" fmla="*/ 58649 w 210200"/>
                  <a:gd name="connsiteY13" fmla="*/ 143248 h 14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200" h="143767">
                    <a:moveTo>
                      <a:pt x="116259" y="90828"/>
                    </a:moveTo>
                    <a:lnTo>
                      <a:pt x="166604" y="45154"/>
                    </a:lnTo>
                    <a:lnTo>
                      <a:pt x="164009" y="89790"/>
                    </a:lnTo>
                    <a:lnTo>
                      <a:pt x="116259" y="90828"/>
                    </a:lnTo>
                    <a:lnTo>
                      <a:pt x="116259" y="90828"/>
                    </a:lnTo>
                    <a:close/>
                    <a:moveTo>
                      <a:pt x="58649" y="143767"/>
                    </a:moveTo>
                    <a:lnTo>
                      <a:pt x="80447" y="124044"/>
                    </a:lnTo>
                    <a:lnTo>
                      <a:pt x="163490" y="124044"/>
                    </a:lnTo>
                    <a:lnTo>
                      <a:pt x="162452" y="143248"/>
                    </a:lnTo>
                    <a:lnTo>
                      <a:pt x="203973" y="143248"/>
                    </a:lnTo>
                    <a:lnTo>
                      <a:pt x="210201" y="0"/>
                    </a:lnTo>
                    <a:lnTo>
                      <a:pt x="157262" y="0"/>
                    </a:lnTo>
                    <a:lnTo>
                      <a:pt x="0" y="143248"/>
                    </a:lnTo>
                    <a:lnTo>
                      <a:pt x="58649" y="143248"/>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1" name="Freeform: Shape 190">
                <a:extLst>
                  <a:ext uri="{FF2B5EF4-FFF2-40B4-BE49-F238E27FC236}">
                    <a16:creationId xmlns:a16="http://schemas.microsoft.com/office/drawing/2014/main" id="{3D277B89-F985-42CF-A45D-A3AC96C703B8}"/>
                  </a:ext>
                </a:extLst>
              </p:cNvPr>
              <p:cNvSpPr/>
              <p:nvPr/>
            </p:nvSpPr>
            <p:spPr>
              <a:xfrm>
                <a:off x="5080237" y="5577183"/>
                <a:ext cx="145324" cy="142728"/>
              </a:xfrm>
              <a:custGeom>
                <a:avLst/>
                <a:gdLst>
                  <a:gd name="connsiteX0" fmla="*/ 0 w 145324"/>
                  <a:gd name="connsiteY0" fmla="*/ 142729 h 142728"/>
                  <a:gd name="connsiteX1" fmla="*/ 80447 w 145324"/>
                  <a:gd name="connsiteY1" fmla="*/ 0 h 142728"/>
                  <a:gd name="connsiteX2" fmla="*/ 128716 w 145324"/>
                  <a:gd name="connsiteY2" fmla="*/ 0 h 142728"/>
                  <a:gd name="connsiteX3" fmla="*/ 69548 w 145324"/>
                  <a:gd name="connsiteY3" fmla="*/ 103284 h 142728"/>
                  <a:gd name="connsiteX4" fmla="*/ 145324 w 145324"/>
                  <a:gd name="connsiteY4" fmla="*/ 103284 h 142728"/>
                  <a:gd name="connsiteX5" fmla="*/ 122487 w 145324"/>
                  <a:gd name="connsiteY5" fmla="*/ 142729 h 142728"/>
                  <a:gd name="connsiteX6" fmla="*/ 0 w 145324"/>
                  <a:gd name="connsiteY6" fmla="*/ 142729 h 142728"/>
                  <a:gd name="connsiteX7" fmla="*/ 0 w 145324"/>
                  <a:gd name="connsiteY7"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24" h="142728">
                    <a:moveTo>
                      <a:pt x="0" y="142729"/>
                    </a:moveTo>
                    <a:lnTo>
                      <a:pt x="80447" y="0"/>
                    </a:lnTo>
                    <a:lnTo>
                      <a:pt x="128716" y="0"/>
                    </a:lnTo>
                    <a:lnTo>
                      <a:pt x="69548" y="103284"/>
                    </a:lnTo>
                    <a:lnTo>
                      <a:pt x="145324" y="103284"/>
                    </a:lnTo>
                    <a:lnTo>
                      <a:pt x="122487"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2" name="Freeform: Shape 191">
                <a:extLst>
                  <a:ext uri="{FF2B5EF4-FFF2-40B4-BE49-F238E27FC236}">
                    <a16:creationId xmlns:a16="http://schemas.microsoft.com/office/drawing/2014/main" id="{7DB80476-0E1B-4815-9C43-50AFE2C7879F}"/>
                  </a:ext>
                </a:extLst>
              </p:cNvPr>
              <p:cNvSpPr/>
              <p:nvPr/>
            </p:nvSpPr>
            <p:spPr>
              <a:xfrm>
                <a:off x="5219333" y="5577183"/>
                <a:ext cx="127677" cy="142728"/>
              </a:xfrm>
              <a:custGeom>
                <a:avLst/>
                <a:gdLst>
                  <a:gd name="connsiteX0" fmla="*/ 0 w 127677"/>
                  <a:gd name="connsiteY0" fmla="*/ 142729 h 142728"/>
                  <a:gd name="connsiteX1" fmla="*/ 83042 w 127677"/>
                  <a:gd name="connsiteY1" fmla="*/ 0 h 142728"/>
                  <a:gd name="connsiteX2" fmla="*/ 127678 w 127677"/>
                  <a:gd name="connsiteY2" fmla="*/ 0 h 142728"/>
                  <a:gd name="connsiteX3" fmla="*/ 45673 w 127677"/>
                  <a:gd name="connsiteY3" fmla="*/ 142729 h 142728"/>
                  <a:gd name="connsiteX4" fmla="*/ 0 w 127677"/>
                  <a:gd name="connsiteY4" fmla="*/ 142729 h 142728"/>
                  <a:gd name="connsiteX5" fmla="*/ 0 w 127677"/>
                  <a:gd name="connsiteY5"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677" h="142728">
                    <a:moveTo>
                      <a:pt x="0" y="142729"/>
                    </a:moveTo>
                    <a:lnTo>
                      <a:pt x="83042" y="0"/>
                    </a:lnTo>
                    <a:lnTo>
                      <a:pt x="127678" y="0"/>
                    </a:lnTo>
                    <a:lnTo>
                      <a:pt x="45673"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3" name="Freeform: Shape 192">
                <a:extLst>
                  <a:ext uri="{FF2B5EF4-FFF2-40B4-BE49-F238E27FC236}">
                    <a16:creationId xmlns:a16="http://schemas.microsoft.com/office/drawing/2014/main" id="{A8ABA86B-B6F9-4078-914C-15EBA560483D}"/>
                  </a:ext>
                </a:extLst>
              </p:cNvPr>
              <p:cNvSpPr/>
              <p:nvPr/>
            </p:nvSpPr>
            <p:spPr>
              <a:xfrm>
                <a:off x="5820871" y="5577183"/>
                <a:ext cx="128715" cy="142728"/>
              </a:xfrm>
              <a:custGeom>
                <a:avLst/>
                <a:gdLst>
                  <a:gd name="connsiteX0" fmla="*/ 0 w 128715"/>
                  <a:gd name="connsiteY0" fmla="*/ 142729 h 142728"/>
                  <a:gd name="connsiteX1" fmla="*/ 84080 w 128715"/>
                  <a:gd name="connsiteY1" fmla="*/ 0 h 142728"/>
                  <a:gd name="connsiteX2" fmla="*/ 128716 w 128715"/>
                  <a:gd name="connsiteY2" fmla="*/ 0 h 142728"/>
                  <a:gd name="connsiteX3" fmla="*/ 45673 w 128715"/>
                  <a:gd name="connsiteY3" fmla="*/ 142729 h 142728"/>
                  <a:gd name="connsiteX4" fmla="*/ 0 w 128715"/>
                  <a:gd name="connsiteY4" fmla="*/ 142729 h 142728"/>
                  <a:gd name="connsiteX5" fmla="*/ 0 w 128715"/>
                  <a:gd name="connsiteY5"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715" h="142728">
                    <a:moveTo>
                      <a:pt x="0" y="142729"/>
                    </a:moveTo>
                    <a:lnTo>
                      <a:pt x="84080" y="0"/>
                    </a:lnTo>
                    <a:lnTo>
                      <a:pt x="128716" y="0"/>
                    </a:lnTo>
                    <a:lnTo>
                      <a:pt x="45673"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4" name="Freeform: Shape 193">
                <a:extLst>
                  <a:ext uri="{FF2B5EF4-FFF2-40B4-BE49-F238E27FC236}">
                    <a16:creationId xmlns:a16="http://schemas.microsoft.com/office/drawing/2014/main" id="{7E64D0AF-8239-4F91-9944-CCB46B96F607}"/>
                  </a:ext>
                </a:extLst>
              </p:cNvPr>
              <p:cNvSpPr/>
              <p:nvPr/>
            </p:nvSpPr>
            <p:spPr>
              <a:xfrm>
                <a:off x="5712916" y="5577183"/>
                <a:ext cx="174388" cy="142728"/>
              </a:xfrm>
              <a:custGeom>
                <a:avLst/>
                <a:gdLst>
                  <a:gd name="connsiteX0" fmla="*/ 0 w 174388"/>
                  <a:gd name="connsiteY0" fmla="*/ 142729 h 142728"/>
                  <a:gd name="connsiteX1" fmla="*/ 59168 w 174388"/>
                  <a:gd name="connsiteY1" fmla="*/ 41002 h 142728"/>
                  <a:gd name="connsiteX2" fmla="*/ 14532 w 174388"/>
                  <a:gd name="connsiteY2" fmla="*/ 41002 h 142728"/>
                  <a:gd name="connsiteX3" fmla="*/ 37369 w 174388"/>
                  <a:gd name="connsiteY3" fmla="*/ 0 h 142728"/>
                  <a:gd name="connsiteX4" fmla="*/ 174389 w 174388"/>
                  <a:gd name="connsiteY4" fmla="*/ 0 h 142728"/>
                  <a:gd name="connsiteX5" fmla="*/ 151552 w 174388"/>
                  <a:gd name="connsiteY5" fmla="*/ 39445 h 142728"/>
                  <a:gd name="connsiteX6" fmla="*/ 104322 w 174388"/>
                  <a:gd name="connsiteY6" fmla="*/ 39445 h 142728"/>
                  <a:gd name="connsiteX7" fmla="*/ 44635 w 174388"/>
                  <a:gd name="connsiteY7" fmla="*/ 142729 h 142728"/>
                  <a:gd name="connsiteX8" fmla="*/ 0 w 174388"/>
                  <a:gd name="connsiteY8" fmla="*/ 142729 h 142728"/>
                  <a:gd name="connsiteX9" fmla="*/ 0 w 174388"/>
                  <a:gd name="connsiteY9"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4388" h="142728">
                    <a:moveTo>
                      <a:pt x="0" y="142729"/>
                    </a:moveTo>
                    <a:lnTo>
                      <a:pt x="59168" y="41002"/>
                    </a:lnTo>
                    <a:lnTo>
                      <a:pt x="14532" y="41002"/>
                    </a:lnTo>
                    <a:lnTo>
                      <a:pt x="37369" y="0"/>
                    </a:lnTo>
                    <a:lnTo>
                      <a:pt x="174389" y="0"/>
                    </a:lnTo>
                    <a:lnTo>
                      <a:pt x="151552" y="39445"/>
                    </a:lnTo>
                    <a:lnTo>
                      <a:pt x="104322" y="39445"/>
                    </a:lnTo>
                    <a:lnTo>
                      <a:pt x="4463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5" name="Freeform: Shape 194">
                <a:extLst>
                  <a:ext uri="{FF2B5EF4-FFF2-40B4-BE49-F238E27FC236}">
                    <a16:creationId xmlns:a16="http://schemas.microsoft.com/office/drawing/2014/main" id="{7E9CDF81-5CA3-4B09-AB97-2F6991877B9D}"/>
                  </a:ext>
                </a:extLst>
              </p:cNvPr>
              <p:cNvSpPr/>
              <p:nvPr/>
            </p:nvSpPr>
            <p:spPr>
              <a:xfrm>
                <a:off x="5490778" y="5577183"/>
                <a:ext cx="241341" cy="142728"/>
              </a:xfrm>
              <a:custGeom>
                <a:avLst/>
                <a:gdLst>
                  <a:gd name="connsiteX0" fmla="*/ 0 w 241341"/>
                  <a:gd name="connsiteY0" fmla="*/ 142729 h 142728"/>
                  <a:gd name="connsiteX1" fmla="*/ 82004 w 241341"/>
                  <a:gd name="connsiteY1" fmla="*/ 0 h 142728"/>
                  <a:gd name="connsiteX2" fmla="*/ 126121 w 241341"/>
                  <a:gd name="connsiteY2" fmla="*/ 0 h 142728"/>
                  <a:gd name="connsiteX3" fmla="*/ 96018 w 241341"/>
                  <a:gd name="connsiteY3" fmla="*/ 51382 h 142728"/>
                  <a:gd name="connsiteX4" fmla="*/ 168161 w 241341"/>
                  <a:gd name="connsiteY4" fmla="*/ 51382 h 142728"/>
                  <a:gd name="connsiteX5" fmla="*/ 198264 w 241341"/>
                  <a:gd name="connsiteY5" fmla="*/ 0 h 142728"/>
                  <a:gd name="connsiteX6" fmla="*/ 241342 w 241341"/>
                  <a:gd name="connsiteY6" fmla="*/ 0 h 142728"/>
                  <a:gd name="connsiteX7" fmla="*/ 162452 w 241341"/>
                  <a:gd name="connsiteY7" fmla="*/ 142729 h 142728"/>
                  <a:gd name="connsiteX8" fmla="*/ 115221 w 241341"/>
                  <a:gd name="connsiteY8" fmla="*/ 142729 h 142728"/>
                  <a:gd name="connsiteX9" fmla="*/ 145324 w 241341"/>
                  <a:gd name="connsiteY9" fmla="*/ 87713 h 142728"/>
                  <a:gd name="connsiteX10" fmla="*/ 74738 w 241341"/>
                  <a:gd name="connsiteY10" fmla="*/ 87713 h 142728"/>
                  <a:gd name="connsiteX11" fmla="*/ 44635 w 241341"/>
                  <a:gd name="connsiteY11" fmla="*/ 142729 h 142728"/>
                  <a:gd name="connsiteX12" fmla="*/ 0 w 241341"/>
                  <a:gd name="connsiteY12" fmla="*/ 142729 h 142728"/>
                  <a:gd name="connsiteX13" fmla="*/ 0 w 241341"/>
                  <a:gd name="connsiteY13"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1341" h="142728">
                    <a:moveTo>
                      <a:pt x="0" y="142729"/>
                    </a:moveTo>
                    <a:lnTo>
                      <a:pt x="82004" y="0"/>
                    </a:lnTo>
                    <a:lnTo>
                      <a:pt x="126121" y="0"/>
                    </a:lnTo>
                    <a:lnTo>
                      <a:pt x="96018" y="51382"/>
                    </a:lnTo>
                    <a:lnTo>
                      <a:pt x="168161" y="51382"/>
                    </a:lnTo>
                    <a:lnTo>
                      <a:pt x="198264" y="0"/>
                    </a:lnTo>
                    <a:lnTo>
                      <a:pt x="241342" y="0"/>
                    </a:lnTo>
                    <a:lnTo>
                      <a:pt x="162452" y="142729"/>
                    </a:lnTo>
                    <a:lnTo>
                      <a:pt x="115221" y="142729"/>
                    </a:lnTo>
                    <a:lnTo>
                      <a:pt x="145324" y="87713"/>
                    </a:lnTo>
                    <a:lnTo>
                      <a:pt x="74738" y="87713"/>
                    </a:lnTo>
                    <a:lnTo>
                      <a:pt x="44635"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6" name="Freeform: Shape 195">
                <a:extLst>
                  <a:ext uri="{FF2B5EF4-FFF2-40B4-BE49-F238E27FC236}">
                    <a16:creationId xmlns:a16="http://schemas.microsoft.com/office/drawing/2014/main" id="{E12A44C1-A210-4E98-BCE1-8AB8736606F2}"/>
                  </a:ext>
                </a:extLst>
              </p:cNvPr>
              <p:cNvSpPr/>
              <p:nvPr/>
            </p:nvSpPr>
            <p:spPr>
              <a:xfrm>
                <a:off x="5899242" y="5577183"/>
                <a:ext cx="251722" cy="142728"/>
              </a:xfrm>
              <a:custGeom>
                <a:avLst/>
                <a:gdLst>
                  <a:gd name="connsiteX0" fmla="*/ 0 w 251722"/>
                  <a:gd name="connsiteY0" fmla="*/ 142729 h 142728"/>
                  <a:gd name="connsiteX1" fmla="*/ 81485 w 251722"/>
                  <a:gd name="connsiteY1" fmla="*/ 0 h 142728"/>
                  <a:gd name="connsiteX2" fmla="*/ 127159 w 251722"/>
                  <a:gd name="connsiteY2" fmla="*/ 0 h 142728"/>
                  <a:gd name="connsiteX3" fmla="*/ 154666 w 251722"/>
                  <a:gd name="connsiteY3" fmla="*/ 88751 h 142728"/>
                  <a:gd name="connsiteX4" fmla="*/ 206568 w 251722"/>
                  <a:gd name="connsiteY4" fmla="*/ 0 h 142728"/>
                  <a:gd name="connsiteX5" fmla="*/ 251722 w 251722"/>
                  <a:gd name="connsiteY5" fmla="*/ 0 h 142728"/>
                  <a:gd name="connsiteX6" fmla="*/ 170237 w 251722"/>
                  <a:gd name="connsiteY6" fmla="*/ 142729 h 142728"/>
                  <a:gd name="connsiteX7" fmla="*/ 129754 w 251722"/>
                  <a:gd name="connsiteY7" fmla="*/ 142729 h 142728"/>
                  <a:gd name="connsiteX8" fmla="*/ 100689 w 251722"/>
                  <a:gd name="connsiteY8" fmla="*/ 47749 h 142728"/>
                  <a:gd name="connsiteX9" fmla="*/ 47749 w 251722"/>
                  <a:gd name="connsiteY9" fmla="*/ 142729 h 142728"/>
                  <a:gd name="connsiteX10" fmla="*/ 0 w 251722"/>
                  <a:gd name="connsiteY10" fmla="*/ 142729 h 142728"/>
                  <a:gd name="connsiteX11" fmla="*/ 0 w 251722"/>
                  <a:gd name="connsiteY11" fmla="*/ 142729 h 1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722" h="142728">
                    <a:moveTo>
                      <a:pt x="0" y="142729"/>
                    </a:moveTo>
                    <a:lnTo>
                      <a:pt x="81485" y="0"/>
                    </a:lnTo>
                    <a:lnTo>
                      <a:pt x="127159" y="0"/>
                    </a:lnTo>
                    <a:lnTo>
                      <a:pt x="154666" y="88751"/>
                    </a:lnTo>
                    <a:lnTo>
                      <a:pt x="206568" y="0"/>
                    </a:lnTo>
                    <a:lnTo>
                      <a:pt x="251722" y="0"/>
                    </a:lnTo>
                    <a:lnTo>
                      <a:pt x="170237" y="142729"/>
                    </a:lnTo>
                    <a:lnTo>
                      <a:pt x="129754" y="142729"/>
                    </a:lnTo>
                    <a:lnTo>
                      <a:pt x="100689" y="47749"/>
                    </a:lnTo>
                    <a:lnTo>
                      <a:pt x="47749" y="142729"/>
                    </a:lnTo>
                    <a:lnTo>
                      <a:pt x="0" y="142729"/>
                    </a:lnTo>
                    <a:lnTo>
                      <a:pt x="0" y="142729"/>
                    </a:lnTo>
                    <a:close/>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97" name="Freeform: Shape 196">
                <a:extLst>
                  <a:ext uri="{FF2B5EF4-FFF2-40B4-BE49-F238E27FC236}">
                    <a16:creationId xmlns:a16="http://schemas.microsoft.com/office/drawing/2014/main" id="{EC3041B2-5BAD-43FE-A3E9-161D4419ED2D}"/>
                  </a:ext>
                </a:extLst>
              </p:cNvPr>
              <p:cNvSpPr/>
              <p:nvPr/>
            </p:nvSpPr>
            <p:spPr>
              <a:xfrm>
                <a:off x="5309337" y="5576145"/>
                <a:ext cx="218781" cy="143767"/>
              </a:xfrm>
              <a:custGeom>
                <a:avLst/>
                <a:gdLst>
                  <a:gd name="connsiteX0" fmla="*/ 58435 w 218781"/>
                  <a:gd name="connsiteY0" fmla="*/ 20242 h 143767"/>
                  <a:gd name="connsiteX1" fmla="*/ 10685 w 218781"/>
                  <a:gd name="connsiteY1" fmla="*/ 102246 h 143767"/>
                  <a:gd name="connsiteX2" fmla="*/ 24699 w 218781"/>
                  <a:gd name="connsiteY2" fmla="*/ 143767 h 143767"/>
                  <a:gd name="connsiteX3" fmla="*/ 112931 w 218781"/>
                  <a:gd name="connsiteY3" fmla="*/ 143767 h 143767"/>
                  <a:gd name="connsiteX4" fmla="*/ 174694 w 218781"/>
                  <a:gd name="connsiteY4" fmla="*/ 105360 h 143767"/>
                  <a:gd name="connsiteX5" fmla="*/ 197012 w 218781"/>
                  <a:gd name="connsiteY5" fmla="*/ 63839 h 143767"/>
                  <a:gd name="connsiteX6" fmla="*/ 119678 w 218781"/>
                  <a:gd name="connsiteY6" fmla="*/ 63839 h 143767"/>
                  <a:gd name="connsiteX7" fmla="*/ 102551 w 218781"/>
                  <a:gd name="connsiteY7" fmla="*/ 92904 h 143767"/>
                  <a:gd name="connsiteX8" fmla="*/ 135768 w 218781"/>
                  <a:gd name="connsiteY8" fmla="*/ 92904 h 143767"/>
                  <a:gd name="connsiteX9" fmla="*/ 113969 w 218781"/>
                  <a:gd name="connsiteY9" fmla="*/ 104841 h 143767"/>
                  <a:gd name="connsiteX10" fmla="*/ 67777 w 218781"/>
                  <a:gd name="connsiteY10" fmla="*/ 104841 h 143767"/>
                  <a:gd name="connsiteX11" fmla="*/ 62068 w 218781"/>
                  <a:gd name="connsiteY11" fmla="*/ 90828 h 143767"/>
                  <a:gd name="connsiteX12" fmla="*/ 86981 w 218781"/>
                  <a:gd name="connsiteY12" fmla="*/ 49306 h 143767"/>
                  <a:gd name="connsiteX13" fmla="*/ 108779 w 218781"/>
                  <a:gd name="connsiteY13" fmla="*/ 36850 h 143767"/>
                  <a:gd name="connsiteX14" fmla="*/ 150819 w 218781"/>
                  <a:gd name="connsiteY14" fmla="*/ 36850 h 143767"/>
                  <a:gd name="connsiteX15" fmla="*/ 160681 w 218781"/>
                  <a:gd name="connsiteY15" fmla="*/ 48268 h 143767"/>
                  <a:gd name="connsiteX16" fmla="*/ 205835 w 218781"/>
                  <a:gd name="connsiteY16" fmla="*/ 48268 h 143767"/>
                  <a:gd name="connsiteX17" fmla="*/ 217253 w 218781"/>
                  <a:gd name="connsiteY17" fmla="*/ 28546 h 143767"/>
                  <a:gd name="connsiteX18" fmla="*/ 199088 w 218781"/>
                  <a:gd name="connsiteY18" fmla="*/ 0 h 143767"/>
                  <a:gd name="connsiteX19" fmla="*/ 106703 w 218781"/>
                  <a:gd name="connsiteY19" fmla="*/ 0 h 143767"/>
                  <a:gd name="connsiteX20" fmla="*/ 58954 w 218781"/>
                  <a:gd name="connsiteY20" fmla="*/ 19723 h 14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781" h="143767">
                    <a:moveTo>
                      <a:pt x="58435" y="20242"/>
                    </a:moveTo>
                    <a:cubicBezTo>
                      <a:pt x="49093" y="35293"/>
                      <a:pt x="10685" y="102246"/>
                      <a:pt x="10685" y="102246"/>
                    </a:cubicBezTo>
                    <a:cubicBezTo>
                      <a:pt x="10685" y="102246"/>
                      <a:pt x="-20974" y="143767"/>
                      <a:pt x="24699" y="143767"/>
                    </a:cubicBezTo>
                    <a:cubicBezTo>
                      <a:pt x="70372" y="143767"/>
                      <a:pt x="102032" y="143767"/>
                      <a:pt x="112931" y="143767"/>
                    </a:cubicBezTo>
                    <a:cubicBezTo>
                      <a:pt x="138363" y="143767"/>
                      <a:pt x="156529" y="139615"/>
                      <a:pt x="174694" y="105360"/>
                    </a:cubicBezTo>
                    <a:lnTo>
                      <a:pt x="197012" y="63839"/>
                    </a:lnTo>
                    <a:lnTo>
                      <a:pt x="119678" y="63839"/>
                    </a:lnTo>
                    <a:lnTo>
                      <a:pt x="102551" y="92904"/>
                    </a:lnTo>
                    <a:lnTo>
                      <a:pt x="135768" y="92904"/>
                    </a:lnTo>
                    <a:cubicBezTo>
                      <a:pt x="135768" y="92904"/>
                      <a:pt x="133173" y="104841"/>
                      <a:pt x="113969" y="104841"/>
                    </a:cubicBezTo>
                    <a:cubicBezTo>
                      <a:pt x="113969" y="104841"/>
                      <a:pt x="75043" y="104841"/>
                      <a:pt x="67777" y="104841"/>
                    </a:cubicBezTo>
                    <a:cubicBezTo>
                      <a:pt x="60511" y="104841"/>
                      <a:pt x="57916" y="98613"/>
                      <a:pt x="62068" y="90828"/>
                    </a:cubicBezTo>
                    <a:cubicBezTo>
                      <a:pt x="66220" y="83042"/>
                      <a:pt x="84385" y="53458"/>
                      <a:pt x="86981" y="49306"/>
                    </a:cubicBezTo>
                    <a:cubicBezTo>
                      <a:pt x="89576" y="45154"/>
                      <a:pt x="91133" y="36850"/>
                      <a:pt x="108779" y="36850"/>
                    </a:cubicBezTo>
                    <a:cubicBezTo>
                      <a:pt x="126426" y="36850"/>
                      <a:pt x="150819" y="36850"/>
                      <a:pt x="150819" y="36850"/>
                    </a:cubicBezTo>
                    <a:cubicBezTo>
                      <a:pt x="150819" y="36850"/>
                      <a:pt x="168466" y="35293"/>
                      <a:pt x="160681" y="48268"/>
                    </a:cubicBezTo>
                    <a:lnTo>
                      <a:pt x="205835" y="48268"/>
                    </a:lnTo>
                    <a:lnTo>
                      <a:pt x="217253" y="28546"/>
                    </a:lnTo>
                    <a:cubicBezTo>
                      <a:pt x="217253" y="28546"/>
                      <a:pt x="226595" y="0"/>
                      <a:pt x="199088" y="0"/>
                    </a:cubicBezTo>
                    <a:cubicBezTo>
                      <a:pt x="199088" y="0"/>
                      <a:pt x="134211" y="0"/>
                      <a:pt x="106703" y="0"/>
                    </a:cubicBezTo>
                    <a:cubicBezTo>
                      <a:pt x="79195" y="0"/>
                      <a:pt x="67777" y="5190"/>
                      <a:pt x="58954" y="19723"/>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198" name="Graphic 1339">
                <a:extLst>
                  <a:ext uri="{FF2B5EF4-FFF2-40B4-BE49-F238E27FC236}">
                    <a16:creationId xmlns:a16="http://schemas.microsoft.com/office/drawing/2014/main" id="{36FFB664-6A6D-48A8-91D1-A95FB7A30DCC}"/>
                  </a:ext>
                </a:extLst>
              </p:cNvPr>
              <p:cNvGrpSpPr/>
              <p:nvPr/>
            </p:nvGrpSpPr>
            <p:grpSpPr>
              <a:xfrm>
                <a:off x="6115885" y="5575626"/>
                <a:ext cx="229709" cy="145324"/>
                <a:chOff x="6115885" y="5575626"/>
                <a:chExt cx="229709" cy="145324"/>
              </a:xfrm>
              <a:solidFill>
                <a:srgbClr val="A1ABB2"/>
              </a:solidFill>
            </p:grpSpPr>
            <p:sp>
              <p:nvSpPr>
                <p:cNvPr id="199" name="Freeform: Shape 198">
                  <a:extLst>
                    <a:ext uri="{FF2B5EF4-FFF2-40B4-BE49-F238E27FC236}">
                      <a16:creationId xmlns:a16="http://schemas.microsoft.com/office/drawing/2014/main" id="{FEC3169E-F02E-4F9F-89AA-EEF91B92AD91}"/>
                    </a:ext>
                  </a:extLst>
                </p:cNvPr>
                <p:cNvSpPr/>
                <p:nvPr/>
              </p:nvSpPr>
              <p:spPr>
                <a:xfrm>
                  <a:off x="6115885" y="5575626"/>
                  <a:ext cx="218262" cy="144286"/>
                </a:xfrm>
                <a:custGeom>
                  <a:avLst/>
                  <a:gdLst>
                    <a:gd name="connsiteX0" fmla="*/ 58435 w 218262"/>
                    <a:gd name="connsiteY0" fmla="*/ 20761 h 144286"/>
                    <a:gd name="connsiteX1" fmla="*/ 10685 w 218262"/>
                    <a:gd name="connsiteY1" fmla="*/ 102765 h 144286"/>
                    <a:gd name="connsiteX2" fmla="*/ 24699 w 218262"/>
                    <a:gd name="connsiteY2" fmla="*/ 144286 h 144286"/>
                    <a:gd name="connsiteX3" fmla="*/ 112931 w 218262"/>
                    <a:gd name="connsiteY3" fmla="*/ 144286 h 144286"/>
                    <a:gd name="connsiteX4" fmla="*/ 174694 w 218262"/>
                    <a:gd name="connsiteY4" fmla="*/ 105879 h 144286"/>
                    <a:gd name="connsiteX5" fmla="*/ 197012 w 218262"/>
                    <a:gd name="connsiteY5" fmla="*/ 64358 h 144286"/>
                    <a:gd name="connsiteX6" fmla="*/ 119159 w 218262"/>
                    <a:gd name="connsiteY6" fmla="*/ 64358 h 144286"/>
                    <a:gd name="connsiteX7" fmla="*/ 102032 w 218262"/>
                    <a:gd name="connsiteY7" fmla="*/ 93423 h 144286"/>
                    <a:gd name="connsiteX8" fmla="*/ 135249 w 218262"/>
                    <a:gd name="connsiteY8" fmla="*/ 93423 h 144286"/>
                    <a:gd name="connsiteX9" fmla="*/ 113450 w 218262"/>
                    <a:gd name="connsiteY9" fmla="*/ 105360 h 144286"/>
                    <a:gd name="connsiteX10" fmla="*/ 67258 w 218262"/>
                    <a:gd name="connsiteY10" fmla="*/ 105360 h 144286"/>
                    <a:gd name="connsiteX11" fmla="*/ 61549 w 218262"/>
                    <a:gd name="connsiteY11" fmla="*/ 91347 h 144286"/>
                    <a:gd name="connsiteX12" fmla="*/ 86461 w 218262"/>
                    <a:gd name="connsiteY12" fmla="*/ 49306 h 144286"/>
                    <a:gd name="connsiteX13" fmla="*/ 108260 w 218262"/>
                    <a:gd name="connsiteY13" fmla="*/ 36850 h 144286"/>
                    <a:gd name="connsiteX14" fmla="*/ 150300 w 218262"/>
                    <a:gd name="connsiteY14" fmla="*/ 36850 h 144286"/>
                    <a:gd name="connsiteX15" fmla="*/ 160162 w 218262"/>
                    <a:gd name="connsiteY15" fmla="*/ 48268 h 144286"/>
                    <a:gd name="connsiteX16" fmla="*/ 205316 w 218262"/>
                    <a:gd name="connsiteY16" fmla="*/ 48268 h 144286"/>
                    <a:gd name="connsiteX17" fmla="*/ 216734 w 218262"/>
                    <a:gd name="connsiteY17" fmla="*/ 28546 h 144286"/>
                    <a:gd name="connsiteX18" fmla="*/ 198569 w 218262"/>
                    <a:gd name="connsiteY18" fmla="*/ 0 h 144286"/>
                    <a:gd name="connsiteX19" fmla="*/ 106184 w 218262"/>
                    <a:gd name="connsiteY19" fmla="*/ 0 h 144286"/>
                    <a:gd name="connsiteX20" fmla="*/ 58435 w 218262"/>
                    <a:gd name="connsiteY20" fmla="*/ 19723 h 144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8262" h="144286">
                      <a:moveTo>
                        <a:pt x="58435" y="20761"/>
                      </a:moveTo>
                      <a:cubicBezTo>
                        <a:pt x="49093" y="35812"/>
                        <a:pt x="10685" y="102765"/>
                        <a:pt x="10685" y="102765"/>
                      </a:cubicBezTo>
                      <a:cubicBezTo>
                        <a:pt x="10685" y="102765"/>
                        <a:pt x="-20975" y="144286"/>
                        <a:pt x="24699" y="144286"/>
                      </a:cubicBezTo>
                      <a:cubicBezTo>
                        <a:pt x="70372" y="144286"/>
                        <a:pt x="102032" y="144286"/>
                        <a:pt x="112931" y="144286"/>
                      </a:cubicBezTo>
                      <a:cubicBezTo>
                        <a:pt x="138363" y="144286"/>
                        <a:pt x="156529" y="140134"/>
                        <a:pt x="174694" y="105879"/>
                      </a:cubicBezTo>
                      <a:lnTo>
                        <a:pt x="197012" y="64358"/>
                      </a:lnTo>
                      <a:lnTo>
                        <a:pt x="119159" y="64358"/>
                      </a:lnTo>
                      <a:lnTo>
                        <a:pt x="102032" y="93423"/>
                      </a:lnTo>
                      <a:lnTo>
                        <a:pt x="135249" y="93423"/>
                      </a:lnTo>
                      <a:cubicBezTo>
                        <a:pt x="135249" y="93423"/>
                        <a:pt x="132654" y="105360"/>
                        <a:pt x="113450" y="105360"/>
                      </a:cubicBezTo>
                      <a:cubicBezTo>
                        <a:pt x="113450" y="105360"/>
                        <a:pt x="74524" y="105360"/>
                        <a:pt x="67258" y="105360"/>
                      </a:cubicBezTo>
                      <a:cubicBezTo>
                        <a:pt x="59992" y="105360"/>
                        <a:pt x="57397" y="99132"/>
                        <a:pt x="61549" y="91347"/>
                      </a:cubicBezTo>
                      <a:cubicBezTo>
                        <a:pt x="65701" y="83561"/>
                        <a:pt x="83348" y="53978"/>
                        <a:pt x="86461" y="49306"/>
                      </a:cubicBezTo>
                      <a:cubicBezTo>
                        <a:pt x="89057" y="45154"/>
                        <a:pt x="90614" y="36850"/>
                        <a:pt x="108260" y="36850"/>
                      </a:cubicBezTo>
                      <a:cubicBezTo>
                        <a:pt x="125907" y="36850"/>
                        <a:pt x="150300" y="36850"/>
                        <a:pt x="150300" y="36850"/>
                      </a:cubicBezTo>
                      <a:cubicBezTo>
                        <a:pt x="150300" y="36850"/>
                        <a:pt x="167947" y="35293"/>
                        <a:pt x="160162" y="48268"/>
                      </a:cubicBezTo>
                      <a:lnTo>
                        <a:pt x="205316" y="48268"/>
                      </a:lnTo>
                      <a:lnTo>
                        <a:pt x="216734" y="28546"/>
                      </a:lnTo>
                      <a:cubicBezTo>
                        <a:pt x="216734" y="28546"/>
                        <a:pt x="226077" y="0"/>
                        <a:pt x="198569" y="0"/>
                      </a:cubicBezTo>
                      <a:cubicBezTo>
                        <a:pt x="198569" y="0"/>
                        <a:pt x="133692" y="0"/>
                        <a:pt x="106184" y="0"/>
                      </a:cubicBezTo>
                      <a:cubicBezTo>
                        <a:pt x="78676" y="0"/>
                        <a:pt x="67258" y="5190"/>
                        <a:pt x="58435" y="19723"/>
                      </a:cubicBez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00" name="Freeform: Shape 199">
                  <a:extLst>
                    <a:ext uri="{FF2B5EF4-FFF2-40B4-BE49-F238E27FC236}">
                      <a16:creationId xmlns:a16="http://schemas.microsoft.com/office/drawing/2014/main" id="{029A7916-3E9D-4DDA-A5B1-AE99CCF0E04E}"/>
                    </a:ext>
                  </a:extLst>
                </p:cNvPr>
                <p:cNvSpPr/>
                <p:nvPr/>
              </p:nvSpPr>
              <p:spPr>
                <a:xfrm>
                  <a:off x="6307188" y="5682543"/>
                  <a:ext cx="38407" cy="38407"/>
                </a:xfrm>
                <a:custGeom>
                  <a:avLst/>
                  <a:gdLst>
                    <a:gd name="connsiteX0" fmla="*/ 38407 w 38407"/>
                    <a:gd name="connsiteY0" fmla="*/ 19204 h 38407"/>
                    <a:gd name="connsiteX1" fmla="*/ 19723 w 38407"/>
                    <a:gd name="connsiteY1" fmla="*/ 38407 h 38407"/>
                    <a:gd name="connsiteX2" fmla="*/ 0 w 38407"/>
                    <a:gd name="connsiteY2" fmla="*/ 19204 h 38407"/>
                    <a:gd name="connsiteX3" fmla="*/ 18685 w 38407"/>
                    <a:gd name="connsiteY3" fmla="*/ 0 h 38407"/>
                    <a:gd name="connsiteX4" fmla="*/ 38407 w 38407"/>
                    <a:gd name="connsiteY4" fmla="*/ 19204 h 38407"/>
                    <a:gd name="connsiteX5" fmla="*/ 3114 w 38407"/>
                    <a:gd name="connsiteY5" fmla="*/ 19204 h 38407"/>
                    <a:gd name="connsiteX6" fmla="*/ 19723 w 38407"/>
                    <a:gd name="connsiteY6" fmla="*/ 35293 h 38407"/>
                    <a:gd name="connsiteX7" fmla="*/ 35812 w 38407"/>
                    <a:gd name="connsiteY7" fmla="*/ 19204 h 38407"/>
                    <a:gd name="connsiteX8" fmla="*/ 19203 w 38407"/>
                    <a:gd name="connsiteY8" fmla="*/ 3114 h 38407"/>
                    <a:gd name="connsiteX9" fmla="*/ 3114 w 38407"/>
                    <a:gd name="connsiteY9" fmla="*/ 19204 h 38407"/>
                    <a:gd name="connsiteX10" fmla="*/ 16090 w 38407"/>
                    <a:gd name="connsiteY10" fmla="*/ 30103 h 38407"/>
                    <a:gd name="connsiteX11" fmla="*/ 12456 w 38407"/>
                    <a:gd name="connsiteY11" fmla="*/ 30103 h 38407"/>
                    <a:gd name="connsiteX12" fmla="*/ 12456 w 38407"/>
                    <a:gd name="connsiteY12" fmla="*/ 8304 h 38407"/>
                    <a:gd name="connsiteX13" fmla="*/ 20761 w 38407"/>
                    <a:gd name="connsiteY13" fmla="*/ 8304 h 38407"/>
                    <a:gd name="connsiteX14" fmla="*/ 26989 w 38407"/>
                    <a:gd name="connsiteY14" fmla="*/ 14013 h 38407"/>
                    <a:gd name="connsiteX15" fmla="*/ 22318 w 38407"/>
                    <a:gd name="connsiteY15" fmla="*/ 19204 h 38407"/>
                    <a:gd name="connsiteX16" fmla="*/ 22318 w 38407"/>
                    <a:gd name="connsiteY16" fmla="*/ 19204 h 38407"/>
                    <a:gd name="connsiteX17" fmla="*/ 26470 w 38407"/>
                    <a:gd name="connsiteY17" fmla="*/ 24913 h 38407"/>
                    <a:gd name="connsiteX18" fmla="*/ 27508 w 38407"/>
                    <a:gd name="connsiteY18" fmla="*/ 30622 h 38407"/>
                    <a:gd name="connsiteX19" fmla="*/ 23875 w 38407"/>
                    <a:gd name="connsiteY19" fmla="*/ 30622 h 38407"/>
                    <a:gd name="connsiteX20" fmla="*/ 22837 w 38407"/>
                    <a:gd name="connsiteY20" fmla="*/ 23356 h 38407"/>
                    <a:gd name="connsiteX21" fmla="*/ 19723 w 38407"/>
                    <a:gd name="connsiteY21" fmla="*/ 20761 h 38407"/>
                    <a:gd name="connsiteX22" fmla="*/ 16090 w 38407"/>
                    <a:gd name="connsiteY22" fmla="*/ 20761 h 38407"/>
                    <a:gd name="connsiteX23" fmla="*/ 16090 w 38407"/>
                    <a:gd name="connsiteY23" fmla="*/ 30622 h 38407"/>
                    <a:gd name="connsiteX24" fmla="*/ 16090 w 38407"/>
                    <a:gd name="connsiteY24" fmla="*/ 30622 h 38407"/>
                    <a:gd name="connsiteX25" fmla="*/ 16090 w 38407"/>
                    <a:gd name="connsiteY25" fmla="*/ 17647 h 38407"/>
                    <a:gd name="connsiteX26" fmla="*/ 20761 w 38407"/>
                    <a:gd name="connsiteY26" fmla="*/ 17647 h 38407"/>
                    <a:gd name="connsiteX27" fmla="*/ 23875 w 38407"/>
                    <a:gd name="connsiteY27" fmla="*/ 14013 h 38407"/>
                    <a:gd name="connsiteX28" fmla="*/ 20761 w 38407"/>
                    <a:gd name="connsiteY28" fmla="*/ 10899 h 38407"/>
                    <a:gd name="connsiteX29" fmla="*/ 16090 w 38407"/>
                    <a:gd name="connsiteY29" fmla="*/ 10899 h 38407"/>
                    <a:gd name="connsiteX30" fmla="*/ 16090 w 38407"/>
                    <a:gd name="connsiteY30" fmla="*/ 17647 h 3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407" h="38407">
                      <a:moveTo>
                        <a:pt x="38407" y="19204"/>
                      </a:moveTo>
                      <a:cubicBezTo>
                        <a:pt x="38407" y="30103"/>
                        <a:pt x="30103" y="38407"/>
                        <a:pt x="19723" y="38407"/>
                      </a:cubicBezTo>
                      <a:cubicBezTo>
                        <a:pt x="9342" y="38407"/>
                        <a:pt x="519" y="30103"/>
                        <a:pt x="0" y="19204"/>
                      </a:cubicBezTo>
                      <a:cubicBezTo>
                        <a:pt x="0" y="8823"/>
                        <a:pt x="8304" y="0"/>
                        <a:pt x="18685" y="0"/>
                      </a:cubicBezTo>
                      <a:cubicBezTo>
                        <a:pt x="29065" y="0"/>
                        <a:pt x="37888" y="8304"/>
                        <a:pt x="38407" y="19204"/>
                      </a:cubicBezTo>
                      <a:moveTo>
                        <a:pt x="3114" y="19204"/>
                      </a:moveTo>
                      <a:cubicBezTo>
                        <a:pt x="3114" y="28027"/>
                        <a:pt x="10899" y="35293"/>
                        <a:pt x="19723" y="35293"/>
                      </a:cubicBezTo>
                      <a:cubicBezTo>
                        <a:pt x="28546" y="35293"/>
                        <a:pt x="35812" y="28027"/>
                        <a:pt x="35812" y="19204"/>
                      </a:cubicBezTo>
                      <a:cubicBezTo>
                        <a:pt x="35812" y="10380"/>
                        <a:pt x="28027" y="3114"/>
                        <a:pt x="19203" y="3114"/>
                      </a:cubicBezTo>
                      <a:cubicBezTo>
                        <a:pt x="10380" y="3114"/>
                        <a:pt x="3114" y="10380"/>
                        <a:pt x="3114" y="19204"/>
                      </a:cubicBezTo>
                      <a:moveTo>
                        <a:pt x="16090" y="30103"/>
                      </a:moveTo>
                      <a:lnTo>
                        <a:pt x="12456" y="30103"/>
                      </a:lnTo>
                      <a:lnTo>
                        <a:pt x="12456" y="8304"/>
                      </a:lnTo>
                      <a:lnTo>
                        <a:pt x="20761" y="8304"/>
                      </a:lnTo>
                      <a:cubicBezTo>
                        <a:pt x="24913" y="8304"/>
                        <a:pt x="26989" y="10899"/>
                        <a:pt x="26989" y="14013"/>
                      </a:cubicBezTo>
                      <a:cubicBezTo>
                        <a:pt x="26989" y="16608"/>
                        <a:pt x="24913" y="18685"/>
                        <a:pt x="22318" y="19204"/>
                      </a:cubicBezTo>
                      <a:lnTo>
                        <a:pt x="22318" y="19204"/>
                      </a:lnTo>
                      <a:cubicBezTo>
                        <a:pt x="24913" y="19204"/>
                        <a:pt x="25951" y="20761"/>
                        <a:pt x="26470" y="24913"/>
                      </a:cubicBezTo>
                      <a:cubicBezTo>
                        <a:pt x="26470" y="25951"/>
                        <a:pt x="26470" y="29065"/>
                        <a:pt x="27508" y="30622"/>
                      </a:cubicBezTo>
                      <a:lnTo>
                        <a:pt x="23875" y="30622"/>
                      </a:lnTo>
                      <a:cubicBezTo>
                        <a:pt x="23875" y="30622"/>
                        <a:pt x="23356" y="26470"/>
                        <a:pt x="22837" y="23356"/>
                      </a:cubicBezTo>
                      <a:cubicBezTo>
                        <a:pt x="22837" y="21280"/>
                        <a:pt x="20242" y="20761"/>
                        <a:pt x="19723" y="20761"/>
                      </a:cubicBezTo>
                      <a:lnTo>
                        <a:pt x="16090" y="20761"/>
                      </a:lnTo>
                      <a:lnTo>
                        <a:pt x="16090" y="30622"/>
                      </a:lnTo>
                      <a:lnTo>
                        <a:pt x="16090" y="30622"/>
                      </a:lnTo>
                      <a:close/>
                      <a:moveTo>
                        <a:pt x="16090" y="17647"/>
                      </a:moveTo>
                      <a:lnTo>
                        <a:pt x="20761" y="17647"/>
                      </a:lnTo>
                      <a:cubicBezTo>
                        <a:pt x="20761" y="17647"/>
                        <a:pt x="23875" y="16089"/>
                        <a:pt x="23875" y="14013"/>
                      </a:cubicBezTo>
                      <a:cubicBezTo>
                        <a:pt x="23875" y="12456"/>
                        <a:pt x="22837" y="10899"/>
                        <a:pt x="20761" y="10899"/>
                      </a:cubicBezTo>
                      <a:lnTo>
                        <a:pt x="16090" y="10899"/>
                      </a:lnTo>
                      <a:lnTo>
                        <a:pt x="16090" y="17647"/>
                      </a:lnTo>
                    </a:path>
                  </a:pathLst>
                </a:custGeom>
                <a:solidFill>
                  <a:srgbClr val="A1ABB2"/>
                </a:solidFill>
                <a:ln w="51744"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164" name="Group 163">
              <a:extLst>
                <a:ext uri="{FF2B5EF4-FFF2-40B4-BE49-F238E27FC236}">
                  <a16:creationId xmlns:a16="http://schemas.microsoft.com/office/drawing/2014/main" id="{EC3D5DF5-C34C-4EA8-AAB6-A53B13094D6E}"/>
                </a:ext>
              </a:extLst>
            </p:cNvPr>
            <p:cNvGrpSpPr/>
            <p:nvPr userDrawn="1"/>
          </p:nvGrpSpPr>
          <p:grpSpPr>
            <a:xfrm>
              <a:off x="8593744" y="2353343"/>
              <a:ext cx="1182879" cy="139393"/>
              <a:chOff x="3046022" y="3396736"/>
              <a:chExt cx="1259299" cy="148399"/>
            </a:xfrm>
          </p:grpSpPr>
          <p:sp>
            <p:nvSpPr>
              <p:cNvPr id="170" name="Freeform: Shape 169">
                <a:extLst>
                  <a:ext uri="{FF2B5EF4-FFF2-40B4-BE49-F238E27FC236}">
                    <a16:creationId xmlns:a16="http://schemas.microsoft.com/office/drawing/2014/main" id="{79B8E26E-D566-41DA-ABC6-CB0D5831406C}"/>
                  </a:ext>
                </a:extLst>
              </p:cNvPr>
              <p:cNvSpPr/>
              <p:nvPr/>
            </p:nvSpPr>
            <p:spPr>
              <a:xfrm>
                <a:off x="3046022" y="3413024"/>
                <a:ext cx="104108" cy="132111"/>
              </a:xfrm>
              <a:custGeom>
                <a:avLst/>
                <a:gdLst>
                  <a:gd name="connsiteX0" fmla="*/ 85153 w 104108"/>
                  <a:gd name="connsiteY0" fmla="*/ 113824 h 132111"/>
                  <a:gd name="connsiteX1" fmla="*/ 104108 w 104108"/>
                  <a:gd name="connsiteY1" fmla="*/ 110204 h 132111"/>
                  <a:gd name="connsiteX2" fmla="*/ 95059 w 104108"/>
                  <a:gd name="connsiteY2" fmla="*/ 132112 h 132111"/>
                  <a:gd name="connsiteX3" fmla="*/ 0 w 104108"/>
                  <a:gd name="connsiteY3" fmla="*/ 132112 h 132111"/>
                  <a:gd name="connsiteX4" fmla="*/ 8192 w 104108"/>
                  <a:gd name="connsiteY4" fmla="*/ 113157 h 132111"/>
                  <a:gd name="connsiteX5" fmla="*/ 31242 w 104108"/>
                  <a:gd name="connsiteY5" fmla="*/ 18955 h 132111"/>
                  <a:gd name="connsiteX6" fmla="*/ 32480 w 104108"/>
                  <a:gd name="connsiteY6" fmla="*/ 0 h 132111"/>
                  <a:gd name="connsiteX7" fmla="*/ 81344 w 104108"/>
                  <a:gd name="connsiteY7" fmla="*/ 0 h 132111"/>
                  <a:gd name="connsiteX8" fmla="*/ 73152 w 104108"/>
                  <a:gd name="connsiteY8" fmla="*/ 18955 h 132111"/>
                  <a:gd name="connsiteX9" fmla="*/ 49911 w 104108"/>
                  <a:gd name="connsiteY9" fmla="*/ 113824 h 132111"/>
                  <a:gd name="connsiteX10" fmla="*/ 85058 w 104108"/>
                  <a:gd name="connsiteY10" fmla="*/ 113824 h 132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108" h="132111">
                    <a:moveTo>
                      <a:pt x="85153" y="113824"/>
                    </a:moveTo>
                    <a:cubicBezTo>
                      <a:pt x="90011" y="113824"/>
                      <a:pt x="98774" y="113157"/>
                      <a:pt x="104108" y="110204"/>
                    </a:cubicBezTo>
                    <a:lnTo>
                      <a:pt x="95059" y="132112"/>
                    </a:lnTo>
                    <a:lnTo>
                      <a:pt x="0" y="132112"/>
                    </a:lnTo>
                    <a:cubicBezTo>
                      <a:pt x="3143" y="127826"/>
                      <a:pt x="5525" y="123634"/>
                      <a:pt x="8192" y="113157"/>
                    </a:cubicBezTo>
                    <a:lnTo>
                      <a:pt x="31242" y="18955"/>
                    </a:lnTo>
                    <a:cubicBezTo>
                      <a:pt x="33909" y="8477"/>
                      <a:pt x="33528" y="4286"/>
                      <a:pt x="32480" y="0"/>
                    </a:cubicBezTo>
                    <a:lnTo>
                      <a:pt x="81344" y="0"/>
                    </a:lnTo>
                    <a:cubicBezTo>
                      <a:pt x="78200" y="4286"/>
                      <a:pt x="75819" y="8382"/>
                      <a:pt x="73152" y="18955"/>
                    </a:cubicBezTo>
                    <a:lnTo>
                      <a:pt x="49911" y="113824"/>
                    </a:lnTo>
                    <a:lnTo>
                      <a:pt x="85058" y="11382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1" name="Freeform: Shape 170">
                <a:extLst>
                  <a:ext uri="{FF2B5EF4-FFF2-40B4-BE49-F238E27FC236}">
                    <a16:creationId xmlns:a16="http://schemas.microsoft.com/office/drawing/2014/main" id="{41039F5B-2645-473E-9EB7-A717EF60834F}"/>
                  </a:ext>
                </a:extLst>
              </p:cNvPr>
              <p:cNvSpPr/>
              <p:nvPr/>
            </p:nvSpPr>
            <p:spPr>
              <a:xfrm>
                <a:off x="3142606" y="3442361"/>
                <a:ext cx="123824" cy="80962"/>
              </a:xfrm>
              <a:custGeom>
                <a:avLst/>
                <a:gdLst>
                  <a:gd name="connsiteX0" fmla="*/ 66103 w 123824"/>
                  <a:gd name="connsiteY0" fmla="*/ 80867 h 80962"/>
                  <a:gd name="connsiteX1" fmla="*/ 66960 w 123824"/>
                  <a:gd name="connsiteY1" fmla="*/ 72485 h 80962"/>
                  <a:gd name="connsiteX2" fmla="*/ 66674 w 123824"/>
                  <a:gd name="connsiteY2" fmla="*/ 72485 h 80962"/>
                  <a:gd name="connsiteX3" fmla="*/ 54101 w 123824"/>
                  <a:gd name="connsiteY3" fmla="*/ 80867 h 80962"/>
                  <a:gd name="connsiteX4" fmla="*/ 21240 w 123824"/>
                  <a:gd name="connsiteY4" fmla="*/ 80867 h 80962"/>
                  <a:gd name="connsiteX5" fmla="*/ 1523 w 123824"/>
                  <a:gd name="connsiteY5" fmla="*/ 51435 h 80962"/>
                  <a:gd name="connsiteX6" fmla="*/ 9715 w 123824"/>
                  <a:gd name="connsiteY6" fmla="*/ 18574 h 80962"/>
                  <a:gd name="connsiteX7" fmla="*/ 9905 w 123824"/>
                  <a:gd name="connsiteY7" fmla="*/ 0 h 80962"/>
                  <a:gd name="connsiteX8" fmla="*/ 55054 w 123824"/>
                  <a:gd name="connsiteY8" fmla="*/ 0 h 80962"/>
                  <a:gd name="connsiteX9" fmla="*/ 40480 w 123824"/>
                  <a:gd name="connsiteY9" fmla="*/ 58388 h 80962"/>
                  <a:gd name="connsiteX10" fmla="*/ 45529 w 123824"/>
                  <a:gd name="connsiteY10" fmla="*/ 65056 h 80962"/>
                  <a:gd name="connsiteX11" fmla="*/ 60292 w 123824"/>
                  <a:gd name="connsiteY11" fmla="*/ 65056 h 80962"/>
                  <a:gd name="connsiteX12" fmla="*/ 68674 w 123824"/>
                  <a:gd name="connsiteY12" fmla="*/ 58388 h 80962"/>
                  <a:gd name="connsiteX13" fmla="*/ 78580 w 123824"/>
                  <a:gd name="connsiteY13" fmla="*/ 18669 h 80962"/>
                  <a:gd name="connsiteX14" fmla="*/ 78771 w 123824"/>
                  <a:gd name="connsiteY14" fmla="*/ 95 h 80962"/>
                  <a:gd name="connsiteX15" fmla="*/ 123824 w 123824"/>
                  <a:gd name="connsiteY15" fmla="*/ 95 h 80962"/>
                  <a:gd name="connsiteX16" fmla="*/ 108298 w 123824"/>
                  <a:gd name="connsiteY16" fmla="*/ 62389 h 80962"/>
                  <a:gd name="connsiteX17" fmla="*/ 108108 w 123824"/>
                  <a:gd name="connsiteY17" fmla="*/ 80963 h 80962"/>
                  <a:gd name="connsiteX18" fmla="*/ 66103 w 123824"/>
                  <a:gd name="connsiteY18" fmla="*/ 80963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824" h="80962">
                    <a:moveTo>
                      <a:pt x="66103" y="80867"/>
                    </a:moveTo>
                    <a:lnTo>
                      <a:pt x="66960" y="72485"/>
                    </a:lnTo>
                    <a:lnTo>
                      <a:pt x="66674" y="72485"/>
                    </a:lnTo>
                    <a:cubicBezTo>
                      <a:pt x="63721" y="76581"/>
                      <a:pt x="60102" y="80867"/>
                      <a:pt x="54101" y="80867"/>
                    </a:cubicBezTo>
                    <a:lnTo>
                      <a:pt x="21240" y="80867"/>
                    </a:lnTo>
                    <a:cubicBezTo>
                      <a:pt x="2095" y="80867"/>
                      <a:pt x="-2954" y="69532"/>
                      <a:pt x="1523" y="51435"/>
                    </a:cubicBezTo>
                    <a:lnTo>
                      <a:pt x="9715" y="18574"/>
                    </a:lnTo>
                    <a:cubicBezTo>
                      <a:pt x="12477" y="7429"/>
                      <a:pt x="11239" y="4096"/>
                      <a:pt x="9905" y="0"/>
                    </a:cubicBezTo>
                    <a:lnTo>
                      <a:pt x="55054" y="0"/>
                    </a:lnTo>
                    <a:lnTo>
                      <a:pt x="40480" y="58388"/>
                    </a:lnTo>
                    <a:cubicBezTo>
                      <a:pt x="39242" y="63341"/>
                      <a:pt x="40480" y="65056"/>
                      <a:pt x="45529" y="65056"/>
                    </a:cubicBezTo>
                    <a:lnTo>
                      <a:pt x="60292" y="65056"/>
                    </a:lnTo>
                    <a:cubicBezTo>
                      <a:pt x="65245" y="65056"/>
                      <a:pt x="67436" y="63341"/>
                      <a:pt x="68674" y="58388"/>
                    </a:cubicBezTo>
                    <a:lnTo>
                      <a:pt x="78580" y="18669"/>
                    </a:lnTo>
                    <a:cubicBezTo>
                      <a:pt x="81343" y="7525"/>
                      <a:pt x="80104" y="4191"/>
                      <a:pt x="78771" y="95"/>
                    </a:cubicBezTo>
                    <a:lnTo>
                      <a:pt x="123824" y="95"/>
                    </a:lnTo>
                    <a:lnTo>
                      <a:pt x="108298" y="62389"/>
                    </a:lnTo>
                    <a:cubicBezTo>
                      <a:pt x="105536" y="73533"/>
                      <a:pt x="106774" y="76867"/>
                      <a:pt x="108108" y="80963"/>
                    </a:cubicBezTo>
                    <a:lnTo>
                      <a:pt x="66103" y="8096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2" name="Freeform: Shape 171">
                <a:extLst>
                  <a:ext uri="{FF2B5EF4-FFF2-40B4-BE49-F238E27FC236}">
                    <a16:creationId xmlns:a16="http://schemas.microsoft.com/office/drawing/2014/main" id="{AAF808D9-B437-44F7-AE59-C15DDAA8C107}"/>
                  </a:ext>
                </a:extLst>
              </p:cNvPr>
              <p:cNvSpPr/>
              <p:nvPr/>
            </p:nvSpPr>
            <p:spPr>
              <a:xfrm>
                <a:off x="3252047" y="3442361"/>
                <a:ext cx="177172" cy="80867"/>
              </a:xfrm>
              <a:custGeom>
                <a:avLst/>
                <a:gdLst>
                  <a:gd name="connsiteX0" fmla="*/ 58484 w 177172"/>
                  <a:gd name="connsiteY0" fmla="*/ 0 h 80867"/>
                  <a:gd name="connsiteX1" fmla="*/ 57055 w 177172"/>
                  <a:gd name="connsiteY1" fmla="*/ 9811 h 80867"/>
                  <a:gd name="connsiteX2" fmla="*/ 57436 w 177172"/>
                  <a:gd name="connsiteY2" fmla="*/ 9811 h 80867"/>
                  <a:gd name="connsiteX3" fmla="*/ 70390 w 177172"/>
                  <a:gd name="connsiteY3" fmla="*/ 0 h 80867"/>
                  <a:gd name="connsiteX4" fmla="*/ 106680 w 177172"/>
                  <a:gd name="connsiteY4" fmla="*/ 0 h 80867"/>
                  <a:gd name="connsiteX5" fmla="*/ 118586 w 177172"/>
                  <a:gd name="connsiteY5" fmla="*/ 8763 h 80867"/>
                  <a:gd name="connsiteX6" fmla="*/ 118967 w 177172"/>
                  <a:gd name="connsiteY6" fmla="*/ 8763 h 80867"/>
                  <a:gd name="connsiteX7" fmla="*/ 130302 w 177172"/>
                  <a:gd name="connsiteY7" fmla="*/ 0 h 80867"/>
                  <a:gd name="connsiteX8" fmla="*/ 158210 w 177172"/>
                  <a:gd name="connsiteY8" fmla="*/ 0 h 80867"/>
                  <a:gd name="connsiteX9" fmla="*/ 174974 w 177172"/>
                  <a:gd name="connsiteY9" fmla="*/ 31623 h 80867"/>
                  <a:gd name="connsiteX10" fmla="*/ 167354 w 177172"/>
                  <a:gd name="connsiteY10" fmla="*/ 62293 h 80867"/>
                  <a:gd name="connsiteX11" fmla="*/ 167164 w 177172"/>
                  <a:gd name="connsiteY11" fmla="*/ 80867 h 80867"/>
                  <a:gd name="connsiteX12" fmla="*/ 121063 w 177172"/>
                  <a:gd name="connsiteY12" fmla="*/ 80867 h 80867"/>
                  <a:gd name="connsiteX13" fmla="*/ 130207 w 177172"/>
                  <a:gd name="connsiteY13" fmla="*/ 62293 h 80867"/>
                  <a:gd name="connsiteX14" fmla="*/ 140303 w 177172"/>
                  <a:gd name="connsiteY14" fmla="*/ 21717 h 80867"/>
                  <a:gd name="connsiteX15" fmla="*/ 136779 w 177172"/>
                  <a:gd name="connsiteY15" fmla="*/ 15907 h 80867"/>
                  <a:gd name="connsiteX16" fmla="*/ 123349 w 177172"/>
                  <a:gd name="connsiteY16" fmla="*/ 15907 h 80867"/>
                  <a:gd name="connsiteX17" fmla="*/ 116872 w 177172"/>
                  <a:gd name="connsiteY17" fmla="*/ 21717 h 80867"/>
                  <a:gd name="connsiteX18" fmla="*/ 106775 w 177172"/>
                  <a:gd name="connsiteY18" fmla="*/ 62293 h 80867"/>
                  <a:gd name="connsiteX19" fmla="*/ 106585 w 177172"/>
                  <a:gd name="connsiteY19" fmla="*/ 80867 h 80867"/>
                  <a:gd name="connsiteX20" fmla="*/ 60484 w 177172"/>
                  <a:gd name="connsiteY20" fmla="*/ 80867 h 80867"/>
                  <a:gd name="connsiteX21" fmla="*/ 69628 w 177172"/>
                  <a:gd name="connsiteY21" fmla="*/ 62293 h 80867"/>
                  <a:gd name="connsiteX22" fmla="*/ 79724 w 177172"/>
                  <a:gd name="connsiteY22" fmla="*/ 21717 h 80867"/>
                  <a:gd name="connsiteX23" fmla="*/ 76200 w 177172"/>
                  <a:gd name="connsiteY23" fmla="*/ 15907 h 80867"/>
                  <a:gd name="connsiteX24" fmla="*/ 62770 w 177172"/>
                  <a:gd name="connsiteY24" fmla="*/ 15907 h 80867"/>
                  <a:gd name="connsiteX25" fmla="*/ 56293 w 177172"/>
                  <a:gd name="connsiteY25" fmla="*/ 21717 h 80867"/>
                  <a:gd name="connsiteX26" fmla="*/ 46196 w 177172"/>
                  <a:gd name="connsiteY26" fmla="*/ 62293 h 80867"/>
                  <a:gd name="connsiteX27" fmla="*/ 46101 w 177172"/>
                  <a:gd name="connsiteY27" fmla="*/ 80867 h 80867"/>
                  <a:gd name="connsiteX28" fmla="*/ 0 w 177172"/>
                  <a:gd name="connsiteY28" fmla="*/ 80867 h 80867"/>
                  <a:gd name="connsiteX29" fmla="*/ 9049 w 177172"/>
                  <a:gd name="connsiteY29" fmla="*/ 62293 h 80867"/>
                  <a:gd name="connsiteX30" fmla="*/ 19907 w 177172"/>
                  <a:gd name="connsiteY30" fmla="*/ 18574 h 80867"/>
                  <a:gd name="connsiteX31" fmla="*/ 20098 w 177172"/>
                  <a:gd name="connsiteY31" fmla="*/ 0 h 80867"/>
                  <a:gd name="connsiteX32" fmla="*/ 58674 w 177172"/>
                  <a:gd name="connsiteY32"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77172" h="80867">
                    <a:moveTo>
                      <a:pt x="58484" y="0"/>
                    </a:moveTo>
                    <a:lnTo>
                      <a:pt x="57055" y="9811"/>
                    </a:lnTo>
                    <a:lnTo>
                      <a:pt x="57436" y="9811"/>
                    </a:lnTo>
                    <a:cubicBezTo>
                      <a:pt x="60389" y="4667"/>
                      <a:pt x="63532" y="0"/>
                      <a:pt x="70390" y="0"/>
                    </a:cubicBezTo>
                    <a:lnTo>
                      <a:pt x="106680" y="0"/>
                    </a:lnTo>
                    <a:cubicBezTo>
                      <a:pt x="116681" y="0"/>
                      <a:pt x="117824" y="2191"/>
                      <a:pt x="118586" y="8763"/>
                    </a:cubicBezTo>
                    <a:lnTo>
                      <a:pt x="118967" y="8763"/>
                    </a:lnTo>
                    <a:cubicBezTo>
                      <a:pt x="120491" y="5524"/>
                      <a:pt x="123349" y="0"/>
                      <a:pt x="130302" y="0"/>
                    </a:cubicBezTo>
                    <a:lnTo>
                      <a:pt x="158210" y="0"/>
                    </a:lnTo>
                    <a:cubicBezTo>
                      <a:pt x="171641" y="0"/>
                      <a:pt x="181832" y="3810"/>
                      <a:pt x="174974" y="31623"/>
                    </a:cubicBezTo>
                    <a:lnTo>
                      <a:pt x="167354" y="62293"/>
                    </a:lnTo>
                    <a:cubicBezTo>
                      <a:pt x="164592" y="73438"/>
                      <a:pt x="165830" y="76771"/>
                      <a:pt x="167164" y="80867"/>
                    </a:cubicBezTo>
                    <a:lnTo>
                      <a:pt x="121063" y="80867"/>
                    </a:lnTo>
                    <a:cubicBezTo>
                      <a:pt x="124492" y="76771"/>
                      <a:pt x="127349" y="73438"/>
                      <a:pt x="130207" y="62293"/>
                    </a:cubicBezTo>
                    <a:lnTo>
                      <a:pt x="140303" y="21717"/>
                    </a:lnTo>
                    <a:cubicBezTo>
                      <a:pt x="141351" y="17621"/>
                      <a:pt x="139827" y="15907"/>
                      <a:pt x="136779" y="15907"/>
                    </a:cubicBezTo>
                    <a:lnTo>
                      <a:pt x="123349" y="15907"/>
                    </a:lnTo>
                    <a:cubicBezTo>
                      <a:pt x="120301" y="15907"/>
                      <a:pt x="117919" y="17621"/>
                      <a:pt x="116872" y="21717"/>
                    </a:cubicBezTo>
                    <a:lnTo>
                      <a:pt x="106775" y="62293"/>
                    </a:lnTo>
                    <a:cubicBezTo>
                      <a:pt x="104013" y="73438"/>
                      <a:pt x="105251" y="76771"/>
                      <a:pt x="106585" y="80867"/>
                    </a:cubicBezTo>
                    <a:lnTo>
                      <a:pt x="60484" y="80867"/>
                    </a:lnTo>
                    <a:cubicBezTo>
                      <a:pt x="63913" y="76771"/>
                      <a:pt x="66770" y="73438"/>
                      <a:pt x="69628" y="62293"/>
                    </a:cubicBezTo>
                    <a:lnTo>
                      <a:pt x="79724" y="21717"/>
                    </a:lnTo>
                    <a:cubicBezTo>
                      <a:pt x="80772" y="17621"/>
                      <a:pt x="79248" y="15907"/>
                      <a:pt x="76200" y="15907"/>
                    </a:cubicBezTo>
                    <a:lnTo>
                      <a:pt x="62770" y="15907"/>
                    </a:lnTo>
                    <a:cubicBezTo>
                      <a:pt x="59722" y="15907"/>
                      <a:pt x="57341" y="17621"/>
                      <a:pt x="56293" y="21717"/>
                    </a:cubicBezTo>
                    <a:lnTo>
                      <a:pt x="46196" y="62293"/>
                    </a:lnTo>
                    <a:cubicBezTo>
                      <a:pt x="43434" y="73438"/>
                      <a:pt x="44672" y="76771"/>
                      <a:pt x="46101" y="80867"/>
                    </a:cubicBezTo>
                    <a:lnTo>
                      <a:pt x="0" y="80867"/>
                    </a:lnTo>
                    <a:cubicBezTo>
                      <a:pt x="3429" y="76771"/>
                      <a:pt x="6287" y="73438"/>
                      <a:pt x="9049" y="62293"/>
                    </a:cubicBezTo>
                    <a:lnTo>
                      <a:pt x="19907" y="18574"/>
                    </a:lnTo>
                    <a:cubicBezTo>
                      <a:pt x="22670" y="7429"/>
                      <a:pt x="21431" y="4096"/>
                      <a:pt x="20098" y="0"/>
                    </a:cubicBezTo>
                    <a:lnTo>
                      <a:pt x="58674"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3" name="Freeform: Shape 172">
                <a:extLst>
                  <a:ext uri="{FF2B5EF4-FFF2-40B4-BE49-F238E27FC236}">
                    <a16:creationId xmlns:a16="http://schemas.microsoft.com/office/drawing/2014/main" id="{F417010F-9B3E-4B42-B97C-236EABADD377}"/>
                  </a:ext>
                </a:extLst>
              </p:cNvPr>
              <p:cNvSpPr/>
              <p:nvPr/>
            </p:nvSpPr>
            <p:spPr>
              <a:xfrm>
                <a:off x="3422735" y="3413119"/>
                <a:ext cx="72199" cy="110109"/>
              </a:xfrm>
              <a:custGeom>
                <a:avLst/>
                <a:gdLst>
                  <a:gd name="connsiteX0" fmla="*/ 72200 w 72199"/>
                  <a:gd name="connsiteY0" fmla="*/ 0 h 110109"/>
                  <a:gd name="connsiteX1" fmla="*/ 66866 w 72199"/>
                  <a:gd name="connsiteY1" fmla="*/ 21336 h 110109"/>
                  <a:gd name="connsiteX2" fmla="*/ 26956 w 72199"/>
                  <a:gd name="connsiteY2" fmla="*/ 21336 h 110109"/>
                  <a:gd name="connsiteX3" fmla="*/ 32290 w 72199"/>
                  <a:gd name="connsiteY3" fmla="*/ 0 h 110109"/>
                  <a:gd name="connsiteX4" fmla="*/ 72200 w 72199"/>
                  <a:gd name="connsiteY4" fmla="*/ 0 h 110109"/>
                  <a:gd name="connsiteX5" fmla="*/ 20003 w 72199"/>
                  <a:gd name="connsiteY5" fmla="*/ 47816 h 110109"/>
                  <a:gd name="connsiteX6" fmla="*/ 20098 w 72199"/>
                  <a:gd name="connsiteY6" fmla="*/ 29242 h 110109"/>
                  <a:gd name="connsiteX7" fmla="*/ 65246 w 72199"/>
                  <a:gd name="connsiteY7" fmla="*/ 29242 h 110109"/>
                  <a:gd name="connsiteX8" fmla="*/ 49721 w 72199"/>
                  <a:gd name="connsiteY8" fmla="*/ 91535 h 110109"/>
                  <a:gd name="connsiteX9" fmla="*/ 49530 w 72199"/>
                  <a:gd name="connsiteY9" fmla="*/ 110109 h 110109"/>
                  <a:gd name="connsiteX10" fmla="*/ 0 w 72199"/>
                  <a:gd name="connsiteY10" fmla="*/ 110109 h 110109"/>
                  <a:gd name="connsiteX11" fmla="*/ 9144 w 72199"/>
                  <a:gd name="connsiteY11" fmla="*/ 91535 h 110109"/>
                  <a:gd name="connsiteX12" fmla="*/ 20098 w 72199"/>
                  <a:gd name="connsiteY12" fmla="*/ 47816 h 110109"/>
                  <a:gd name="connsiteX13" fmla="*/ 20098 w 72199"/>
                  <a:gd name="connsiteY13" fmla="*/ 47816 h 11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99" h="110109">
                    <a:moveTo>
                      <a:pt x="72200" y="0"/>
                    </a:moveTo>
                    <a:lnTo>
                      <a:pt x="66866" y="21336"/>
                    </a:lnTo>
                    <a:lnTo>
                      <a:pt x="26956" y="21336"/>
                    </a:lnTo>
                    <a:lnTo>
                      <a:pt x="32290" y="0"/>
                    </a:lnTo>
                    <a:lnTo>
                      <a:pt x="72200" y="0"/>
                    </a:lnTo>
                    <a:close/>
                    <a:moveTo>
                      <a:pt x="20003" y="47816"/>
                    </a:moveTo>
                    <a:cubicBezTo>
                      <a:pt x="22765" y="36576"/>
                      <a:pt x="21527" y="33338"/>
                      <a:pt x="20098" y="29242"/>
                    </a:cubicBezTo>
                    <a:lnTo>
                      <a:pt x="65246" y="29242"/>
                    </a:lnTo>
                    <a:lnTo>
                      <a:pt x="49721" y="91535"/>
                    </a:lnTo>
                    <a:cubicBezTo>
                      <a:pt x="46958" y="102680"/>
                      <a:pt x="48197" y="106013"/>
                      <a:pt x="49530" y="110109"/>
                    </a:cubicBezTo>
                    <a:lnTo>
                      <a:pt x="0" y="110109"/>
                    </a:lnTo>
                    <a:cubicBezTo>
                      <a:pt x="3429" y="106013"/>
                      <a:pt x="6286" y="102680"/>
                      <a:pt x="9144" y="91535"/>
                    </a:cubicBezTo>
                    <a:lnTo>
                      <a:pt x="20098" y="47816"/>
                    </a:lnTo>
                    <a:lnTo>
                      <a:pt x="20098" y="4781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4" name="Freeform: Shape 173">
                <a:extLst>
                  <a:ext uri="{FF2B5EF4-FFF2-40B4-BE49-F238E27FC236}">
                    <a16:creationId xmlns:a16="http://schemas.microsoft.com/office/drawing/2014/main" id="{3A226BE8-A20E-4C73-A896-73C465CEECC3}"/>
                  </a:ext>
                </a:extLst>
              </p:cNvPr>
              <p:cNvSpPr/>
              <p:nvPr/>
            </p:nvSpPr>
            <p:spPr>
              <a:xfrm>
                <a:off x="3476647" y="3442361"/>
                <a:ext cx="128205" cy="80867"/>
              </a:xfrm>
              <a:custGeom>
                <a:avLst/>
                <a:gdLst>
                  <a:gd name="connsiteX0" fmla="*/ 62008 w 128205"/>
                  <a:gd name="connsiteY0" fmla="*/ 0 h 80867"/>
                  <a:gd name="connsiteX1" fmla="*/ 61151 w 128205"/>
                  <a:gd name="connsiteY1" fmla="*/ 8477 h 80867"/>
                  <a:gd name="connsiteX2" fmla="*/ 61531 w 128205"/>
                  <a:gd name="connsiteY2" fmla="*/ 8477 h 80867"/>
                  <a:gd name="connsiteX3" fmla="*/ 74105 w 128205"/>
                  <a:gd name="connsiteY3" fmla="*/ 0 h 80867"/>
                  <a:gd name="connsiteX4" fmla="*/ 106966 w 128205"/>
                  <a:gd name="connsiteY4" fmla="*/ 0 h 80867"/>
                  <a:gd name="connsiteX5" fmla="*/ 126682 w 128205"/>
                  <a:gd name="connsiteY5" fmla="*/ 29432 h 80867"/>
                  <a:gd name="connsiteX6" fmla="*/ 118491 w 128205"/>
                  <a:gd name="connsiteY6" fmla="*/ 62293 h 80867"/>
                  <a:gd name="connsiteX7" fmla="*/ 118301 w 128205"/>
                  <a:gd name="connsiteY7" fmla="*/ 80867 h 80867"/>
                  <a:gd name="connsiteX8" fmla="*/ 68771 w 128205"/>
                  <a:gd name="connsiteY8" fmla="*/ 80867 h 80867"/>
                  <a:gd name="connsiteX9" fmla="*/ 77915 w 128205"/>
                  <a:gd name="connsiteY9" fmla="*/ 62293 h 80867"/>
                  <a:gd name="connsiteX10" fmla="*/ 87821 w 128205"/>
                  <a:gd name="connsiteY10" fmla="*/ 22479 h 80867"/>
                  <a:gd name="connsiteX11" fmla="*/ 82772 w 128205"/>
                  <a:gd name="connsiteY11" fmla="*/ 15811 h 80867"/>
                  <a:gd name="connsiteX12" fmla="*/ 68008 w 128205"/>
                  <a:gd name="connsiteY12" fmla="*/ 15811 h 80867"/>
                  <a:gd name="connsiteX13" fmla="*/ 59627 w 128205"/>
                  <a:gd name="connsiteY13" fmla="*/ 22479 h 80867"/>
                  <a:gd name="connsiteX14" fmla="*/ 49721 w 128205"/>
                  <a:gd name="connsiteY14" fmla="*/ 62293 h 80867"/>
                  <a:gd name="connsiteX15" fmla="*/ 49625 w 128205"/>
                  <a:gd name="connsiteY15" fmla="*/ 80867 h 80867"/>
                  <a:gd name="connsiteX16" fmla="*/ 0 w 128205"/>
                  <a:gd name="connsiteY16" fmla="*/ 80867 h 80867"/>
                  <a:gd name="connsiteX17" fmla="*/ 9144 w 128205"/>
                  <a:gd name="connsiteY17" fmla="*/ 62293 h 80867"/>
                  <a:gd name="connsiteX18" fmla="*/ 20003 w 128205"/>
                  <a:gd name="connsiteY18" fmla="*/ 18574 h 80867"/>
                  <a:gd name="connsiteX19" fmla="*/ 20193 w 128205"/>
                  <a:gd name="connsiteY19" fmla="*/ 0 h 80867"/>
                  <a:gd name="connsiteX20" fmla="*/ 62198 w 128205"/>
                  <a:gd name="connsiteY20"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8205" h="80867">
                    <a:moveTo>
                      <a:pt x="62008" y="0"/>
                    </a:moveTo>
                    <a:lnTo>
                      <a:pt x="61151" y="8477"/>
                    </a:lnTo>
                    <a:lnTo>
                      <a:pt x="61531" y="8477"/>
                    </a:lnTo>
                    <a:cubicBezTo>
                      <a:pt x="64484" y="4382"/>
                      <a:pt x="68104" y="0"/>
                      <a:pt x="74105" y="0"/>
                    </a:cubicBezTo>
                    <a:lnTo>
                      <a:pt x="106966" y="0"/>
                    </a:lnTo>
                    <a:cubicBezTo>
                      <a:pt x="126111" y="0"/>
                      <a:pt x="131159" y="11335"/>
                      <a:pt x="126682" y="29432"/>
                    </a:cubicBezTo>
                    <a:lnTo>
                      <a:pt x="118491" y="62293"/>
                    </a:lnTo>
                    <a:cubicBezTo>
                      <a:pt x="115729" y="73438"/>
                      <a:pt x="116967" y="76771"/>
                      <a:pt x="118301" y="80867"/>
                    </a:cubicBezTo>
                    <a:lnTo>
                      <a:pt x="68771" y="80867"/>
                    </a:lnTo>
                    <a:cubicBezTo>
                      <a:pt x="72200" y="76771"/>
                      <a:pt x="75057" y="73438"/>
                      <a:pt x="77915" y="62293"/>
                    </a:cubicBezTo>
                    <a:lnTo>
                      <a:pt x="87821" y="22479"/>
                    </a:lnTo>
                    <a:cubicBezTo>
                      <a:pt x="89059" y="17526"/>
                      <a:pt x="87821" y="15811"/>
                      <a:pt x="82772" y="15811"/>
                    </a:cubicBezTo>
                    <a:lnTo>
                      <a:pt x="68008" y="15811"/>
                    </a:lnTo>
                    <a:cubicBezTo>
                      <a:pt x="62960" y="15811"/>
                      <a:pt x="60865" y="17526"/>
                      <a:pt x="59627" y="22479"/>
                    </a:cubicBezTo>
                    <a:lnTo>
                      <a:pt x="49721" y="62293"/>
                    </a:lnTo>
                    <a:cubicBezTo>
                      <a:pt x="46958" y="73438"/>
                      <a:pt x="48197" y="76771"/>
                      <a:pt x="49625" y="80867"/>
                    </a:cubicBezTo>
                    <a:lnTo>
                      <a:pt x="0" y="80867"/>
                    </a:lnTo>
                    <a:cubicBezTo>
                      <a:pt x="3429" y="76771"/>
                      <a:pt x="6286" y="73438"/>
                      <a:pt x="9144" y="62293"/>
                    </a:cubicBezTo>
                    <a:lnTo>
                      <a:pt x="20003" y="18574"/>
                    </a:lnTo>
                    <a:cubicBezTo>
                      <a:pt x="22765" y="7429"/>
                      <a:pt x="21527" y="4096"/>
                      <a:pt x="20193" y="0"/>
                    </a:cubicBezTo>
                    <a:lnTo>
                      <a:pt x="62198"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5" name="Freeform: Shape 174">
                <a:extLst>
                  <a:ext uri="{FF2B5EF4-FFF2-40B4-BE49-F238E27FC236}">
                    <a16:creationId xmlns:a16="http://schemas.microsoft.com/office/drawing/2014/main" id="{E763D0A8-701A-42A8-B653-47FE4C5ED7F2}"/>
                  </a:ext>
                </a:extLst>
              </p:cNvPr>
              <p:cNvSpPr/>
              <p:nvPr/>
            </p:nvSpPr>
            <p:spPr>
              <a:xfrm>
                <a:off x="3603521" y="3442361"/>
                <a:ext cx="118109" cy="80867"/>
              </a:xfrm>
              <a:custGeom>
                <a:avLst/>
                <a:gdLst>
                  <a:gd name="connsiteX0" fmla="*/ 54482 w 118109"/>
                  <a:gd name="connsiteY0" fmla="*/ 42005 h 80867"/>
                  <a:gd name="connsiteX1" fmla="*/ 44195 w 118109"/>
                  <a:gd name="connsiteY1" fmla="*/ 48863 h 80867"/>
                  <a:gd name="connsiteX2" fmla="*/ 41909 w 118109"/>
                  <a:gd name="connsiteY2" fmla="*/ 58198 h 80867"/>
                  <a:gd name="connsiteX3" fmla="*/ 48767 w 118109"/>
                  <a:gd name="connsiteY3" fmla="*/ 65056 h 80867"/>
                  <a:gd name="connsiteX4" fmla="*/ 58196 w 118109"/>
                  <a:gd name="connsiteY4" fmla="*/ 65056 h 80867"/>
                  <a:gd name="connsiteX5" fmla="*/ 69722 w 118109"/>
                  <a:gd name="connsiteY5" fmla="*/ 53530 h 80867"/>
                  <a:gd name="connsiteX6" fmla="*/ 72579 w 118109"/>
                  <a:gd name="connsiteY6" fmla="*/ 42005 h 80867"/>
                  <a:gd name="connsiteX7" fmla="*/ 54482 w 118109"/>
                  <a:gd name="connsiteY7" fmla="*/ 42005 h 80867"/>
                  <a:gd name="connsiteX8" fmla="*/ 96487 w 118109"/>
                  <a:gd name="connsiteY8" fmla="*/ 0 h 80867"/>
                  <a:gd name="connsiteX9" fmla="*/ 116108 w 118109"/>
                  <a:gd name="connsiteY9" fmla="*/ 30480 h 80867"/>
                  <a:gd name="connsiteX10" fmla="*/ 107345 w 118109"/>
                  <a:gd name="connsiteY10" fmla="*/ 65723 h 80867"/>
                  <a:gd name="connsiteX11" fmla="*/ 107536 w 118109"/>
                  <a:gd name="connsiteY11" fmla="*/ 80867 h 80867"/>
                  <a:gd name="connsiteX12" fmla="*/ 66864 w 118109"/>
                  <a:gd name="connsiteY12" fmla="*/ 80867 h 80867"/>
                  <a:gd name="connsiteX13" fmla="*/ 67055 w 118109"/>
                  <a:gd name="connsiteY13" fmla="*/ 71914 h 80867"/>
                  <a:gd name="connsiteX14" fmla="*/ 66674 w 118109"/>
                  <a:gd name="connsiteY14" fmla="*/ 71914 h 80867"/>
                  <a:gd name="connsiteX15" fmla="*/ 47909 w 118109"/>
                  <a:gd name="connsiteY15" fmla="*/ 80867 h 80867"/>
                  <a:gd name="connsiteX16" fmla="*/ 18953 w 118109"/>
                  <a:gd name="connsiteY16" fmla="*/ 80867 h 80867"/>
                  <a:gd name="connsiteX17" fmla="*/ 1618 w 118109"/>
                  <a:gd name="connsiteY17" fmla="*/ 56388 h 80867"/>
                  <a:gd name="connsiteX18" fmla="*/ 3047 w 118109"/>
                  <a:gd name="connsiteY18" fmla="*/ 50578 h 80867"/>
                  <a:gd name="connsiteX19" fmla="*/ 32574 w 118109"/>
                  <a:gd name="connsiteY19" fmla="*/ 26098 h 80867"/>
                  <a:gd name="connsiteX20" fmla="*/ 69626 w 118109"/>
                  <a:gd name="connsiteY20" fmla="*/ 26098 h 80867"/>
                  <a:gd name="connsiteX21" fmla="*/ 77818 w 118109"/>
                  <a:gd name="connsiteY21" fmla="*/ 20955 h 80867"/>
                  <a:gd name="connsiteX22" fmla="*/ 72198 w 118109"/>
                  <a:gd name="connsiteY22" fmla="*/ 15811 h 80867"/>
                  <a:gd name="connsiteX23" fmla="*/ 31717 w 118109"/>
                  <a:gd name="connsiteY23" fmla="*/ 15811 h 80867"/>
                  <a:gd name="connsiteX24" fmla="*/ 14667 w 118109"/>
                  <a:gd name="connsiteY24" fmla="*/ 19240 h 80867"/>
                  <a:gd name="connsiteX25" fmla="*/ 22382 w 118109"/>
                  <a:gd name="connsiteY25" fmla="*/ 0 h 80867"/>
                  <a:gd name="connsiteX26" fmla="*/ 96392 w 118109"/>
                  <a:gd name="connsiteY26"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8109" h="80867">
                    <a:moveTo>
                      <a:pt x="54482" y="42005"/>
                    </a:moveTo>
                    <a:cubicBezTo>
                      <a:pt x="48290" y="42196"/>
                      <a:pt x="45623" y="43053"/>
                      <a:pt x="44195" y="48863"/>
                    </a:cubicBezTo>
                    <a:lnTo>
                      <a:pt x="41909" y="58198"/>
                    </a:lnTo>
                    <a:cubicBezTo>
                      <a:pt x="40385" y="64008"/>
                      <a:pt x="42671" y="64865"/>
                      <a:pt x="48767" y="65056"/>
                    </a:cubicBezTo>
                    <a:lnTo>
                      <a:pt x="58196" y="65056"/>
                    </a:lnTo>
                    <a:cubicBezTo>
                      <a:pt x="66007" y="65056"/>
                      <a:pt x="67150" y="63817"/>
                      <a:pt x="69722" y="53530"/>
                    </a:cubicBezTo>
                    <a:lnTo>
                      <a:pt x="72579" y="42005"/>
                    </a:lnTo>
                    <a:lnTo>
                      <a:pt x="54482" y="42005"/>
                    </a:lnTo>
                    <a:close/>
                    <a:moveTo>
                      <a:pt x="96487" y="0"/>
                    </a:moveTo>
                    <a:cubicBezTo>
                      <a:pt x="115918" y="0"/>
                      <a:pt x="121633" y="8287"/>
                      <a:pt x="116108" y="30480"/>
                    </a:cubicBezTo>
                    <a:lnTo>
                      <a:pt x="107345" y="65723"/>
                    </a:lnTo>
                    <a:cubicBezTo>
                      <a:pt x="105250" y="74009"/>
                      <a:pt x="105917" y="77629"/>
                      <a:pt x="107536" y="80867"/>
                    </a:cubicBezTo>
                    <a:lnTo>
                      <a:pt x="66864" y="80867"/>
                    </a:lnTo>
                    <a:lnTo>
                      <a:pt x="67055" y="71914"/>
                    </a:lnTo>
                    <a:lnTo>
                      <a:pt x="66674" y="71914"/>
                    </a:lnTo>
                    <a:cubicBezTo>
                      <a:pt x="62768" y="79153"/>
                      <a:pt x="58958" y="80867"/>
                      <a:pt x="47909" y="80867"/>
                    </a:cubicBezTo>
                    <a:lnTo>
                      <a:pt x="18953" y="80867"/>
                    </a:lnTo>
                    <a:cubicBezTo>
                      <a:pt x="761" y="80867"/>
                      <a:pt x="-2573" y="73342"/>
                      <a:pt x="1618" y="56388"/>
                    </a:cubicBezTo>
                    <a:lnTo>
                      <a:pt x="3047" y="50578"/>
                    </a:lnTo>
                    <a:cubicBezTo>
                      <a:pt x="7238" y="33719"/>
                      <a:pt x="14286" y="26098"/>
                      <a:pt x="32574" y="26098"/>
                    </a:cubicBezTo>
                    <a:lnTo>
                      <a:pt x="69626" y="26098"/>
                    </a:lnTo>
                    <a:cubicBezTo>
                      <a:pt x="75246" y="26098"/>
                      <a:pt x="76865" y="24765"/>
                      <a:pt x="77818" y="20955"/>
                    </a:cubicBezTo>
                    <a:cubicBezTo>
                      <a:pt x="78675" y="17335"/>
                      <a:pt x="77818" y="15811"/>
                      <a:pt x="72198" y="15811"/>
                    </a:cubicBezTo>
                    <a:lnTo>
                      <a:pt x="31717" y="15811"/>
                    </a:lnTo>
                    <a:cubicBezTo>
                      <a:pt x="24097" y="15811"/>
                      <a:pt x="20096" y="16859"/>
                      <a:pt x="14667" y="19240"/>
                    </a:cubicBezTo>
                    <a:lnTo>
                      <a:pt x="22382" y="0"/>
                    </a:lnTo>
                    <a:lnTo>
                      <a:pt x="96392"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6" name="Freeform: Shape 175">
                <a:extLst>
                  <a:ext uri="{FF2B5EF4-FFF2-40B4-BE49-F238E27FC236}">
                    <a16:creationId xmlns:a16="http://schemas.microsoft.com/office/drawing/2014/main" id="{DAED933B-42F4-4AED-9DCC-A78632E4FA9E}"/>
                  </a:ext>
                </a:extLst>
              </p:cNvPr>
              <p:cNvSpPr/>
              <p:nvPr/>
            </p:nvSpPr>
            <p:spPr>
              <a:xfrm>
                <a:off x="3716105" y="3413119"/>
                <a:ext cx="72104" cy="110109"/>
              </a:xfrm>
              <a:custGeom>
                <a:avLst/>
                <a:gdLst>
                  <a:gd name="connsiteX0" fmla="*/ 72104 w 72104"/>
                  <a:gd name="connsiteY0" fmla="*/ 0 h 110109"/>
                  <a:gd name="connsiteX1" fmla="*/ 66770 w 72104"/>
                  <a:gd name="connsiteY1" fmla="*/ 21336 h 110109"/>
                  <a:gd name="connsiteX2" fmla="*/ 26860 w 72104"/>
                  <a:gd name="connsiteY2" fmla="*/ 21336 h 110109"/>
                  <a:gd name="connsiteX3" fmla="*/ 32195 w 72104"/>
                  <a:gd name="connsiteY3" fmla="*/ 0 h 110109"/>
                  <a:gd name="connsiteX4" fmla="*/ 72104 w 72104"/>
                  <a:gd name="connsiteY4" fmla="*/ 0 h 110109"/>
                  <a:gd name="connsiteX5" fmla="*/ 19907 w 72104"/>
                  <a:gd name="connsiteY5" fmla="*/ 47816 h 110109"/>
                  <a:gd name="connsiteX6" fmla="*/ 20098 w 72104"/>
                  <a:gd name="connsiteY6" fmla="*/ 29242 h 110109"/>
                  <a:gd name="connsiteX7" fmla="*/ 65246 w 72104"/>
                  <a:gd name="connsiteY7" fmla="*/ 29242 h 110109"/>
                  <a:gd name="connsiteX8" fmla="*/ 49721 w 72104"/>
                  <a:gd name="connsiteY8" fmla="*/ 91535 h 110109"/>
                  <a:gd name="connsiteX9" fmla="*/ 49530 w 72104"/>
                  <a:gd name="connsiteY9" fmla="*/ 110109 h 110109"/>
                  <a:gd name="connsiteX10" fmla="*/ 0 w 72104"/>
                  <a:gd name="connsiteY10" fmla="*/ 110109 h 110109"/>
                  <a:gd name="connsiteX11" fmla="*/ 9144 w 72104"/>
                  <a:gd name="connsiteY11" fmla="*/ 91535 h 110109"/>
                  <a:gd name="connsiteX12" fmla="*/ 20002 w 72104"/>
                  <a:gd name="connsiteY12" fmla="*/ 47816 h 110109"/>
                  <a:gd name="connsiteX13" fmla="*/ 20002 w 72104"/>
                  <a:gd name="connsiteY13" fmla="*/ 47816 h 11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04" h="110109">
                    <a:moveTo>
                      <a:pt x="72104" y="0"/>
                    </a:moveTo>
                    <a:lnTo>
                      <a:pt x="66770" y="21336"/>
                    </a:lnTo>
                    <a:lnTo>
                      <a:pt x="26860" y="21336"/>
                    </a:lnTo>
                    <a:lnTo>
                      <a:pt x="32195" y="0"/>
                    </a:lnTo>
                    <a:lnTo>
                      <a:pt x="72104" y="0"/>
                    </a:lnTo>
                    <a:close/>
                    <a:moveTo>
                      <a:pt x="19907" y="47816"/>
                    </a:moveTo>
                    <a:cubicBezTo>
                      <a:pt x="22670" y="36576"/>
                      <a:pt x="21431" y="33338"/>
                      <a:pt x="20098" y="29242"/>
                    </a:cubicBezTo>
                    <a:lnTo>
                      <a:pt x="65246" y="29242"/>
                    </a:lnTo>
                    <a:lnTo>
                      <a:pt x="49721" y="91535"/>
                    </a:lnTo>
                    <a:cubicBezTo>
                      <a:pt x="46958" y="102680"/>
                      <a:pt x="48197" y="106013"/>
                      <a:pt x="49530" y="110109"/>
                    </a:cubicBezTo>
                    <a:lnTo>
                      <a:pt x="0" y="110109"/>
                    </a:lnTo>
                    <a:cubicBezTo>
                      <a:pt x="3429" y="106013"/>
                      <a:pt x="6287" y="102680"/>
                      <a:pt x="9144" y="91535"/>
                    </a:cubicBezTo>
                    <a:lnTo>
                      <a:pt x="20002" y="47816"/>
                    </a:lnTo>
                    <a:lnTo>
                      <a:pt x="20002" y="4781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7" name="Freeform: Shape 176">
                <a:extLst>
                  <a:ext uri="{FF2B5EF4-FFF2-40B4-BE49-F238E27FC236}">
                    <a16:creationId xmlns:a16="http://schemas.microsoft.com/office/drawing/2014/main" id="{D67D6935-B8A8-4103-BAC5-E242999DA805}"/>
                  </a:ext>
                </a:extLst>
              </p:cNvPr>
              <p:cNvSpPr/>
              <p:nvPr/>
            </p:nvSpPr>
            <p:spPr>
              <a:xfrm>
                <a:off x="3771446" y="3442361"/>
                <a:ext cx="103250" cy="80867"/>
              </a:xfrm>
              <a:custGeom>
                <a:avLst/>
                <a:gdLst>
                  <a:gd name="connsiteX0" fmla="*/ 60865 w 103250"/>
                  <a:gd name="connsiteY0" fmla="*/ 0 h 80867"/>
                  <a:gd name="connsiteX1" fmla="*/ 58960 w 103250"/>
                  <a:gd name="connsiteY1" fmla="*/ 13049 h 80867"/>
                  <a:gd name="connsiteX2" fmla="*/ 59341 w 103250"/>
                  <a:gd name="connsiteY2" fmla="*/ 13049 h 80867"/>
                  <a:gd name="connsiteX3" fmla="*/ 83439 w 103250"/>
                  <a:gd name="connsiteY3" fmla="*/ 0 h 80867"/>
                  <a:gd name="connsiteX4" fmla="*/ 103251 w 103250"/>
                  <a:gd name="connsiteY4" fmla="*/ 0 h 80867"/>
                  <a:gd name="connsiteX5" fmla="*/ 96679 w 103250"/>
                  <a:gd name="connsiteY5" fmla="*/ 26479 h 80867"/>
                  <a:gd name="connsiteX6" fmla="*/ 78867 w 103250"/>
                  <a:gd name="connsiteY6" fmla="*/ 22479 h 80867"/>
                  <a:gd name="connsiteX7" fmla="*/ 56293 w 103250"/>
                  <a:gd name="connsiteY7" fmla="*/ 36290 h 80867"/>
                  <a:gd name="connsiteX8" fmla="*/ 49816 w 103250"/>
                  <a:gd name="connsiteY8" fmla="*/ 62293 h 80867"/>
                  <a:gd name="connsiteX9" fmla="*/ 49625 w 103250"/>
                  <a:gd name="connsiteY9" fmla="*/ 80867 h 80867"/>
                  <a:gd name="connsiteX10" fmla="*/ 0 w 103250"/>
                  <a:gd name="connsiteY10" fmla="*/ 80867 h 80867"/>
                  <a:gd name="connsiteX11" fmla="*/ 9144 w 103250"/>
                  <a:gd name="connsiteY11" fmla="*/ 62293 h 80867"/>
                  <a:gd name="connsiteX12" fmla="*/ 20098 w 103250"/>
                  <a:gd name="connsiteY12" fmla="*/ 18574 h 80867"/>
                  <a:gd name="connsiteX13" fmla="*/ 20288 w 103250"/>
                  <a:gd name="connsiteY13" fmla="*/ 0 h 80867"/>
                  <a:gd name="connsiteX14" fmla="*/ 60960 w 103250"/>
                  <a:gd name="connsiteY14" fmla="*/ 0 h 8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250" h="80867">
                    <a:moveTo>
                      <a:pt x="60865" y="0"/>
                    </a:moveTo>
                    <a:lnTo>
                      <a:pt x="58960" y="13049"/>
                    </a:lnTo>
                    <a:lnTo>
                      <a:pt x="59341" y="13049"/>
                    </a:lnTo>
                    <a:cubicBezTo>
                      <a:pt x="65722" y="3429"/>
                      <a:pt x="70866" y="0"/>
                      <a:pt x="83439" y="0"/>
                    </a:cubicBezTo>
                    <a:lnTo>
                      <a:pt x="103251" y="0"/>
                    </a:lnTo>
                    <a:lnTo>
                      <a:pt x="96679" y="26479"/>
                    </a:lnTo>
                    <a:cubicBezTo>
                      <a:pt x="92392" y="23527"/>
                      <a:pt x="90964" y="22479"/>
                      <a:pt x="78867" y="22479"/>
                    </a:cubicBezTo>
                    <a:cubicBezTo>
                      <a:pt x="62865" y="22479"/>
                      <a:pt x="59055" y="25241"/>
                      <a:pt x="56293" y="36290"/>
                    </a:cubicBezTo>
                    <a:lnTo>
                      <a:pt x="49816" y="62293"/>
                    </a:lnTo>
                    <a:cubicBezTo>
                      <a:pt x="47053" y="73438"/>
                      <a:pt x="48292" y="76771"/>
                      <a:pt x="49625" y="80867"/>
                    </a:cubicBezTo>
                    <a:lnTo>
                      <a:pt x="0" y="80867"/>
                    </a:lnTo>
                    <a:cubicBezTo>
                      <a:pt x="3429" y="76771"/>
                      <a:pt x="6382" y="73438"/>
                      <a:pt x="9144" y="62293"/>
                    </a:cubicBezTo>
                    <a:lnTo>
                      <a:pt x="20098" y="18574"/>
                    </a:lnTo>
                    <a:cubicBezTo>
                      <a:pt x="22860" y="7429"/>
                      <a:pt x="21622" y="4096"/>
                      <a:pt x="20288" y="0"/>
                    </a:cubicBezTo>
                    <a:lnTo>
                      <a:pt x="6096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8" name="Freeform: Shape 177">
                <a:extLst>
                  <a:ext uri="{FF2B5EF4-FFF2-40B4-BE49-F238E27FC236}">
                    <a16:creationId xmlns:a16="http://schemas.microsoft.com/office/drawing/2014/main" id="{CFAB3C38-6EDE-4819-89AB-B7823F5D0C92}"/>
                  </a:ext>
                </a:extLst>
              </p:cNvPr>
              <p:cNvSpPr/>
              <p:nvPr/>
            </p:nvSpPr>
            <p:spPr>
              <a:xfrm>
                <a:off x="3861635" y="3442170"/>
                <a:ext cx="119943" cy="80962"/>
              </a:xfrm>
              <a:custGeom>
                <a:avLst/>
                <a:gdLst>
                  <a:gd name="connsiteX0" fmla="*/ 76498 w 119943"/>
                  <a:gd name="connsiteY0" fmla="*/ 33528 h 80962"/>
                  <a:gd name="connsiteX1" fmla="*/ 79260 w 119943"/>
                  <a:gd name="connsiteY1" fmla="*/ 22479 h 80962"/>
                  <a:gd name="connsiteX2" fmla="*/ 75069 w 119943"/>
                  <a:gd name="connsiteY2" fmla="*/ 15907 h 80962"/>
                  <a:gd name="connsiteX3" fmla="*/ 58400 w 119943"/>
                  <a:gd name="connsiteY3" fmla="*/ 15907 h 80962"/>
                  <a:gd name="connsiteX4" fmla="*/ 50875 w 119943"/>
                  <a:gd name="connsiteY4" fmla="*/ 22479 h 80962"/>
                  <a:gd name="connsiteX5" fmla="*/ 48113 w 119943"/>
                  <a:gd name="connsiteY5" fmla="*/ 33528 h 80962"/>
                  <a:gd name="connsiteX6" fmla="*/ 76498 w 119943"/>
                  <a:gd name="connsiteY6" fmla="*/ 33528 h 80962"/>
                  <a:gd name="connsiteX7" fmla="*/ 44113 w 119943"/>
                  <a:gd name="connsiteY7" fmla="*/ 49340 h 80962"/>
                  <a:gd name="connsiteX8" fmla="*/ 42208 w 119943"/>
                  <a:gd name="connsiteY8" fmla="*/ 56864 h 80962"/>
                  <a:gd name="connsiteX9" fmla="*/ 49447 w 119943"/>
                  <a:gd name="connsiteY9" fmla="*/ 65151 h 80962"/>
                  <a:gd name="connsiteX10" fmla="*/ 88499 w 119943"/>
                  <a:gd name="connsiteY10" fmla="*/ 65151 h 80962"/>
                  <a:gd name="connsiteX11" fmla="*/ 107740 w 119943"/>
                  <a:gd name="connsiteY11" fmla="*/ 61722 h 80962"/>
                  <a:gd name="connsiteX12" fmla="*/ 99834 w 119943"/>
                  <a:gd name="connsiteY12" fmla="*/ 80963 h 80962"/>
                  <a:gd name="connsiteX13" fmla="*/ 18967 w 119943"/>
                  <a:gd name="connsiteY13" fmla="*/ 80963 h 80962"/>
                  <a:gd name="connsiteX14" fmla="*/ 1631 w 119943"/>
                  <a:gd name="connsiteY14" fmla="*/ 56483 h 80962"/>
                  <a:gd name="connsiteX15" fmla="*/ 9632 w 119943"/>
                  <a:gd name="connsiteY15" fmla="*/ 24479 h 80962"/>
                  <a:gd name="connsiteX16" fmla="*/ 39160 w 119943"/>
                  <a:gd name="connsiteY16" fmla="*/ 0 h 80962"/>
                  <a:gd name="connsiteX17" fmla="*/ 100977 w 119943"/>
                  <a:gd name="connsiteY17" fmla="*/ 0 h 80962"/>
                  <a:gd name="connsiteX18" fmla="*/ 118312 w 119943"/>
                  <a:gd name="connsiteY18" fmla="*/ 24479 h 80962"/>
                  <a:gd name="connsiteX19" fmla="*/ 112121 w 119943"/>
                  <a:gd name="connsiteY19" fmla="*/ 49244 h 80962"/>
                  <a:gd name="connsiteX20" fmla="*/ 44113 w 119943"/>
                  <a:gd name="connsiteY20" fmla="*/ 49244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9943" h="80962">
                    <a:moveTo>
                      <a:pt x="76498" y="33528"/>
                    </a:moveTo>
                    <a:lnTo>
                      <a:pt x="79260" y="22479"/>
                    </a:lnTo>
                    <a:cubicBezTo>
                      <a:pt x="80403" y="17812"/>
                      <a:pt x="79546" y="15907"/>
                      <a:pt x="75069" y="15907"/>
                    </a:cubicBezTo>
                    <a:lnTo>
                      <a:pt x="58400" y="15907"/>
                    </a:lnTo>
                    <a:cubicBezTo>
                      <a:pt x="53923" y="15907"/>
                      <a:pt x="52018" y="17812"/>
                      <a:pt x="50875" y="22479"/>
                    </a:cubicBezTo>
                    <a:lnTo>
                      <a:pt x="48113" y="33528"/>
                    </a:lnTo>
                    <a:lnTo>
                      <a:pt x="76498" y="33528"/>
                    </a:lnTo>
                    <a:close/>
                    <a:moveTo>
                      <a:pt x="44113" y="49340"/>
                    </a:moveTo>
                    <a:lnTo>
                      <a:pt x="42208" y="56864"/>
                    </a:lnTo>
                    <a:cubicBezTo>
                      <a:pt x="40874" y="62675"/>
                      <a:pt x="42874" y="65151"/>
                      <a:pt x="49447" y="65151"/>
                    </a:cubicBezTo>
                    <a:lnTo>
                      <a:pt x="88499" y="65151"/>
                    </a:lnTo>
                    <a:cubicBezTo>
                      <a:pt x="96214" y="65151"/>
                      <a:pt x="100501" y="64580"/>
                      <a:pt x="107740" y="61722"/>
                    </a:cubicBezTo>
                    <a:lnTo>
                      <a:pt x="99834" y="80963"/>
                    </a:lnTo>
                    <a:lnTo>
                      <a:pt x="18967" y="80963"/>
                    </a:lnTo>
                    <a:cubicBezTo>
                      <a:pt x="679" y="80963"/>
                      <a:pt x="-2560" y="73438"/>
                      <a:pt x="1631" y="56483"/>
                    </a:cubicBezTo>
                    <a:lnTo>
                      <a:pt x="9632" y="24479"/>
                    </a:lnTo>
                    <a:cubicBezTo>
                      <a:pt x="13823" y="7620"/>
                      <a:pt x="20872" y="0"/>
                      <a:pt x="39160" y="0"/>
                    </a:cubicBezTo>
                    <a:lnTo>
                      <a:pt x="100977" y="0"/>
                    </a:lnTo>
                    <a:cubicBezTo>
                      <a:pt x="119265" y="0"/>
                      <a:pt x="122503" y="7525"/>
                      <a:pt x="118312" y="24479"/>
                    </a:cubicBezTo>
                    <a:lnTo>
                      <a:pt x="112121" y="49244"/>
                    </a:lnTo>
                    <a:lnTo>
                      <a:pt x="44113" y="492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79" name="Freeform: Shape 178">
                <a:extLst>
                  <a:ext uri="{FF2B5EF4-FFF2-40B4-BE49-F238E27FC236}">
                    <a16:creationId xmlns:a16="http://schemas.microsoft.com/office/drawing/2014/main" id="{5956F528-7FE1-4EC1-A2CE-CADEA1202627}"/>
                  </a:ext>
                </a:extLst>
              </p:cNvPr>
              <p:cNvSpPr/>
              <p:nvPr/>
            </p:nvSpPr>
            <p:spPr>
              <a:xfrm>
                <a:off x="4017286" y="3399498"/>
                <a:ext cx="80867" cy="126777"/>
              </a:xfrm>
              <a:custGeom>
                <a:avLst/>
                <a:gdLst>
                  <a:gd name="connsiteX0" fmla="*/ 95 w 80867"/>
                  <a:gd name="connsiteY0" fmla="*/ 126778 h 126777"/>
                  <a:gd name="connsiteX1" fmla="*/ 6763 w 80867"/>
                  <a:gd name="connsiteY1" fmla="*/ 106966 h 126777"/>
                  <a:gd name="connsiteX2" fmla="*/ 28480 w 80867"/>
                  <a:gd name="connsiteY2" fmla="*/ 19812 h 126777"/>
                  <a:gd name="connsiteX3" fmla="*/ 31623 w 80867"/>
                  <a:gd name="connsiteY3" fmla="*/ 0 h 126777"/>
                  <a:gd name="connsiteX4" fmla="*/ 55435 w 80867"/>
                  <a:gd name="connsiteY4" fmla="*/ 0 h 126777"/>
                  <a:gd name="connsiteX5" fmla="*/ 48673 w 80867"/>
                  <a:gd name="connsiteY5" fmla="*/ 19812 h 126777"/>
                  <a:gd name="connsiteX6" fmla="*/ 24575 w 80867"/>
                  <a:gd name="connsiteY6" fmla="*/ 116491 h 126777"/>
                  <a:gd name="connsiteX7" fmla="*/ 55721 w 80867"/>
                  <a:gd name="connsiteY7" fmla="*/ 116491 h 126777"/>
                  <a:gd name="connsiteX8" fmla="*/ 80867 w 80867"/>
                  <a:gd name="connsiteY8" fmla="*/ 115062 h 126777"/>
                  <a:gd name="connsiteX9" fmla="*/ 76771 w 80867"/>
                  <a:gd name="connsiteY9" fmla="*/ 126778 h 126777"/>
                  <a:gd name="connsiteX10" fmla="*/ 0 w 80867"/>
                  <a:gd name="connsiteY10" fmla="*/ 126778 h 126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867" h="126777">
                    <a:moveTo>
                      <a:pt x="95" y="126778"/>
                    </a:moveTo>
                    <a:cubicBezTo>
                      <a:pt x="2857" y="121253"/>
                      <a:pt x="4572" y="116110"/>
                      <a:pt x="6763" y="106966"/>
                    </a:cubicBezTo>
                    <a:lnTo>
                      <a:pt x="28480" y="19812"/>
                    </a:lnTo>
                    <a:cubicBezTo>
                      <a:pt x="30766" y="10668"/>
                      <a:pt x="31623" y="5524"/>
                      <a:pt x="31623" y="0"/>
                    </a:cubicBezTo>
                    <a:lnTo>
                      <a:pt x="55435" y="0"/>
                    </a:lnTo>
                    <a:cubicBezTo>
                      <a:pt x="52673" y="5524"/>
                      <a:pt x="50959" y="10668"/>
                      <a:pt x="48673" y="19812"/>
                    </a:cubicBezTo>
                    <a:lnTo>
                      <a:pt x="24575" y="116491"/>
                    </a:lnTo>
                    <a:lnTo>
                      <a:pt x="55721" y="116491"/>
                    </a:lnTo>
                    <a:cubicBezTo>
                      <a:pt x="70390" y="116491"/>
                      <a:pt x="77152" y="115729"/>
                      <a:pt x="80867" y="115062"/>
                    </a:cubicBezTo>
                    <a:lnTo>
                      <a:pt x="76771" y="126778"/>
                    </a:lnTo>
                    <a:lnTo>
                      <a:pt x="0" y="126778"/>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0" name="Freeform: Shape 179">
                <a:extLst>
                  <a:ext uri="{FF2B5EF4-FFF2-40B4-BE49-F238E27FC236}">
                    <a16:creationId xmlns:a16="http://schemas.microsoft.com/office/drawing/2014/main" id="{9452095A-19E1-401D-915C-1CE17E417B46}"/>
                  </a:ext>
                </a:extLst>
              </p:cNvPr>
              <p:cNvSpPr/>
              <p:nvPr/>
            </p:nvSpPr>
            <p:spPr>
              <a:xfrm>
                <a:off x="4089315" y="3426263"/>
                <a:ext cx="103971" cy="81438"/>
              </a:xfrm>
              <a:custGeom>
                <a:avLst/>
                <a:gdLst>
                  <a:gd name="connsiteX0" fmla="*/ 83799 w 103971"/>
                  <a:gd name="connsiteY0" fmla="*/ 37719 h 81438"/>
                  <a:gd name="connsiteX1" fmla="*/ 88943 w 103971"/>
                  <a:gd name="connsiteY1" fmla="*/ 16955 h 81438"/>
                  <a:gd name="connsiteX2" fmla="*/ 83704 w 103971"/>
                  <a:gd name="connsiteY2" fmla="*/ 7906 h 81438"/>
                  <a:gd name="connsiteX3" fmla="*/ 36365 w 103971"/>
                  <a:gd name="connsiteY3" fmla="*/ 7906 h 81438"/>
                  <a:gd name="connsiteX4" fmla="*/ 26649 w 103971"/>
                  <a:gd name="connsiteY4" fmla="*/ 16955 h 81438"/>
                  <a:gd name="connsiteX5" fmla="*/ 21506 w 103971"/>
                  <a:gd name="connsiteY5" fmla="*/ 37719 h 81438"/>
                  <a:gd name="connsiteX6" fmla="*/ 83704 w 103971"/>
                  <a:gd name="connsiteY6" fmla="*/ 37719 h 81438"/>
                  <a:gd name="connsiteX7" fmla="*/ 19601 w 103971"/>
                  <a:gd name="connsiteY7" fmla="*/ 45720 h 81438"/>
                  <a:gd name="connsiteX8" fmla="*/ 14934 w 103971"/>
                  <a:gd name="connsiteY8" fmla="*/ 64389 h 81438"/>
                  <a:gd name="connsiteX9" fmla="*/ 20172 w 103971"/>
                  <a:gd name="connsiteY9" fmla="*/ 73438 h 81438"/>
                  <a:gd name="connsiteX10" fmla="*/ 72179 w 103971"/>
                  <a:gd name="connsiteY10" fmla="*/ 73438 h 81438"/>
                  <a:gd name="connsiteX11" fmla="*/ 89895 w 103971"/>
                  <a:gd name="connsiteY11" fmla="*/ 71914 h 81438"/>
                  <a:gd name="connsiteX12" fmla="*/ 85800 w 103971"/>
                  <a:gd name="connsiteY12" fmla="*/ 81439 h 81438"/>
                  <a:gd name="connsiteX13" fmla="*/ 17315 w 103971"/>
                  <a:gd name="connsiteY13" fmla="*/ 81439 h 81438"/>
                  <a:gd name="connsiteX14" fmla="*/ 1408 w 103971"/>
                  <a:gd name="connsiteY14" fmla="*/ 60293 h 81438"/>
                  <a:gd name="connsiteX15" fmla="*/ 11219 w 103971"/>
                  <a:gd name="connsiteY15" fmla="*/ 21146 h 81438"/>
                  <a:gd name="connsiteX16" fmla="*/ 37603 w 103971"/>
                  <a:gd name="connsiteY16" fmla="*/ 0 h 81438"/>
                  <a:gd name="connsiteX17" fmla="*/ 86657 w 103971"/>
                  <a:gd name="connsiteY17" fmla="*/ 0 h 81438"/>
                  <a:gd name="connsiteX18" fmla="*/ 102564 w 103971"/>
                  <a:gd name="connsiteY18" fmla="*/ 21146 h 81438"/>
                  <a:gd name="connsiteX19" fmla="*/ 96468 w 103971"/>
                  <a:gd name="connsiteY19" fmla="*/ 45815 h 81438"/>
                  <a:gd name="connsiteX20" fmla="*/ 19696 w 103971"/>
                  <a:gd name="connsiteY20" fmla="*/ 45815 h 81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971" h="81438">
                    <a:moveTo>
                      <a:pt x="83799" y="37719"/>
                    </a:moveTo>
                    <a:lnTo>
                      <a:pt x="88943" y="16955"/>
                    </a:lnTo>
                    <a:cubicBezTo>
                      <a:pt x="90753" y="9716"/>
                      <a:pt x="89800" y="7906"/>
                      <a:pt x="83704" y="7906"/>
                    </a:cubicBezTo>
                    <a:lnTo>
                      <a:pt x="36365" y="7906"/>
                    </a:lnTo>
                    <a:cubicBezTo>
                      <a:pt x="30269" y="7906"/>
                      <a:pt x="28459" y="9620"/>
                      <a:pt x="26649" y="16955"/>
                    </a:cubicBezTo>
                    <a:lnTo>
                      <a:pt x="21506" y="37719"/>
                    </a:lnTo>
                    <a:lnTo>
                      <a:pt x="83704" y="37719"/>
                    </a:lnTo>
                    <a:close/>
                    <a:moveTo>
                      <a:pt x="19601" y="45720"/>
                    </a:moveTo>
                    <a:lnTo>
                      <a:pt x="14934" y="64389"/>
                    </a:lnTo>
                    <a:cubicBezTo>
                      <a:pt x="13124" y="71628"/>
                      <a:pt x="14076" y="73438"/>
                      <a:pt x="20172" y="73438"/>
                    </a:cubicBezTo>
                    <a:lnTo>
                      <a:pt x="72179" y="73438"/>
                    </a:lnTo>
                    <a:cubicBezTo>
                      <a:pt x="80180" y="73438"/>
                      <a:pt x="84752" y="73057"/>
                      <a:pt x="89895" y="71914"/>
                    </a:cubicBezTo>
                    <a:lnTo>
                      <a:pt x="85800" y="81439"/>
                    </a:lnTo>
                    <a:lnTo>
                      <a:pt x="17315" y="81439"/>
                    </a:lnTo>
                    <a:cubicBezTo>
                      <a:pt x="1694" y="81439"/>
                      <a:pt x="-2592" y="76581"/>
                      <a:pt x="1408" y="60293"/>
                    </a:cubicBezTo>
                    <a:lnTo>
                      <a:pt x="11219" y="21146"/>
                    </a:lnTo>
                    <a:cubicBezTo>
                      <a:pt x="15315" y="4858"/>
                      <a:pt x="22077" y="0"/>
                      <a:pt x="37603" y="0"/>
                    </a:cubicBezTo>
                    <a:lnTo>
                      <a:pt x="86657" y="0"/>
                    </a:lnTo>
                    <a:cubicBezTo>
                      <a:pt x="102278" y="0"/>
                      <a:pt x="106564" y="4858"/>
                      <a:pt x="102564" y="21146"/>
                    </a:cubicBezTo>
                    <a:lnTo>
                      <a:pt x="96468" y="45815"/>
                    </a:lnTo>
                    <a:lnTo>
                      <a:pt x="19696" y="4581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81" name="Freeform: Shape 180">
                <a:extLst>
                  <a:ext uri="{FF2B5EF4-FFF2-40B4-BE49-F238E27FC236}">
                    <a16:creationId xmlns:a16="http://schemas.microsoft.com/office/drawing/2014/main" id="{C1730A67-5251-4705-B360-746A55C5A380}"/>
                  </a:ext>
                </a:extLst>
              </p:cNvPr>
              <p:cNvSpPr/>
              <p:nvPr/>
            </p:nvSpPr>
            <p:spPr>
              <a:xfrm>
                <a:off x="4192090" y="3396736"/>
                <a:ext cx="113231" cy="110966"/>
              </a:xfrm>
              <a:custGeom>
                <a:avLst/>
                <a:gdLst>
                  <a:gd name="connsiteX0" fmla="*/ 87038 w 113231"/>
                  <a:gd name="connsiteY0" fmla="*/ 46482 h 110966"/>
                  <a:gd name="connsiteX1" fmla="*/ 81799 w 113231"/>
                  <a:gd name="connsiteY1" fmla="*/ 37433 h 110966"/>
                  <a:gd name="connsiteX2" fmla="*/ 36365 w 113231"/>
                  <a:gd name="connsiteY2" fmla="*/ 37433 h 110966"/>
                  <a:gd name="connsiteX3" fmla="*/ 26649 w 113231"/>
                  <a:gd name="connsiteY3" fmla="*/ 46482 h 110966"/>
                  <a:gd name="connsiteX4" fmla="*/ 14838 w 113231"/>
                  <a:gd name="connsiteY4" fmla="*/ 94012 h 110966"/>
                  <a:gd name="connsiteX5" fmla="*/ 20077 w 113231"/>
                  <a:gd name="connsiteY5" fmla="*/ 103061 h 110966"/>
                  <a:gd name="connsiteX6" fmla="*/ 65511 w 113231"/>
                  <a:gd name="connsiteY6" fmla="*/ 103061 h 110966"/>
                  <a:gd name="connsiteX7" fmla="*/ 75227 w 113231"/>
                  <a:gd name="connsiteY7" fmla="*/ 94012 h 110966"/>
                  <a:gd name="connsiteX8" fmla="*/ 87038 w 113231"/>
                  <a:gd name="connsiteY8" fmla="*/ 46482 h 110966"/>
                  <a:gd name="connsiteX9" fmla="*/ 87038 w 113231"/>
                  <a:gd name="connsiteY9" fmla="*/ 46482 h 110966"/>
                  <a:gd name="connsiteX10" fmla="*/ 113232 w 113231"/>
                  <a:gd name="connsiteY10" fmla="*/ 0 h 110966"/>
                  <a:gd name="connsiteX11" fmla="*/ 89895 w 113231"/>
                  <a:gd name="connsiteY11" fmla="*/ 93631 h 110966"/>
                  <a:gd name="connsiteX12" fmla="*/ 87133 w 113231"/>
                  <a:gd name="connsiteY12" fmla="*/ 110966 h 110966"/>
                  <a:gd name="connsiteX13" fmla="*/ 72941 w 113231"/>
                  <a:gd name="connsiteY13" fmla="*/ 110966 h 110966"/>
                  <a:gd name="connsiteX14" fmla="*/ 73703 w 113231"/>
                  <a:gd name="connsiteY14" fmla="*/ 103823 h 110966"/>
                  <a:gd name="connsiteX15" fmla="*/ 73322 w 113231"/>
                  <a:gd name="connsiteY15" fmla="*/ 103823 h 110966"/>
                  <a:gd name="connsiteX16" fmla="*/ 60273 w 113231"/>
                  <a:gd name="connsiteY16" fmla="*/ 110966 h 110966"/>
                  <a:gd name="connsiteX17" fmla="*/ 17315 w 113231"/>
                  <a:gd name="connsiteY17" fmla="*/ 110966 h 110966"/>
                  <a:gd name="connsiteX18" fmla="*/ 1408 w 113231"/>
                  <a:gd name="connsiteY18" fmla="*/ 89821 h 110966"/>
                  <a:gd name="connsiteX19" fmla="*/ 11124 w 113231"/>
                  <a:gd name="connsiteY19" fmla="*/ 50673 h 110966"/>
                  <a:gd name="connsiteX20" fmla="*/ 37508 w 113231"/>
                  <a:gd name="connsiteY20" fmla="*/ 29528 h 110966"/>
                  <a:gd name="connsiteX21" fmla="*/ 79608 w 113231"/>
                  <a:gd name="connsiteY21" fmla="*/ 29528 h 110966"/>
                  <a:gd name="connsiteX22" fmla="*/ 86847 w 113231"/>
                  <a:gd name="connsiteY22" fmla="*/ 30385 h 110966"/>
                  <a:gd name="connsiteX23" fmla="*/ 89038 w 113231"/>
                  <a:gd name="connsiteY23" fmla="*/ 38195 h 110966"/>
                  <a:gd name="connsiteX24" fmla="*/ 89419 w 113231"/>
                  <a:gd name="connsiteY24" fmla="*/ 38195 h 110966"/>
                  <a:gd name="connsiteX25" fmla="*/ 94563 w 113231"/>
                  <a:gd name="connsiteY25" fmla="*/ 17431 h 110966"/>
                  <a:gd name="connsiteX26" fmla="*/ 97325 w 113231"/>
                  <a:gd name="connsiteY26" fmla="*/ 95 h 110966"/>
                  <a:gd name="connsiteX27" fmla="*/ 113136 w 113231"/>
                  <a:gd name="connsiteY27" fmla="*/ 95 h 11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3231" h="110966">
                    <a:moveTo>
                      <a:pt x="87038" y="46482"/>
                    </a:moveTo>
                    <a:cubicBezTo>
                      <a:pt x="88848" y="39243"/>
                      <a:pt x="87895" y="37433"/>
                      <a:pt x="81799" y="37433"/>
                    </a:cubicBezTo>
                    <a:lnTo>
                      <a:pt x="36365" y="37433"/>
                    </a:lnTo>
                    <a:cubicBezTo>
                      <a:pt x="30269" y="37433"/>
                      <a:pt x="28459" y="39148"/>
                      <a:pt x="26649" y="46482"/>
                    </a:cubicBezTo>
                    <a:lnTo>
                      <a:pt x="14838" y="94012"/>
                    </a:lnTo>
                    <a:cubicBezTo>
                      <a:pt x="13029" y="101251"/>
                      <a:pt x="13981" y="103061"/>
                      <a:pt x="20077" y="103061"/>
                    </a:cubicBezTo>
                    <a:lnTo>
                      <a:pt x="65511" y="103061"/>
                    </a:lnTo>
                    <a:cubicBezTo>
                      <a:pt x="71607" y="103061"/>
                      <a:pt x="73417" y="101346"/>
                      <a:pt x="75227" y="94012"/>
                    </a:cubicBezTo>
                    <a:lnTo>
                      <a:pt x="87038" y="46482"/>
                    </a:lnTo>
                    <a:lnTo>
                      <a:pt x="87038" y="46482"/>
                    </a:lnTo>
                    <a:close/>
                    <a:moveTo>
                      <a:pt x="113232" y="0"/>
                    </a:moveTo>
                    <a:lnTo>
                      <a:pt x="89895" y="93631"/>
                    </a:lnTo>
                    <a:cubicBezTo>
                      <a:pt x="87895" y="101632"/>
                      <a:pt x="87133" y="106109"/>
                      <a:pt x="87133" y="110966"/>
                    </a:cubicBezTo>
                    <a:lnTo>
                      <a:pt x="72941" y="110966"/>
                    </a:lnTo>
                    <a:lnTo>
                      <a:pt x="73703" y="103823"/>
                    </a:lnTo>
                    <a:lnTo>
                      <a:pt x="73322" y="103823"/>
                    </a:lnTo>
                    <a:cubicBezTo>
                      <a:pt x="71512" y="109157"/>
                      <a:pt x="66845" y="110966"/>
                      <a:pt x="60273" y="110966"/>
                    </a:cubicBezTo>
                    <a:lnTo>
                      <a:pt x="17315" y="110966"/>
                    </a:lnTo>
                    <a:cubicBezTo>
                      <a:pt x="1694" y="110966"/>
                      <a:pt x="-2592" y="106109"/>
                      <a:pt x="1408" y="89821"/>
                    </a:cubicBezTo>
                    <a:lnTo>
                      <a:pt x="11124" y="50673"/>
                    </a:lnTo>
                    <a:cubicBezTo>
                      <a:pt x="15219" y="34385"/>
                      <a:pt x="21982" y="29528"/>
                      <a:pt x="37508" y="29528"/>
                    </a:cubicBezTo>
                    <a:lnTo>
                      <a:pt x="79608" y="29528"/>
                    </a:lnTo>
                    <a:cubicBezTo>
                      <a:pt x="82942" y="29528"/>
                      <a:pt x="85323" y="29718"/>
                      <a:pt x="86847" y="30385"/>
                    </a:cubicBezTo>
                    <a:cubicBezTo>
                      <a:pt x="88562" y="31051"/>
                      <a:pt x="89229" y="32480"/>
                      <a:pt x="89038" y="38195"/>
                    </a:cubicBezTo>
                    <a:lnTo>
                      <a:pt x="89419" y="38195"/>
                    </a:lnTo>
                    <a:lnTo>
                      <a:pt x="94563" y="17431"/>
                    </a:lnTo>
                    <a:cubicBezTo>
                      <a:pt x="96563" y="9430"/>
                      <a:pt x="97325" y="4953"/>
                      <a:pt x="97325" y="95"/>
                    </a:cubicBezTo>
                    <a:lnTo>
                      <a:pt x="113136" y="9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165" name="Group 164">
              <a:extLst>
                <a:ext uri="{FF2B5EF4-FFF2-40B4-BE49-F238E27FC236}">
                  <a16:creationId xmlns:a16="http://schemas.microsoft.com/office/drawing/2014/main" id="{A84119E2-E75F-465D-990D-A06975965627}"/>
                </a:ext>
              </a:extLst>
            </p:cNvPr>
            <p:cNvGrpSpPr/>
            <p:nvPr userDrawn="1"/>
          </p:nvGrpSpPr>
          <p:grpSpPr>
            <a:xfrm>
              <a:off x="10157216" y="2322039"/>
              <a:ext cx="928261" cy="202000"/>
              <a:chOff x="5381625" y="3271837"/>
              <a:chExt cx="1432178" cy="311657"/>
            </a:xfrm>
          </p:grpSpPr>
          <p:sp>
            <p:nvSpPr>
              <p:cNvPr id="166" name="Freeform: Shape 165">
                <a:extLst>
                  <a:ext uri="{FF2B5EF4-FFF2-40B4-BE49-F238E27FC236}">
                    <a16:creationId xmlns:a16="http://schemas.microsoft.com/office/drawing/2014/main" id="{9D255534-5772-4AD9-A06A-4F35109E27D4}"/>
                  </a:ext>
                </a:extLst>
              </p:cNvPr>
              <p:cNvSpPr/>
              <p:nvPr/>
            </p:nvSpPr>
            <p:spPr>
              <a:xfrm>
                <a:off x="5381625" y="3271837"/>
                <a:ext cx="1385125" cy="59721"/>
              </a:xfrm>
              <a:custGeom>
                <a:avLst/>
                <a:gdLst>
                  <a:gd name="connsiteX0" fmla="*/ 1132618 w 1385125"/>
                  <a:gd name="connsiteY0" fmla="*/ 0 h 59721"/>
                  <a:gd name="connsiteX1" fmla="*/ 1130522 w 1385125"/>
                  <a:gd name="connsiteY1" fmla="*/ 2096 h 59721"/>
                  <a:gd name="connsiteX2" fmla="*/ 1130522 w 1385125"/>
                  <a:gd name="connsiteY2" fmla="*/ 57626 h 59721"/>
                  <a:gd name="connsiteX3" fmla="*/ 1132618 w 1385125"/>
                  <a:gd name="connsiteY3" fmla="*/ 59722 h 59721"/>
                  <a:gd name="connsiteX4" fmla="*/ 1383030 w 1385125"/>
                  <a:gd name="connsiteY4" fmla="*/ 59722 h 59721"/>
                  <a:gd name="connsiteX5" fmla="*/ 1385126 w 1385125"/>
                  <a:gd name="connsiteY5" fmla="*/ 57626 h 59721"/>
                  <a:gd name="connsiteX6" fmla="*/ 1385126 w 1385125"/>
                  <a:gd name="connsiteY6" fmla="*/ 2096 h 59721"/>
                  <a:gd name="connsiteX7" fmla="*/ 1383030 w 1385125"/>
                  <a:gd name="connsiteY7" fmla="*/ 0 h 59721"/>
                  <a:gd name="connsiteX8" fmla="*/ 1132618 w 1385125"/>
                  <a:gd name="connsiteY8" fmla="*/ 0 h 59721"/>
                  <a:gd name="connsiteX9" fmla="*/ 788575 w 1385125"/>
                  <a:gd name="connsiteY9" fmla="*/ 0 h 59721"/>
                  <a:gd name="connsiteX10" fmla="*/ 786479 w 1385125"/>
                  <a:gd name="connsiteY10" fmla="*/ 2096 h 59721"/>
                  <a:gd name="connsiteX11" fmla="*/ 786479 w 1385125"/>
                  <a:gd name="connsiteY11" fmla="*/ 57626 h 59721"/>
                  <a:gd name="connsiteX12" fmla="*/ 788575 w 1385125"/>
                  <a:gd name="connsiteY12" fmla="*/ 59722 h 59721"/>
                  <a:gd name="connsiteX13" fmla="*/ 1105376 w 1385125"/>
                  <a:gd name="connsiteY13" fmla="*/ 59722 h 59721"/>
                  <a:gd name="connsiteX14" fmla="*/ 1107472 w 1385125"/>
                  <a:gd name="connsiteY14" fmla="*/ 57626 h 59721"/>
                  <a:gd name="connsiteX15" fmla="*/ 1107472 w 1385125"/>
                  <a:gd name="connsiteY15" fmla="*/ 2096 h 59721"/>
                  <a:gd name="connsiteX16" fmla="*/ 1105376 w 1385125"/>
                  <a:gd name="connsiteY16" fmla="*/ 0 h 59721"/>
                  <a:gd name="connsiteX17" fmla="*/ 788575 w 1385125"/>
                  <a:gd name="connsiteY17" fmla="*/ 0 h 59721"/>
                  <a:gd name="connsiteX18" fmla="*/ 2096 w 1385125"/>
                  <a:gd name="connsiteY18" fmla="*/ 0 h 59721"/>
                  <a:gd name="connsiteX19" fmla="*/ 0 w 1385125"/>
                  <a:gd name="connsiteY19" fmla="*/ 2096 h 59721"/>
                  <a:gd name="connsiteX20" fmla="*/ 0 w 1385125"/>
                  <a:gd name="connsiteY20" fmla="*/ 57626 h 59721"/>
                  <a:gd name="connsiteX21" fmla="*/ 2096 w 1385125"/>
                  <a:gd name="connsiteY21" fmla="*/ 59722 h 59721"/>
                  <a:gd name="connsiteX22" fmla="*/ 761429 w 1385125"/>
                  <a:gd name="connsiteY22" fmla="*/ 59722 h 59721"/>
                  <a:gd name="connsiteX23" fmla="*/ 763524 w 1385125"/>
                  <a:gd name="connsiteY23" fmla="*/ 57626 h 59721"/>
                  <a:gd name="connsiteX24" fmla="*/ 763524 w 1385125"/>
                  <a:gd name="connsiteY24" fmla="*/ 2096 h 59721"/>
                  <a:gd name="connsiteX25" fmla="*/ 761429 w 1385125"/>
                  <a:gd name="connsiteY25" fmla="*/ 0 h 59721"/>
                  <a:gd name="connsiteX26" fmla="*/ 2096 w 1385125"/>
                  <a:gd name="connsiteY26" fmla="*/ 0 h 5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85125" h="59721">
                    <a:moveTo>
                      <a:pt x="1132618" y="0"/>
                    </a:moveTo>
                    <a:cubicBezTo>
                      <a:pt x="1131475" y="0"/>
                      <a:pt x="1130522" y="953"/>
                      <a:pt x="1130522" y="2096"/>
                    </a:cubicBezTo>
                    <a:lnTo>
                      <a:pt x="1130522" y="57626"/>
                    </a:lnTo>
                    <a:cubicBezTo>
                      <a:pt x="1130522" y="58769"/>
                      <a:pt x="1131475" y="59722"/>
                      <a:pt x="1132618" y="59722"/>
                    </a:cubicBezTo>
                    <a:lnTo>
                      <a:pt x="1383030" y="59722"/>
                    </a:lnTo>
                    <a:cubicBezTo>
                      <a:pt x="1384173" y="59722"/>
                      <a:pt x="1385126" y="58769"/>
                      <a:pt x="1385126" y="57626"/>
                    </a:cubicBezTo>
                    <a:lnTo>
                      <a:pt x="1385126" y="2096"/>
                    </a:lnTo>
                    <a:cubicBezTo>
                      <a:pt x="1385126" y="953"/>
                      <a:pt x="1384173" y="0"/>
                      <a:pt x="1383030" y="0"/>
                    </a:cubicBezTo>
                    <a:lnTo>
                      <a:pt x="1132618" y="0"/>
                    </a:lnTo>
                    <a:close/>
                    <a:moveTo>
                      <a:pt x="788575" y="0"/>
                    </a:moveTo>
                    <a:cubicBezTo>
                      <a:pt x="787432" y="0"/>
                      <a:pt x="786479" y="953"/>
                      <a:pt x="786479" y="2096"/>
                    </a:cubicBezTo>
                    <a:lnTo>
                      <a:pt x="786479" y="57626"/>
                    </a:lnTo>
                    <a:cubicBezTo>
                      <a:pt x="786479" y="58769"/>
                      <a:pt x="787432" y="59722"/>
                      <a:pt x="788575" y="59722"/>
                    </a:cubicBezTo>
                    <a:lnTo>
                      <a:pt x="1105376" y="59722"/>
                    </a:lnTo>
                    <a:cubicBezTo>
                      <a:pt x="1106519" y="59722"/>
                      <a:pt x="1107472" y="58769"/>
                      <a:pt x="1107472" y="57626"/>
                    </a:cubicBezTo>
                    <a:lnTo>
                      <a:pt x="1107472" y="2096"/>
                    </a:lnTo>
                    <a:cubicBezTo>
                      <a:pt x="1107472" y="953"/>
                      <a:pt x="1106519" y="0"/>
                      <a:pt x="1105376" y="0"/>
                    </a:cubicBezTo>
                    <a:lnTo>
                      <a:pt x="788575" y="0"/>
                    </a:lnTo>
                    <a:close/>
                    <a:moveTo>
                      <a:pt x="2096" y="0"/>
                    </a:moveTo>
                    <a:cubicBezTo>
                      <a:pt x="953" y="0"/>
                      <a:pt x="0" y="953"/>
                      <a:pt x="0" y="2096"/>
                    </a:cubicBezTo>
                    <a:lnTo>
                      <a:pt x="0" y="57626"/>
                    </a:lnTo>
                    <a:cubicBezTo>
                      <a:pt x="0" y="58769"/>
                      <a:pt x="953" y="59722"/>
                      <a:pt x="2096" y="59722"/>
                    </a:cubicBezTo>
                    <a:lnTo>
                      <a:pt x="761429" y="59722"/>
                    </a:lnTo>
                    <a:cubicBezTo>
                      <a:pt x="762572" y="59722"/>
                      <a:pt x="763524" y="58769"/>
                      <a:pt x="763524" y="57626"/>
                    </a:cubicBezTo>
                    <a:lnTo>
                      <a:pt x="763524" y="2096"/>
                    </a:lnTo>
                    <a:cubicBezTo>
                      <a:pt x="763429" y="953"/>
                      <a:pt x="762572" y="0"/>
                      <a:pt x="761429" y="0"/>
                    </a:cubicBezTo>
                    <a:lnTo>
                      <a:pt x="2096"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67" name="Freeform: Shape 166">
                <a:extLst>
                  <a:ext uri="{FF2B5EF4-FFF2-40B4-BE49-F238E27FC236}">
                    <a16:creationId xmlns:a16="http://schemas.microsoft.com/office/drawing/2014/main" id="{014CAD9F-6121-4C4E-B706-5A7FB3B03C32}"/>
                  </a:ext>
                </a:extLst>
              </p:cNvPr>
              <p:cNvSpPr/>
              <p:nvPr/>
            </p:nvSpPr>
            <p:spPr>
              <a:xfrm>
                <a:off x="5381625" y="3271837"/>
                <a:ext cx="1385125" cy="59721"/>
              </a:xfrm>
              <a:custGeom>
                <a:avLst/>
                <a:gdLst>
                  <a:gd name="connsiteX0" fmla="*/ 0 w 1385125"/>
                  <a:gd name="connsiteY0" fmla="*/ 0 h 59721"/>
                  <a:gd name="connsiteX1" fmla="*/ 1385126 w 1385125"/>
                  <a:gd name="connsiteY1" fmla="*/ 0 h 59721"/>
                  <a:gd name="connsiteX2" fmla="*/ 1385126 w 1385125"/>
                  <a:gd name="connsiteY2" fmla="*/ 59722 h 59721"/>
                  <a:gd name="connsiteX3" fmla="*/ 0 w 1385125"/>
                  <a:gd name="connsiteY3" fmla="*/ 59722 h 59721"/>
                  <a:gd name="connsiteX4" fmla="*/ 0 w 1385125"/>
                  <a:gd name="connsiteY4" fmla="*/ 0 h 59721"/>
                  <a:gd name="connsiteX5" fmla="*/ 0 w 1385125"/>
                  <a:gd name="connsiteY5" fmla="*/ 0 h 5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5125" h="59721">
                    <a:moveTo>
                      <a:pt x="0" y="0"/>
                    </a:moveTo>
                    <a:lnTo>
                      <a:pt x="1385126" y="0"/>
                    </a:lnTo>
                    <a:lnTo>
                      <a:pt x="1385126" y="59722"/>
                    </a:lnTo>
                    <a:lnTo>
                      <a:pt x="0" y="59722"/>
                    </a:lnTo>
                    <a:lnTo>
                      <a:pt x="0" y="0"/>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68" name="Freeform: Shape 167">
                <a:extLst>
                  <a:ext uri="{FF2B5EF4-FFF2-40B4-BE49-F238E27FC236}">
                    <a16:creationId xmlns:a16="http://schemas.microsoft.com/office/drawing/2014/main" id="{2931DBDB-02E6-40EB-BE20-2000716C6CDA}"/>
                  </a:ext>
                </a:extLst>
              </p:cNvPr>
              <p:cNvSpPr/>
              <p:nvPr/>
            </p:nvSpPr>
            <p:spPr>
              <a:xfrm>
                <a:off x="5388863" y="3378707"/>
                <a:ext cx="1372171" cy="204787"/>
              </a:xfrm>
              <a:custGeom>
                <a:avLst/>
                <a:gdLst>
                  <a:gd name="connsiteX0" fmla="*/ 1371695 w 1372171"/>
                  <a:gd name="connsiteY0" fmla="*/ 145828 h 204787"/>
                  <a:gd name="connsiteX1" fmla="*/ 1356836 w 1372171"/>
                  <a:gd name="connsiteY1" fmla="*/ 192977 h 204787"/>
                  <a:gd name="connsiteX2" fmla="*/ 1314450 w 1372171"/>
                  <a:gd name="connsiteY2" fmla="*/ 204597 h 204787"/>
                  <a:gd name="connsiteX3" fmla="*/ 1229106 w 1372171"/>
                  <a:gd name="connsiteY3" fmla="*/ 204597 h 204787"/>
                  <a:gd name="connsiteX4" fmla="*/ 1188911 w 1372171"/>
                  <a:gd name="connsiteY4" fmla="*/ 190691 h 204787"/>
                  <a:gd name="connsiteX5" fmla="*/ 1172147 w 1372171"/>
                  <a:gd name="connsiteY5" fmla="*/ 145447 h 204787"/>
                  <a:gd name="connsiteX6" fmla="*/ 1174337 w 1372171"/>
                  <a:gd name="connsiteY6" fmla="*/ 142494 h 204787"/>
                  <a:gd name="connsiteX7" fmla="*/ 1191673 w 1372171"/>
                  <a:gd name="connsiteY7" fmla="*/ 142494 h 204787"/>
                  <a:gd name="connsiteX8" fmla="*/ 1194149 w 1372171"/>
                  <a:gd name="connsiteY8" fmla="*/ 145447 h 204787"/>
                  <a:gd name="connsiteX9" fmla="*/ 1206246 w 1372171"/>
                  <a:gd name="connsiteY9" fmla="*/ 172212 h 204787"/>
                  <a:gd name="connsiteX10" fmla="*/ 1234631 w 1372171"/>
                  <a:gd name="connsiteY10" fmla="*/ 178022 h 204787"/>
                  <a:gd name="connsiteX11" fmla="*/ 1313688 w 1372171"/>
                  <a:gd name="connsiteY11" fmla="*/ 178022 h 204787"/>
                  <a:gd name="connsiteX12" fmla="*/ 1339882 w 1372171"/>
                  <a:gd name="connsiteY12" fmla="*/ 171831 h 204787"/>
                  <a:gd name="connsiteX13" fmla="*/ 1349788 w 1372171"/>
                  <a:gd name="connsiteY13" fmla="*/ 145066 h 204787"/>
                  <a:gd name="connsiteX14" fmla="*/ 1334643 w 1372171"/>
                  <a:gd name="connsiteY14" fmla="*/ 118300 h 204787"/>
                  <a:gd name="connsiteX15" fmla="*/ 1295591 w 1372171"/>
                  <a:gd name="connsiteY15" fmla="*/ 112490 h 204787"/>
                  <a:gd name="connsiteX16" fmla="*/ 1288923 w 1372171"/>
                  <a:gd name="connsiteY16" fmla="*/ 112490 h 204787"/>
                  <a:gd name="connsiteX17" fmla="*/ 1280350 w 1372171"/>
                  <a:gd name="connsiteY17" fmla="*/ 112776 h 204787"/>
                  <a:gd name="connsiteX18" fmla="*/ 1271016 w 1372171"/>
                  <a:gd name="connsiteY18" fmla="*/ 112776 h 204787"/>
                  <a:gd name="connsiteX19" fmla="*/ 1267682 w 1372171"/>
                  <a:gd name="connsiteY19" fmla="*/ 113157 h 204787"/>
                  <a:gd name="connsiteX20" fmla="*/ 1264158 w 1372171"/>
                  <a:gd name="connsiteY20" fmla="*/ 113157 h 204787"/>
                  <a:gd name="connsiteX21" fmla="*/ 1253966 w 1372171"/>
                  <a:gd name="connsiteY21" fmla="*/ 113443 h 204787"/>
                  <a:gd name="connsiteX22" fmla="*/ 1246823 w 1372171"/>
                  <a:gd name="connsiteY22" fmla="*/ 113443 h 204787"/>
                  <a:gd name="connsiteX23" fmla="*/ 1194245 w 1372171"/>
                  <a:gd name="connsiteY23" fmla="*/ 103727 h 204787"/>
                  <a:gd name="connsiteX24" fmla="*/ 1170908 w 1372171"/>
                  <a:gd name="connsiteY24" fmla="*/ 55912 h 204787"/>
                  <a:gd name="connsiteX25" fmla="*/ 1224629 w 1372171"/>
                  <a:gd name="connsiteY25" fmla="*/ 0 h 204787"/>
                  <a:gd name="connsiteX26" fmla="*/ 1311688 w 1372171"/>
                  <a:gd name="connsiteY26" fmla="*/ 0 h 204787"/>
                  <a:gd name="connsiteX27" fmla="*/ 1370648 w 1372171"/>
                  <a:gd name="connsiteY27" fmla="*/ 59055 h 204787"/>
                  <a:gd name="connsiteX28" fmla="*/ 1368743 w 1372171"/>
                  <a:gd name="connsiteY28" fmla="*/ 61627 h 204787"/>
                  <a:gd name="connsiteX29" fmla="*/ 1350836 w 1372171"/>
                  <a:gd name="connsiteY29" fmla="*/ 61627 h 204787"/>
                  <a:gd name="connsiteX30" fmla="*/ 1348645 w 1372171"/>
                  <a:gd name="connsiteY30" fmla="*/ 59055 h 204787"/>
                  <a:gd name="connsiteX31" fmla="*/ 1336548 w 1372171"/>
                  <a:gd name="connsiteY31" fmla="*/ 32290 h 204787"/>
                  <a:gd name="connsiteX32" fmla="*/ 1308449 w 1372171"/>
                  <a:gd name="connsiteY32" fmla="*/ 26765 h 204787"/>
                  <a:gd name="connsiteX33" fmla="*/ 1224153 w 1372171"/>
                  <a:gd name="connsiteY33" fmla="*/ 26765 h 204787"/>
                  <a:gd name="connsiteX34" fmla="*/ 1201007 w 1372171"/>
                  <a:gd name="connsiteY34" fmla="*/ 32576 h 204787"/>
                  <a:gd name="connsiteX35" fmla="*/ 1193292 w 1372171"/>
                  <a:gd name="connsiteY35" fmla="*/ 56102 h 204787"/>
                  <a:gd name="connsiteX36" fmla="*/ 1208437 w 1372171"/>
                  <a:gd name="connsiteY36" fmla="*/ 80962 h 204787"/>
                  <a:gd name="connsiteX37" fmla="*/ 1247204 w 1372171"/>
                  <a:gd name="connsiteY37" fmla="*/ 87154 h 204787"/>
                  <a:gd name="connsiteX38" fmla="*/ 1255776 w 1372171"/>
                  <a:gd name="connsiteY38" fmla="*/ 87154 h 204787"/>
                  <a:gd name="connsiteX39" fmla="*/ 1269587 w 1372171"/>
                  <a:gd name="connsiteY39" fmla="*/ 86868 h 204787"/>
                  <a:gd name="connsiteX40" fmla="*/ 1273397 w 1372171"/>
                  <a:gd name="connsiteY40" fmla="*/ 86582 h 204787"/>
                  <a:gd name="connsiteX41" fmla="*/ 1277017 w 1372171"/>
                  <a:gd name="connsiteY41" fmla="*/ 86582 h 204787"/>
                  <a:gd name="connsiteX42" fmla="*/ 1285875 w 1372171"/>
                  <a:gd name="connsiteY42" fmla="*/ 86201 h 204787"/>
                  <a:gd name="connsiteX43" fmla="*/ 1291971 w 1372171"/>
                  <a:gd name="connsiteY43" fmla="*/ 86201 h 204787"/>
                  <a:gd name="connsiteX44" fmla="*/ 1347597 w 1372171"/>
                  <a:gd name="connsiteY44" fmla="*/ 96202 h 204787"/>
                  <a:gd name="connsiteX45" fmla="*/ 1372172 w 1372171"/>
                  <a:gd name="connsiteY45" fmla="*/ 145637 h 204787"/>
                  <a:gd name="connsiteX46" fmla="*/ 777240 w 1372171"/>
                  <a:gd name="connsiteY46" fmla="*/ 204407 h 204787"/>
                  <a:gd name="connsiteX47" fmla="*/ 759619 w 1372171"/>
                  <a:gd name="connsiteY47" fmla="*/ 204407 h 204787"/>
                  <a:gd name="connsiteX48" fmla="*/ 756761 w 1372171"/>
                  <a:gd name="connsiteY48" fmla="*/ 201454 h 204787"/>
                  <a:gd name="connsiteX49" fmla="*/ 756761 w 1372171"/>
                  <a:gd name="connsiteY49" fmla="*/ 3429 h 204787"/>
                  <a:gd name="connsiteX50" fmla="*/ 759619 w 1372171"/>
                  <a:gd name="connsiteY50" fmla="*/ 190 h 204787"/>
                  <a:gd name="connsiteX51" fmla="*/ 777240 w 1372171"/>
                  <a:gd name="connsiteY51" fmla="*/ 190 h 204787"/>
                  <a:gd name="connsiteX52" fmla="*/ 779717 w 1372171"/>
                  <a:gd name="connsiteY52" fmla="*/ 3429 h 204787"/>
                  <a:gd name="connsiteX53" fmla="*/ 779717 w 1372171"/>
                  <a:gd name="connsiteY53" fmla="*/ 201740 h 204787"/>
                  <a:gd name="connsiteX54" fmla="*/ 777240 w 1372171"/>
                  <a:gd name="connsiteY54" fmla="*/ 204692 h 204787"/>
                  <a:gd name="connsiteX55" fmla="*/ 1121188 w 1372171"/>
                  <a:gd name="connsiteY55" fmla="*/ 204692 h 204787"/>
                  <a:gd name="connsiteX56" fmla="*/ 1103567 w 1372171"/>
                  <a:gd name="connsiteY56" fmla="*/ 204692 h 204787"/>
                  <a:gd name="connsiteX57" fmla="*/ 1100709 w 1372171"/>
                  <a:gd name="connsiteY57" fmla="*/ 201740 h 204787"/>
                  <a:gd name="connsiteX58" fmla="*/ 1100709 w 1372171"/>
                  <a:gd name="connsiteY58" fmla="*/ 3429 h 204787"/>
                  <a:gd name="connsiteX59" fmla="*/ 1103567 w 1372171"/>
                  <a:gd name="connsiteY59" fmla="*/ 190 h 204787"/>
                  <a:gd name="connsiteX60" fmla="*/ 1121188 w 1372171"/>
                  <a:gd name="connsiteY60" fmla="*/ 190 h 204787"/>
                  <a:gd name="connsiteX61" fmla="*/ 1123760 w 1372171"/>
                  <a:gd name="connsiteY61" fmla="*/ 3429 h 204787"/>
                  <a:gd name="connsiteX62" fmla="*/ 1123760 w 1372171"/>
                  <a:gd name="connsiteY62" fmla="*/ 201740 h 204787"/>
                  <a:gd name="connsiteX63" fmla="*/ 1121188 w 1372171"/>
                  <a:gd name="connsiteY63" fmla="*/ 204692 h 204787"/>
                  <a:gd name="connsiteX64" fmla="*/ 1039940 w 1372171"/>
                  <a:gd name="connsiteY64" fmla="*/ 204692 h 204787"/>
                  <a:gd name="connsiteX65" fmla="*/ 1013270 w 1372171"/>
                  <a:gd name="connsiteY65" fmla="*/ 204692 h 204787"/>
                  <a:gd name="connsiteX66" fmla="*/ 1011555 w 1372171"/>
                  <a:gd name="connsiteY66" fmla="*/ 203740 h 204787"/>
                  <a:gd name="connsiteX67" fmla="*/ 869633 w 1372171"/>
                  <a:gd name="connsiteY67" fmla="*/ 21908 h 204787"/>
                  <a:gd name="connsiteX68" fmla="*/ 863727 w 1372171"/>
                  <a:gd name="connsiteY68" fmla="*/ 21908 h 204787"/>
                  <a:gd name="connsiteX69" fmla="*/ 863727 w 1372171"/>
                  <a:gd name="connsiteY69" fmla="*/ 201835 h 204787"/>
                  <a:gd name="connsiteX70" fmla="*/ 861060 w 1372171"/>
                  <a:gd name="connsiteY70" fmla="*/ 204788 h 204787"/>
                  <a:gd name="connsiteX71" fmla="*/ 842391 w 1372171"/>
                  <a:gd name="connsiteY71" fmla="*/ 204788 h 204787"/>
                  <a:gd name="connsiteX72" fmla="*/ 839724 w 1372171"/>
                  <a:gd name="connsiteY72" fmla="*/ 201835 h 204787"/>
                  <a:gd name="connsiteX73" fmla="*/ 839724 w 1372171"/>
                  <a:gd name="connsiteY73" fmla="*/ 3429 h 204787"/>
                  <a:gd name="connsiteX74" fmla="*/ 842391 w 1372171"/>
                  <a:gd name="connsiteY74" fmla="*/ 190 h 204787"/>
                  <a:gd name="connsiteX75" fmla="*/ 883539 w 1372171"/>
                  <a:gd name="connsiteY75" fmla="*/ 190 h 204787"/>
                  <a:gd name="connsiteX76" fmla="*/ 885635 w 1372171"/>
                  <a:gd name="connsiteY76" fmla="*/ 1524 h 204787"/>
                  <a:gd name="connsiteX77" fmla="*/ 1018318 w 1372171"/>
                  <a:gd name="connsiteY77" fmla="*/ 173641 h 204787"/>
                  <a:gd name="connsiteX78" fmla="*/ 1018318 w 1372171"/>
                  <a:gd name="connsiteY78" fmla="*/ 3429 h 204787"/>
                  <a:gd name="connsiteX79" fmla="*/ 1021271 w 1372171"/>
                  <a:gd name="connsiteY79" fmla="*/ 190 h 204787"/>
                  <a:gd name="connsiteX80" fmla="*/ 1039940 w 1372171"/>
                  <a:gd name="connsiteY80" fmla="*/ 190 h 204787"/>
                  <a:gd name="connsiteX81" fmla="*/ 1042607 w 1372171"/>
                  <a:gd name="connsiteY81" fmla="*/ 3429 h 204787"/>
                  <a:gd name="connsiteX82" fmla="*/ 1042607 w 1372171"/>
                  <a:gd name="connsiteY82" fmla="*/ 201740 h 204787"/>
                  <a:gd name="connsiteX83" fmla="*/ 1039940 w 1372171"/>
                  <a:gd name="connsiteY83" fmla="*/ 204692 h 204787"/>
                  <a:gd name="connsiteX84" fmla="*/ 691039 w 1372171"/>
                  <a:gd name="connsiteY84" fmla="*/ 204692 h 204787"/>
                  <a:gd name="connsiteX85" fmla="*/ 673132 w 1372171"/>
                  <a:gd name="connsiteY85" fmla="*/ 204692 h 204787"/>
                  <a:gd name="connsiteX86" fmla="*/ 670655 w 1372171"/>
                  <a:gd name="connsiteY86" fmla="*/ 201740 h 204787"/>
                  <a:gd name="connsiteX87" fmla="*/ 670655 w 1372171"/>
                  <a:gd name="connsiteY87" fmla="*/ 21812 h 204787"/>
                  <a:gd name="connsiteX88" fmla="*/ 665321 w 1372171"/>
                  <a:gd name="connsiteY88" fmla="*/ 21812 h 204787"/>
                  <a:gd name="connsiteX89" fmla="*/ 573881 w 1372171"/>
                  <a:gd name="connsiteY89" fmla="*/ 203930 h 204787"/>
                  <a:gd name="connsiteX90" fmla="*/ 571881 w 1372171"/>
                  <a:gd name="connsiteY90" fmla="*/ 204597 h 204787"/>
                  <a:gd name="connsiteX91" fmla="*/ 559784 w 1372171"/>
                  <a:gd name="connsiteY91" fmla="*/ 204597 h 204787"/>
                  <a:gd name="connsiteX92" fmla="*/ 558641 w 1372171"/>
                  <a:gd name="connsiteY92" fmla="*/ 204311 h 204787"/>
                  <a:gd name="connsiteX93" fmla="*/ 468059 w 1372171"/>
                  <a:gd name="connsiteY93" fmla="*/ 21812 h 204787"/>
                  <a:gd name="connsiteX94" fmla="*/ 463010 w 1372171"/>
                  <a:gd name="connsiteY94" fmla="*/ 21812 h 204787"/>
                  <a:gd name="connsiteX95" fmla="*/ 463010 w 1372171"/>
                  <a:gd name="connsiteY95" fmla="*/ 201740 h 204787"/>
                  <a:gd name="connsiteX96" fmla="*/ 460534 w 1372171"/>
                  <a:gd name="connsiteY96" fmla="*/ 204692 h 204787"/>
                  <a:gd name="connsiteX97" fmla="*/ 442341 w 1372171"/>
                  <a:gd name="connsiteY97" fmla="*/ 204692 h 204787"/>
                  <a:gd name="connsiteX98" fmla="*/ 439865 w 1372171"/>
                  <a:gd name="connsiteY98" fmla="*/ 201740 h 204787"/>
                  <a:gd name="connsiteX99" fmla="*/ 439865 w 1372171"/>
                  <a:gd name="connsiteY99" fmla="*/ 3429 h 204787"/>
                  <a:gd name="connsiteX100" fmla="*/ 442341 w 1372171"/>
                  <a:gd name="connsiteY100" fmla="*/ 190 h 204787"/>
                  <a:gd name="connsiteX101" fmla="*/ 482727 w 1372171"/>
                  <a:gd name="connsiteY101" fmla="*/ 190 h 204787"/>
                  <a:gd name="connsiteX102" fmla="*/ 484156 w 1372171"/>
                  <a:gd name="connsiteY102" fmla="*/ 476 h 204787"/>
                  <a:gd name="connsiteX103" fmla="*/ 566261 w 1372171"/>
                  <a:gd name="connsiteY103" fmla="*/ 167449 h 204787"/>
                  <a:gd name="connsiteX104" fmla="*/ 650939 w 1372171"/>
                  <a:gd name="connsiteY104" fmla="*/ 857 h 204787"/>
                  <a:gd name="connsiteX105" fmla="*/ 652939 w 1372171"/>
                  <a:gd name="connsiteY105" fmla="*/ 190 h 204787"/>
                  <a:gd name="connsiteX106" fmla="*/ 691039 w 1372171"/>
                  <a:gd name="connsiteY106" fmla="*/ 190 h 204787"/>
                  <a:gd name="connsiteX107" fmla="*/ 693039 w 1372171"/>
                  <a:gd name="connsiteY107" fmla="*/ 3429 h 204787"/>
                  <a:gd name="connsiteX108" fmla="*/ 693039 w 1372171"/>
                  <a:gd name="connsiteY108" fmla="*/ 201740 h 204787"/>
                  <a:gd name="connsiteX109" fmla="*/ 691039 w 1372171"/>
                  <a:gd name="connsiteY109" fmla="*/ 204692 h 204787"/>
                  <a:gd name="connsiteX110" fmla="*/ 400336 w 1372171"/>
                  <a:gd name="connsiteY110" fmla="*/ 111061 h 204787"/>
                  <a:gd name="connsiteX111" fmla="*/ 392621 w 1372171"/>
                  <a:gd name="connsiteY111" fmla="*/ 171450 h 204787"/>
                  <a:gd name="connsiteX112" fmla="*/ 364712 w 1372171"/>
                  <a:gd name="connsiteY112" fmla="*/ 198215 h 204787"/>
                  <a:gd name="connsiteX113" fmla="*/ 364427 w 1372171"/>
                  <a:gd name="connsiteY113" fmla="*/ 198596 h 204787"/>
                  <a:gd name="connsiteX114" fmla="*/ 311182 w 1372171"/>
                  <a:gd name="connsiteY114" fmla="*/ 204692 h 204787"/>
                  <a:gd name="connsiteX115" fmla="*/ 284321 w 1372171"/>
                  <a:gd name="connsiteY115" fmla="*/ 204692 h 204787"/>
                  <a:gd name="connsiteX116" fmla="*/ 230791 w 1372171"/>
                  <a:gd name="connsiteY116" fmla="*/ 198596 h 204787"/>
                  <a:gd name="connsiteX117" fmla="*/ 230219 w 1372171"/>
                  <a:gd name="connsiteY117" fmla="*/ 198215 h 204787"/>
                  <a:gd name="connsiteX118" fmla="*/ 202025 w 1372171"/>
                  <a:gd name="connsiteY118" fmla="*/ 171450 h 204787"/>
                  <a:gd name="connsiteX119" fmla="*/ 194405 w 1372171"/>
                  <a:gd name="connsiteY119" fmla="*/ 111061 h 204787"/>
                  <a:gd name="connsiteX120" fmla="*/ 194405 w 1372171"/>
                  <a:gd name="connsiteY120" fmla="*/ 3429 h 204787"/>
                  <a:gd name="connsiteX121" fmla="*/ 196691 w 1372171"/>
                  <a:gd name="connsiteY121" fmla="*/ 190 h 204787"/>
                  <a:gd name="connsiteX122" fmla="*/ 214598 w 1372171"/>
                  <a:gd name="connsiteY122" fmla="*/ 190 h 204787"/>
                  <a:gd name="connsiteX123" fmla="*/ 217170 w 1372171"/>
                  <a:gd name="connsiteY123" fmla="*/ 3429 h 204787"/>
                  <a:gd name="connsiteX124" fmla="*/ 217170 w 1372171"/>
                  <a:gd name="connsiteY124" fmla="*/ 110966 h 204787"/>
                  <a:gd name="connsiteX125" fmla="*/ 222599 w 1372171"/>
                  <a:gd name="connsiteY125" fmla="*/ 158115 h 204787"/>
                  <a:gd name="connsiteX126" fmla="*/ 241459 w 1372171"/>
                  <a:gd name="connsiteY126" fmla="*/ 174593 h 204787"/>
                  <a:gd name="connsiteX127" fmla="*/ 284512 w 1372171"/>
                  <a:gd name="connsiteY127" fmla="*/ 177832 h 204787"/>
                  <a:gd name="connsiteX128" fmla="*/ 311372 w 1372171"/>
                  <a:gd name="connsiteY128" fmla="*/ 177832 h 204787"/>
                  <a:gd name="connsiteX129" fmla="*/ 354425 w 1372171"/>
                  <a:gd name="connsiteY129" fmla="*/ 174593 h 204787"/>
                  <a:gd name="connsiteX130" fmla="*/ 372428 w 1372171"/>
                  <a:gd name="connsiteY130" fmla="*/ 158115 h 204787"/>
                  <a:gd name="connsiteX131" fmla="*/ 377571 w 1372171"/>
                  <a:gd name="connsiteY131" fmla="*/ 110966 h 204787"/>
                  <a:gd name="connsiteX132" fmla="*/ 377571 w 1372171"/>
                  <a:gd name="connsiteY132" fmla="*/ 3429 h 204787"/>
                  <a:gd name="connsiteX133" fmla="*/ 380429 w 1372171"/>
                  <a:gd name="connsiteY133" fmla="*/ 190 h 204787"/>
                  <a:gd name="connsiteX134" fmla="*/ 398050 w 1372171"/>
                  <a:gd name="connsiteY134" fmla="*/ 190 h 204787"/>
                  <a:gd name="connsiteX135" fmla="*/ 400622 w 1372171"/>
                  <a:gd name="connsiteY135" fmla="*/ 3429 h 204787"/>
                  <a:gd name="connsiteX136" fmla="*/ 400622 w 1372171"/>
                  <a:gd name="connsiteY136" fmla="*/ 110966 h 204787"/>
                  <a:gd name="connsiteX137" fmla="*/ 400622 w 1372171"/>
                  <a:gd name="connsiteY137" fmla="*/ 110966 h 204787"/>
                  <a:gd name="connsiteX138" fmla="*/ 153829 w 1372171"/>
                  <a:gd name="connsiteY138" fmla="*/ 204692 h 204787"/>
                  <a:gd name="connsiteX139" fmla="*/ 2667 w 1372171"/>
                  <a:gd name="connsiteY139" fmla="*/ 204692 h 204787"/>
                  <a:gd name="connsiteX140" fmla="*/ 0 w 1372171"/>
                  <a:gd name="connsiteY140" fmla="*/ 201740 h 204787"/>
                  <a:gd name="connsiteX141" fmla="*/ 0 w 1372171"/>
                  <a:gd name="connsiteY141" fmla="*/ 3429 h 204787"/>
                  <a:gd name="connsiteX142" fmla="*/ 2667 w 1372171"/>
                  <a:gd name="connsiteY142" fmla="*/ 190 h 204787"/>
                  <a:gd name="connsiteX143" fmla="*/ 21146 w 1372171"/>
                  <a:gd name="connsiteY143" fmla="*/ 190 h 204787"/>
                  <a:gd name="connsiteX144" fmla="*/ 23813 w 1372171"/>
                  <a:gd name="connsiteY144" fmla="*/ 3429 h 204787"/>
                  <a:gd name="connsiteX145" fmla="*/ 23813 w 1372171"/>
                  <a:gd name="connsiteY145" fmla="*/ 178118 h 204787"/>
                  <a:gd name="connsiteX146" fmla="*/ 153257 w 1372171"/>
                  <a:gd name="connsiteY146" fmla="*/ 178118 h 204787"/>
                  <a:gd name="connsiteX147" fmla="*/ 155924 w 1372171"/>
                  <a:gd name="connsiteY147" fmla="*/ 181070 h 204787"/>
                  <a:gd name="connsiteX148" fmla="*/ 155924 w 1372171"/>
                  <a:gd name="connsiteY148" fmla="*/ 201740 h 204787"/>
                  <a:gd name="connsiteX149" fmla="*/ 153257 w 1372171"/>
                  <a:gd name="connsiteY149" fmla="*/ 204692 h 20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372171" h="204787">
                    <a:moveTo>
                      <a:pt x="1371695" y="145828"/>
                    </a:moveTo>
                    <a:cubicBezTo>
                      <a:pt x="1371695" y="167449"/>
                      <a:pt x="1366742" y="183261"/>
                      <a:pt x="1356836" y="192977"/>
                    </a:cubicBezTo>
                    <a:cubicBezTo>
                      <a:pt x="1347978" y="201073"/>
                      <a:pt x="1333976" y="204597"/>
                      <a:pt x="1314450" y="204597"/>
                    </a:cubicBezTo>
                    <a:lnTo>
                      <a:pt x="1229106" y="204597"/>
                    </a:lnTo>
                    <a:cubicBezTo>
                      <a:pt x="1211771" y="204597"/>
                      <a:pt x="1198531" y="200025"/>
                      <a:pt x="1188911" y="190691"/>
                    </a:cubicBezTo>
                    <a:cubicBezTo>
                      <a:pt x="1177576" y="180308"/>
                      <a:pt x="1172147" y="165164"/>
                      <a:pt x="1172147" y="145447"/>
                    </a:cubicBezTo>
                    <a:cubicBezTo>
                      <a:pt x="1172147" y="143542"/>
                      <a:pt x="1173004" y="142494"/>
                      <a:pt x="1174337" y="142494"/>
                    </a:cubicBezTo>
                    <a:lnTo>
                      <a:pt x="1191673" y="142494"/>
                    </a:lnTo>
                    <a:cubicBezTo>
                      <a:pt x="1193292" y="142494"/>
                      <a:pt x="1194149" y="143447"/>
                      <a:pt x="1194149" y="145447"/>
                    </a:cubicBezTo>
                    <a:cubicBezTo>
                      <a:pt x="1194435" y="158401"/>
                      <a:pt x="1197674" y="167354"/>
                      <a:pt x="1206246" y="172212"/>
                    </a:cubicBezTo>
                    <a:cubicBezTo>
                      <a:pt x="1211961" y="175736"/>
                      <a:pt x="1221677" y="178022"/>
                      <a:pt x="1234631" y="178022"/>
                    </a:cubicBezTo>
                    <a:lnTo>
                      <a:pt x="1313688" y="178022"/>
                    </a:lnTo>
                    <a:cubicBezTo>
                      <a:pt x="1326071" y="178022"/>
                      <a:pt x="1334357" y="175736"/>
                      <a:pt x="1339882" y="171831"/>
                    </a:cubicBezTo>
                    <a:cubicBezTo>
                      <a:pt x="1347311" y="166687"/>
                      <a:pt x="1349788" y="157639"/>
                      <a:pt x="1349788" y="145066"/>
                    </a:cubicBezTo>
                    <a:cubicBezTo>
                      <a:pt x="1349788" y="131826"/>
                      <a:pt x="1344835" y="123158"/>
                      <a:pt x="1334643" y="118300"/>
                    </a:cubicBezTo>
                    <a:cubicBezTo>
                      <a:pt x="1326642" y="114110"/>
                      <a:pt x="1313212" y="112490"/>
                      <a:pt x="1295591" y="112490"/>
                    </a:cubicBezTo>
                    <a:lnTo>
                      <a:pt x="1288923" y="112490"/>
                    </a:lnTo>
                    <a:cubicBezTo>
                      <a:pt x="1286447" y="112490"/>
                      <a:pt x="1283684" y="112490"/>
                      <a:pt x="1280350" y="112776"/>
                    </a:cubicBezTo>
                    <a:lnTo>
                      <a:pt x="1271016" y="112776"/>
                    </a:lnTo>
                    <a:cubicBezTo>
                      <a:pt x="1270159" y="112776"/>
                      <a:pt x="1269111" y="113157"/>
                      <a:pt x="1267682" y="113157"/>
                    </a:cubicBezTo>
                    <a:lnTo>
                      <a:pt x="1264158" y="113157"/>
                    </a:lnTo>
                    <a:cubicBezTo>
                      <a:pt x="1260253" y="113443"/>
                      <a:pt x="1256919" y="113443"/>
                      <a:pt x="1253966" y="113443"/>
                    </a:cubicBezTo>
                    <a:lnTo>
                      <a:pt x="1246823" y="113443"/>
                    </a:lnTo>
                    <a:cubicBezTo>
                      <a:pt x="1223391" y="113443"/>
                      <a:pt x="1205770" y="110204"/>
                      <a:pt x="1194245" y="103727"/>
                    </a:cubicBezTo>
                    <a:cubicBezTo>
                      <a:pt x="1178528" y="94964"/>
                      <a:pt x="1170908" y="79153"/>
                      <a:pt x="1170908" y="55912"/>
                    </a:cubicBezTo>
                    <a:cubicBezTo>
                      <a:pt x="1170908" y="18764"/>
                      <a:pt x="1188815" y="0"/>
                      <a:pt x="1224629" y="0"/>
                    </a:cubicBezTo>
                    <a:lnTo>
                      <a:pt x="1311688" y="0"/>
                    </a:lnTo>
                    <a:cubicBezTo>
                      <a:pt x="1351121" y="0"/>
                      <a:pt x="1370648" y="19717"/>
                      <a:pt x="1370648" y="59055"/>
                    </a:cubicBezTo>
                    <a:cubicBezTo>
                      <a:pt x="1370648" y="60674"/>
                      <a:pt x="1370076" y="61627"/>
                      <a:pt x="1368743" y="61627"/>
                    </a:cubicBezTo>
                    <a:lnTo>
                      <a:pt x="1350836" y="61627"/>
                    </a:lnTo>
                    <a:cubicBezTo>
                      <a:pt x="1349407" y="61627"/>
                      <a:pt x="1348645" y="60674"/>
                      <a:pt x="1348645" y="59055"/>
                    </a:cubicBezTo>
                    <a:cubicBezTo>
                      <a:pt x="1348359" y="46482"/>
                      <a:pt x="1345025" y="37052"/>
                      <a:pt x="1336548" y="32290"/>
                    </a:cubicBezTo>
                    <a:cubicBezTo>
                      <a:pt x="1330166" y="28765"/>
                      <a:pt x="1320832" y="26765"/>
                      <a:pt x="1308449" y="26765"/>
                    </a:cubicBezTo>
                    <a:lnTo>
                      <a:pt x="1224153" y="26765"/>
                    </a:lnTo>
                    <a:cubicBezTo>
                      <a:pt x="1212818" y="26765"/>
                      <a:pt x="1205389" y="28956"/>
                      <a:pt x="1201007" y="32576"/>
                    </a:cubicBezTo>
                    <a:cubicBezTo>
                      <a:pt x="1195769" y="36481"/>
                      <a:pt x="1193292" y="44196"/>
                      <a:pt x="1193292" y="56102"/>
                    </a:cubicBezTo>
                    <a:cubicBezTo>
                      <a:pt x="1193292" y="68009"/>
                      <a:pt x="1198245" y="76105"/>
                      <a:pt x="1208437" y="80962"/>
                    </a:cubicBezTo>
                    <a:cubicBezTo>
                      <a:pt x="1217009" y="85153"/>
                      <a:pt x="1229868" y="87154"/>
                      <a:pt x="1247204" y="87154"/>
                    </a:cubicBezTo>
                    <a:lnTo>
                      <a:pt x="1255776" y="87154"/>
                    </a:lnTo>
                    <a:cubicBezTo>
                      <a:pt x="1259586" y="87154"/>
                      <a:pt x="1264349" y="87154"/>
                      <a:pt x="1269587" y="86868"/>
                    </a:cubicBezTo>
                    <a:cubicBezTo>
                      <a:pt x="1270730" y="86868"/>
                      <a:pt x="1272064" y="86582"/>
                      <a:pt x="1273397" y="86582"/>
                    </a:cubicBezTo>
                    <a:lnTo>
                      <a:pt x="1277017" y="86582"/>
                    </a:lnTo>
                    <a:cubicBezTo>
                      <a:pt x="1280350" y="86201"/>
                      <a:pt x="1283399" y="86201"/>
                      <a:pt x="1285875" y="86201"/>
                    </a:cubicBezTo>
                    <a:lnTo>
                      <a:pt x="1291971" y="86201"/>
                    </a:lnTo>
                    <a:cubicBezTo>
                      <a:pt x="1317022" y="86201"/>
                      <a:pt x="1335215" y="89821"/>
                      <a:pt x="1347597" y="96202"/>
                    </a:cubicBezTo>
                    <a:cubicBezTo>
                      <a:pt x="1363885" y="105537"/>
                      <a:pt x="1372172" y="122015"/>
                      <a:pt x="1372172" y="145637"/>
                    </a:cubicBezTo>
                    <a:moveTo>
                      <a:pt x="777240" y="204407"/>
                    </a:moveTo>
                    <a:lnTo>
                      <a:pt x="759619" y="204407"/>
                    </a:lnTo>
                    <a:cubicBezTo>
                      <a:pt x="757809" y="204407"/>
                      <a:pt x="756761" y="203454"/>
                      <a:pt x="756761" y="201454"/>
                    </a:cubicBezTo>
                    <a:lnTo>
                      <a:pt x="756761" y="3429"/>
                    </a:lnTo>
                    <a:cubicBezTo>
                      <a:pt x="756761" y="1143"/>
                      <a:pt x="757809" y="190"/>
                      <a:pt x="759619" y="190"/>
                    </a:cubicBezTo>
                    <a:lnTo>
                      <a:pt x="777240" y="190"/>
                    </a:lnTo>
                    <a:cubicBezTo>
                      <a:pt x="779050" y="190"/>
                      <a:pt x="779717" y="1143"/>
                      <a:pt x="779717" y="3429"/>
                    </a:cubicBezTo>
                    <a:lnTo>
                      <a:pt x="779717" y="201740"/>
                    </a:lnTo>
                    <a:cubicBezTo>
                      <a:pt x="779717" y="203644"/>
                      <a:pt x="778955" y="204692"/>
                      <a:pt x="777240" y="204692"/>
                    </a:cubicBezTo>
                    <a:moveTo>
                      <a:pt x="1121188" y="204692"/>
                    </a:moveTo>
                    <a:lnTo>
                      <a:pt x="1103567" y="204692"/>
                    </a:lnTo>
                    <a:cubicBezTo>
                      <a:pt x="1101757" y="204692"/>
                      <a:pt x="1100709" y="203740"/>
                      <a:pt x="1100709" y="201740"/>
                    </a:cubicBezTo>
                    <a:lnTo>
                      <a:pt x="1100709" y="3429"/>
                    </a:lnTo>
                    <a:cubicBezTo>
                      <a:pt x="1100709" y="1143"/>
                      <a:pt x="1101757" y="190"/>
                      <a:pt x="1103567" y="190"/>
                    </a:cubicBezTo>
                    <a:lnTo>
                      <a:pt x="1121188" y="190"/>
                    </a:lnTo>
                    <a:cubicBezTo>
                      <a:pt x="1122998" y="190"/>
                      <a:pt x="1123760" y="1143"/>
                      <a:pt x="1123760" y="3429"/>
                    </a:cubicBezTo>
                    <a:lnTo>
                      <a:pt x="1123760" y="201740"/>
                    </a:lnTo>
                    <a:cubicBezTo>
                      <a:pt x="1123760" y="203644"/>
                      <a:pt x="1122998" y="204692"/>
                      <a:pt x="1121188" y="204692"/>
                    </a:cubicBezTo>
                    <a:moveTo>
                      <a:pt x="1039940" y="204692"/>
                    </a:moveTo>
                    <a:lnTo>
                      <a:pt x="1013270" y="204692"/>
                    </a:lnTo>
                    <a:cubicBezTo>
                      <a:pt x="1012412" y="204692"/>
                      <a:pt x="1011841" y="204407"/>
                      <a:pt x="1011555" y="203740"/>
                    </a:cubicBezTo>
                    <a:lnTo>
                      <a:pt x="869633" y="21908"/>
                    </a:lnTo>
                    <a:lnTo>
                      <a:pt x="863727" y="21908"/>
                    </a:lnTo>
                    <a:lnTo>
                      <a:pt x="863727" y="201835"/>
                    </a:lnTo>
                    <a:cubicBezTo>
                      <a:pt x="863727" y="203740"/>
                      <a:pt x="862870" y="204788"/>
                      <a:pt x="861060" y="204788"/>
                    </a:cubicBezTo>
                    <a:lnTo>
                      <a:pt x="842391" y="204788"/>
                    </a:lnTo>
                    <a:cubicBezTo>
                      <a:pt x="840581" y="204788"/>
                      <a:pt x="839724" y="203835"/>
                      <a:pt x="839724" y="201835"/>
                    </a:cubicBezTo>
                    <a:lnTo>
                      <a:pt x="839724" y="3429"/>
                    </a:lnTo>
                    <a:cubicBezTo>
                      <a:pt x="839724" y="1143"/>
                      <a:pt x="840581" y="190"/>
                      <a:pt x="842391" y="190"/>
                    </a:cubicBezTo>
                    <a:lnTo>
                      <a:pt x="883539" y="190"/>
                    </a:lnTo>
                    <a:cubicBezTo>
                      <a:pt x="884111" y="190"/>
                      <a:pt x="884682" y="476"/>
                      <a:pt x="885635" y="1524"/>
                    </a:cubicBezTo>
                    <a:lnTo>
                      <a:pt x="1018318" y="173641"/>
                    </a:lnTo>
                    <a:lnTo>
                      <a:pt x="1018318" y="3429"/>
                    </a:lnTo>
                    <a:cubicBezTo>
                      <a:pt x="1018318" y="1143"/>
                      <a:pt x="1019175" y="190"/>
                      <a:pt x="1021271" y="190"/>
                    </a:cubicBezTo>
                    <a:lnTo>
                      <a:pt x="1039940" y="190"/>
                    </a:lnTo>
                    <a:cubicBezTo>
                      <a:pt x="1041749" y="190"/>
                      <a:pt x="1042607" y="1143"/>
                      <a:pt x="1042607" y="3429"/>
                    </a:cubicBezTo>
                    <a:lnTo>
                      <a:pt x="1042607" y="201740"/>
                    </a:lnTo>
                    <a:cubicBezTo>
                      <a:pt x="1042607" y="203644"/>
                      <a:pt x="1041749" y="204692"/>
                      <a:pt x="1039940" y="204692"/>
                    </a:cubicBezTo>
                    <a:moveTo>
                      <a:pt x="691039" y="204692"/>
                    </a:moveTo>
                    <a:lnTo>
                      <a:pt x="673132" y="204692"/>
                    </a:lnTo>
                    <a:cubicBezTo>
                      <a:pt x="671417" y="204692"/>
                      <a:pt x="670655" y="203740"/>
                      <a:pt x="670655" y="201740"/>
                    </a:cubicBezTo>
                    <a:lnTo>
                      <a:pt x="670655" y="21812"/>
                    </a:lnTo>
                    <a:lnTo>
                      <a:pt x="665321" y="21812"/>
                    </a:lnTo>
                    <a:lnTo>
                      <a:pt x="573881" y="203930"/>
                    </a:lnTo>
                    <a:cubicBezTo>
                      <a:pt x="573881" y="203930"/>
                      <a:pt x="572738" y="204597"/>
                      <a:pt x="571881" y="204597"/>
                    </a:cubicBezTo>
                    <a:lnTo>
                      <a:pt x="559784" y="204597"/>
                    </a:lnTo>
                    <a:cubicBezTo>
                      <a:pt x="558927" y="204597"/>
                      <a:pt x="558641" y="204311"/>
                      <a:pt x="558641" y="204311"/>
                    </a:cubicBezTo>
                    <a:lnTo>
                      <a:pt x="468059" y="21812"/>
                    </a:lnTo>
                    <a:lnTo>
                      <a:pt x="463010" y="21812"/>
                    </a:lnTo>
                    <a:lnTo>
                      <a:pt x="463010" y="201740"/>
                    </a:lnTo>
                    <a:cubicBezTo>
                      <a:pt x="463010" y="203644"/>
                      <a:pt x="462153" y="204692"/>
                      <a:pt x="460534" y="204692"/>
                    </a:cubicBezTo>
                    <a:lnTo>
                      <a:pt x="442341" y="204692"/>
                    </a:lnTo>
                    <a:cubicBezTo>
                      <a:pt x="440627" y="204692"/>
                      <a:pt x="439865" y="203740"/>
                      <a:pt x="439865" y="201740"/>
                    </a:cubicBezTo>
                    <a:lnTo>
                      <a:pt x="439865" y="3429"/>
                    </a:lnTo>
                    <a:cubicBezTo>
                      <a:pt x="439865" y="1143"/>
                      <a:pt x="440722" y="190"/>
                      <a:pt x="442341" y="190"/>
                    </a:cubicBezTo>
                    <a:lnTo>
                      <a:pt x="482727" y="190"/>
                    </a:lnTo>
                    <a:cubicBezTo>
                      <a:pt x="483870" y="190"/>
                      <a:pt x="484156" y="476"/>
                      <a:pt x="484156" y="476"/>
                    </a:cubicBezTo>
                    <a:lnTo>
                      <a:pt x="566261" y="167449"/>
                    </a:lnTo>
                    <a:lnTo>
                      <a:pt x="650939" y="857"/>
                    </a:lnTo>
                    <a:cubicBezTo>
                      <a:pt x="650939" y="857"/>
                      <a:pt x="652082" y="190"/>
                      <a:pt x="652939" y="190"/>
                    </a:cubicBezTo>
                    <a:lnTo>
                      <a:pt x="691039" y="190"/>
                    </a:lnTo>
                    <a:cubicBezTo>
                      <a:pt x="692468" y="190"/>
                      <a:pt x="693039" y="1143"/>
                      <a:pt x="693039" y="3429"/>
                    </a:cubicBezTo>
                    <a:lnTo>
                      <a:pt x="693039" y="201740"/>
                    </a:lnTo>
                    <a:cubicBezTo>
                      <a:pt x="693039" y="203644"/>
                      <a:pt x="692468" y="204692"/>
                      <a:pt x="691039" y="204692"/>
                    </a:cubicBezTo>
                    <a:moveTo>
                      <a:pt x="400336" y="111061"/>
                    </a:moveTo>
                    <a:cubicBezTo>
                      <a:pt x="400336" y="138494"/>
                      <a:pt x="397764" y="158496"/>
                      <a:pt x="392621" y="171450"/>
                    </a:cubicBezTo>
                    <a:cubicBezTo>
                      <a:pt x="387191" y="184690"/>
                      <a:pt x="378143" y="193739"/>
                      <a:pt x="364712" y="198215"/>
                    </a:cubicBezTo>
                    <a:cubicBezTo>
                      <a:pt x="364712" y="198215"/>
                      <a:pt x="364617" y="198342"/>
                      <a:pt x="364427" y="198596"/>
                    </a:cubicBezTo>
                    <a:cubicBezTo>
                      <a:pt x="353854" y="202502"/>
                      <a:pt x="336233" y="204692"/>
                      <a:pt x="311182" y="204692"/>
                    </a:cubicBezTo>
                    <a:lnTo>
                      <a:pt x="284321" y="204692"/>
                    </a:lnTo>
                    <a:cubicBezTo>
                      <a:pt x="259271" y="204692"/>
                      <a:pt x="241935" y="202406"/>
                      <a:pt x="230791" y="198596"/>
                    </a:cubicBezTo>
                    <a:cubicBezTo>
                      <a:pt x="230791" y="198596"/>
                      <a:pt x="230600" y="198470"/>
                      <a:pt x="230219" y="198215"/>
                    </a:cubicBezTo>
                    <a:cubicBezTo>
                      <a:pt x="216599" y="193358"/>
                      <a:pt x="207740" y="184309"/>
                      <a:pt x="202025" y="171450"/>
                    </a:cubicBezTo>
                    <a:cubicBezTo>
                      <a:pt x="196596" y="158496"/>
                      <a:pt x="194405" y="138208"/>
                      <a:pt x="194405" y="111061"/>
                    </a:cubicBezTo>
                    <a:lnTo>
                      <a:pt x="194405" y="3429"/>
                    </a:lnTo>
                    <a:cubicBezTo>
                      <a:pt x="194405" y="1143"/>
                      <a:pt x="195263" y="190"/>
                      <a:pt x="196691" y="190"/>
                    </a:cubicBezTo>
                    <a:lnTo>
                      <a:pt x="214598" y="190"/>
                    </a:lnTo>
                    <a:cubicBezTo>
                      <a:pt x="216313" y="190"/>
                      <a:pt x="217170" y="1143"/>
                      <a:pt x="217170" y="3429"/>
                    </a:cubicBezTo>
                    <a:lnTo>
                      <a:pt x="217170" y="110966"/>
                    </a:lnTo>
                    <a:cubicBezTo>
                      <a:pt x="217170" y="132969"/>
                      <a:pt x="218885" y="148781"/>
                      <a:pt x="222599" y="158115"/>
                    </a:cubicBezTo>
                    <a:cubicBezTo>
                      <a:pt x="226028" y="166878"/>
                      <a:pt x="232315" y="172307"/>
                      <a:pt x="241459" y="174593"/>
                    </a:cubicBezTo>
                    <a:cubicBezTo>
                      <a:pt x="248888" y="176879"/>
                      <a:pt x="263176" y="177832"/>
                      <a:pt x="284512" y="177832"/>
                    </a:cubicBezTo>
                    <a:lnTo>
                      <a:pt x="311372" y="177832"/>
                    </a:lnTo>
                    <a:cubicBezTo>
                      <a:pt x="332708" y="177832"/>
                      <a:pt x="346996" y="176879"/>
                      <a:pt x="354425" y="174593"/>
                    </a:cubicBezTo>
                    <a:cubicBezTo>
                      <a:pt x="363569" y="172307"/>
                      <a:pt x="369570" y="166783"/>
                      <a:pt x="372428" y="158115"/>
                    </a:cubicBezTo>
                    <a:cubicBezTo>
                      <a:pt x="376714" y="149066"/>
                      <a:pt x="377571" y="133255"/>
                      <a:pt x="377571" y="110966"/>
                    </a:cubicBezTo>
                    <a:lnTo>
                      <a:pt x="377571" y="3429"/>
                    </a:lnTo>
                    <a:cubicBezTo>
                      <a:pt x="377571" y="1143"/>
                      <a:pt x="378428" y="190"/>
                      <a:pt x="380429" y="190"/>
                    </a:cubicBezTo>
                    <a:lnTo>
                      <a:pt x="398050" y="190"/>
                    </a:lnTo>
                    <a:cubicBezTo>
                      <a:pt x="399764" y="190"/>
                      <a:pt x="400622" y="1143"/>
                      <a:pt x="400622" y="3429"/>
                    </a:cubicBezTo>
                    <a:lnTo>
                      <a:pt x="400622" y="110966"/>
                    </a:lnTo>
                    <a:lnTo>
                      <a:pt x="400622" y="110966"/>
                    </a:lnTo>
                    <a:close/>
                    <a:moveTo>
                      <a:pt x="153829" y="204692"/>
                    </a:moveTo>
                    <a:lnTo>
                      <a:pt x="2667" y="204692"/>
                    </a:lnTo>
                    <a:cubicBezTo>
                      <a:pt x="953" y="204692"/>
                      <a:pt x="0" y="203740"/>
                      <a:pt x="0" y="201740"/>
                    </a:cubicBezTo>
                    <a:lnTo>
                      <a:pt x="0" y="3429"/>
                    </a:lnTo>
                    <a:cubicBezTo>
                      <a:pt x="0" y="1143"/>
                      <a:pt x="857" y="190"/>
                      <a:pt x="2667" y="190"/>
                    </a:cubicBezTo>
                    <a:lnTo>
                      <a:pt x="21146" y="190"/>
                    </a:lnTo>
                    <a:cubicBezTo>
                      <a:pt x="22860" y="190"/>
                      <a:pt x="23813" y="1143"/>
                      <a:pt x="23813" y="3429"/>
                    </a:cubicBezTo>
                    <a:lnTo>
                      <a:pt x="23813" y="178118"/>
                    </a:lnTo>
                    <a:lnTo>
                      <a:pt x="153257" y="178118"/>
                    </a:lnTo>
                    <a:cubicBezTo>
                      <a:pt x="154972" y="178118"/>
                      <a:pt x="155924" y="179070"/>
                      <a:pt x="155924" y="181070"/>
                    </a:cubicBezTo>
                    <a:lnTo>
                      <a:pt x="155924" y="201740"/>
                    </a:lnTo>
                    <a:cubicBezTo>
                      <a:pt x="155924" y="203644"/>
                      <a:pt x="155067" y="204692"/>
                      <a:pt x="153257" y="204692"/>
                    </a:cubicBezTo>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169" name="Freeform: Shape 168">
                <a:extLst>
                  <a:ext uri="{FF2B5EF4-FFF2-40B4-BE49-F238E27FC236}">
                    <a16:creationId xmlns:a16="http://schemas.microsoft.com/office/drawing/2014/main" id="{07A3554C-10A0-4C22-A685-7FA86CB484E1}"/>
                  </a:ext>
                </a:extLst>
              </p:cNvPr>
              <p:cNvSpPr/>
              <p:nvPr/>
            </p:nvSpPr>
            <p:spPr>
              <a:xfrm>
                <a:off x="6770274" y="3539298"/>
                <a:ext cx="43529" cy="44100"/>
              </a:xfrm>
              <a:custGeom>
                <a:avLst/>
                <a:gdLst>
                  <a:gd name="connsiteX0" fmla="*/ 17717 w 43529"/>
                  <a:gd name="connsiteY0" fmla="*/ 21145 h 44100"/>
                  <a:gd name="connsiteX1" fmla="*/ 20574 w 43529"/>
                  <a:gd name="connsiteY1" fmla="*/ 21145 h 44100"/>
                  <a:gd name="connsiteX2" fmla="*/ 26575 w 43529"/>
                  <a:gd name="connsiteY2" fmla="*/ 16955 h 44100"/>
                  <a:gd name="connsiteX3" fmla="*/ 20574 w 43529"/>
                  <a:gd name="connsiteY3" fmla="*/ 12668 h 44100"/>
                  <a:gd name="connsiteX4" fmla="*/ 17717 w 43529"/>
                  <a:gd name="connsiteY4" fmla="*/ 12859 h 44100"/>
                  <a:gd name="connsiteX5" fmla="*/ 17717 w 43529"/>
                  <a:gd name="connsiteY5" fmla="*/ 21145 h 44100"/>
                  <a:gd name="connsiteX6" fmla="*/ 17717 w 43529"/>
                  <a:gd name="connsiteY6" fmla="*/ 21145 h 44100"/>
                  <a:gd name="connsiteX7" fmla="*/ 17717 w 43529"/>
                  <a:gd name="connsiteY7" fmla="*/ 34766 h 44100"/>
                  <a:gd name="connsiteX8" fmla="*/ 13811 w 43529"/>
                  <a:gd name="connsiteY8" fmla="*/ 34766 h 44100"/>
                  <a:gd name="connsiteX9" fmla="*/ 13811 w 43529"/>
                  <a:gd name="connsiteY9" fmla="*/ 10192 h 44100"/>
                  <a:gd name="connsiteX10" fmla="*/ 20765 w 43529"/>
                  <a:gd name="connsiteY10" fmla="*/ 9620 h 44100"/>
                  <a:gd name="connsiteX11" fmla="*/ 28385 w 43529"/>
                  <a:gd name="connsiteY11" fmla="*/ 11430 h 44100"/>
                  <a:gd name="connsiteX12" fmla="*/ 30671 w 43529"/>
                  <a:gd name="connsiteY12" fmla="*/ 16478 h 44100"/>
                  <a:gd name="connsiteX13" fmla="*/ 25908 w 43529"/>
                  <a:gd name="connsiteY13" fmla="*/ 22384 h 44100"/>
                  <a:gd name="connsiteX14" fmla="*/ 25908 w 43529"/>
                  <a:gd name="connsiteY14" fmla="*/ 22574 h 44100"/>
                  <a:gd name="connsiteX15" fmla="*/ 30004 w 43529"/>
                  <a:gd name="connsiteY15" fmla="*/ 28575 h 44100"/>
                  <a:gd name="connsiteX16" fmla="*/ 31528 w 43529"/>
                  <a:gd name="connsiteY16" fmla="*/ 34671 h 44100"/>
                  <a:gd name="connsiteX17" fmla="*/ 27432 w 43529"/>
                  <a:gd name="connsiteY17" fmla="*/ 34671 h 44100"/>
                  <a:gd name="connsiteX18" fmla="*/ 25718 w 43529"/>
                  <a:gd name="connsiteY18" fmla="*/ 28384 h 44100"/>
                  <a:gd name="connsiteX19" fmla="*/ 20479 w 43529"/>
                  <a:gd name="connsiteY19" fmla="*/ 24098 h 44100"/>
                  <a:gd name="connsiteX20" fmla="*/ 17717 w 43529"/>
                  <a:gd name="connsiteY20" fmla="*/ 24098 h 44100"/>
                  <a:gd name="connsiteX21" fmla="*/ 17717 w 43529"/>
                  <a:gd name="connsiteY21" fmla="*/ 34671 h 44100"/>
                  <a:gd name="connsiteX22" fmla="*/ 17717 w 43529"/>
                  <a:gd name="connsiteY22" fmla="*/ 34671 h 44100"/>
                  <a:gd name="connsiteX23" fmla="*/ 21812 w 43529"/>
                  <a:gd name="connsiteY23" fmla="*/ 3429 h 44100"/>
                  <a:gd name="connsiteX24" fmla="*/ 4191 w 43529"/>
                  <a:gd name="connsiteY24" fmla="*/ 22003 h 44100"/>
                  <a:gd name="connsiteX25" fmla="*/ 21908 w 43529"/>
                  <a:gd name="connsiteY25" fmla="*/ 40672 h 44100"/>
                  <a:gd name="connsiteX26" fmla="*/ 39529 w 43529"/>
                  <a:gd name="connsiteY26" fmla="*/ 22098 h 44100"/>
                  <a:gd name="connsiteX27" fmla="*/ 21908 w 43529"/>
                  <a:gd name="connsiteY27" fmla="*/ 3429 h 44100"/>
                  <a:gd name="connsiteX28" fmla="*/ 21812 w 43529"/>
                  <a:gd name="connsiteY28" fmla="*/ 3429 h 44100"/>
                  <a:gd name="connsiteX29" fmla="*/ 21908 w 43529"/>
                  <a:gd name="connsiteY29" fmla="*/ 0 h 44100"/>
                  <a:gd name="connsiteX30" fmla="*/ 43529 w 43529"/>
                  <a:gd name="connsiteY30" fmla="*/ 22003 h 44100"/>
                  <a:gd name="connsiteX31" fmla="*/ 21812 w 43529"/>
                  <a:gd name="connsiteY31" fmla="*/ 44101 h 44100"/>
                  <a:gd name="connsiteX32" fmla="*/ 0 w 43529"/>
                  <a:gd name="connsiteY32" fmla="*/ 22003 h 44100"/>
                  <a:gd name="connsiteX33" fmla="*/ 21812 w 43529"/>
                  <a:gd name="connsiteY33" fmla="*/ 0 h 44100"/>
                  <a:gd name="connsiteX34" fmla="*/ 21908 w 43529"/>
                  <a:gd name="connsiteY34" fmla="*/ 0 h 4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3529" h="44100">
                    <a:moveTo>
                      <a:pt x="17717" y="21145"/>
                    </a:moveTo>
                    <a:lnTo>
                      <a:pt x="20574" y="21145"/>
                    </a:lnTo>
                    <a:cubicBezTo>
                      <a:pt x="23813" y="21145"/>
                      <a:pt x="26575" y="20003"/>
                      <a:pt x="26575" y="16955"/>
                    </a:cubicBezTo>
                    <a:cubicBezTo>
                      <a:pt x="26575" y="14764"/>
                      <a:pt x="25051" y="12668"/>
                      <a:pt x="20574" y="12668"/>
                    </a:cubicBezTo>
                    <a:cubicBezTo>
                      <a:pt x="19336" y="12668"/>
                      <a:pt x="18479" y="12764"/>
                      <a:pt x="17717" y="12859"/>
                    </a:cubicBezTo>
                    <a:lnTo>
                      <a:pt x="17717" y="21145"/>
                    </a:lnTo>
                    <a:lnTo>
                      <a:pt x="17717" y="21145"/>
                    </a:lnTo>
                    <a:close/>
                    <a:moveTo>
                      <a:pt x="17717" y="34766"/>
                    </a:moveTo>
                    <a:lnTo>
                      <a:pt x="13811" y="34766"/>
                    </a:lnTo>
                    <a:lnTo>
                      <a:pt x="13811" y="10192"/>
                    </a:lnTo>
                    <a:cubicBezTo>
                      <a:pt x="15907" y="9906"/>
                      <a:pt x="17812" y="9620"/>
                      <a:pt x="20765" y="9620"/>
                    </a:cubicBezTo>
                    <a:cubicBezTo>
                      <a:pt x="24479" y="9620"/>
                      <a:pt x="26956" y="10382"/>
                      <a:pt x="28385" y="11430"/>
                    </a:cubicBezTo>
                    <a:cubicBezTo>
                      <a:pt x="29813" y="12478"/>
                      <a:pt x="30671" y="14192"/>
                      <a:pt x="30671" y="16478"/>
                    </a:cubicBezTo>
                    <a:cubicBezTo>
                      <a:pt x="30671" y="19717"/>
                      <a:pt x="28575" y="21622"/>
                      <a:pt x="25908" y="22384"/>
                    </a:cubicBezTo>
                    <a:lnTo>
                      <a:pt x="25908" y="22574"/>
                    </a:lnTo>
                    <a:cubicBezTo>
                      <a:pt x="28004" y="22955"/>
                      <a:pt x="29528" y="24956"/>
                      <a:pt x="30004" y="28575"/>
                    </a:cubicBezTo>
                    <a:cubicBezTo>
                      <a:pt x="30575" y="32385"/>
                      <a:pt x="31147" y="33814"/>
                      <a:pt x="31528" y="34671"/>
                    </a:cubicBezTo>
                    <a:lnTo>
                      <a:pt x="27432" y="34671"/>
                    </a:lnTo>
                    <a:cubicBezTo>
                      <a:pt x="26861" y="33909"/>
                      <a:pt x="26289" y="31623"/>
                      <a:pt x="25718" y="28384"/>
                    </a:cubicBezTo>
                    <a:cubicBezTo>
                      <a:pt x="25146" y="25241"/>
                      <a:pt x="23622" y="24098"/>
                      <a:pt x="20479" y="24098"/>
                    </a:cubicBezTo>
                    <a:lnTo>
                      <a:pt x="17717" y="24098"/>
                    </a:lnTo>
                    <a:lnTo>
                      <a:pt x="17717" y="34671"/>
                    </a:lnTo>
                    <a:lnTo>
                      <a:pt x="17717" y="34671"/>
                    </a:lnTo>
                    <a:close/>
                    <a:moveTo>
                      <a:pt x="21812" y="3429"/>
                    </a:moveTo>
                    <a:cubicBezTo>
                      <a:pt x="12097" y="3429"/>
                      <a:pt x="4191" y="11716"/>
                      <a:pt x="4191" y="22003"/>
                    </a:cubicBezTo>
                    <a:cubicBezTo>
                      <a:pt x="4191" y="32290"/>
                      <a:pt x="12097" y="40672"/>
                      <a:pt x="21908" y="40672"/>
                    </a:cubicBezTo>
                    <a:cubicBezTo>
                      <a:pt x="31718" y="40767"/>
                      <a:pt x="39529" y="32480"/>
                      <a:pt x="39529" y="22098"/>
                    </a:cubicBezTo>
                    <a:cubicBezTo>
                      <a:pt x="39529" y="11716"/>
                      <a:pt x="31718" y="3429"/>
                      <a:pt x="21908" y="3429"/>
                    </a:cubicBezTo>
                    <a:lnTo>
                      <a:pt x="21812" y="3429"/>
                    </a:lnTo>
                    <a:close/>
                    <a:moveTo>
                      <a:pt x="21908" y="0"/>
                    </a:moveTo>
                    <a:cubicBezTo>
                      <a:pt x="33909" y="0"/>
                      <a:pt x="43529" y="9811"/>
                      <a:pt x="43529" y="22003"/>
                    </a:cubicBezTo>
                    <a:cubicBezTo>
                      <a:pt x="43529" y="34195"/>
                      <a:pt x="33909" y="44101"/>
                      <a:pt x="21812" y="44101"/>
                    </a:cubicBezTo>
                    <a:cubicBezTo>
                      <a:pt x="9716" y="44101"/>
                      <a:pt x="0" y="34385"/>
                      <a:pt x="0" y="22003"/>
                    </a:cubicBezTo>
                    <a:cubicBezTo>
                      <a:pt x="0" y="9620"/>
                      <a:pt x="9811" y="0"/>
                      <a:pt x="21812" y="0"/>
                    </a:cubicBezTo>
                    <a:lnTo>
                      <a:pt x="21908"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258" name="Group 257">
            <a:extLst>
              <a:ext uri="{FF2B5EF4-FFF2-40B4-BE49-F238E27FC236}">
                <a16:creationId xmlns:a16="http://schemas.microsoft.com/office/drawing/2014/main" id="{7BB1ADB9-E220-496A-BFBF-D729AA732CE1}"/>
              </a:ext>
            </a:extLst>
          </p:cNvPr>
          <p:cNvGrpSpPr/>
          <p:nvPr userDrawn="1"/>
        </p:nvGrpSpPr>
        <p:grpSpPr>
          <a:xfrm>
            <a:off x="3339354" y="2837445"/>
            <a:ext cx="3555638" cy="207062"/>
            <a:chOff x="3339354" y="2837445"/>
            <a:chExt cx="3555638" cy="207062"/>
          </a:xfrm>
        </p:grpSpPr>
        <p:grpSp>
          <p:nvGrpSpPr>
            <p:cNvPr id="259" name="Group 258">
              <a:extLst>
                <a:ext uri="{FF2B5EF4-FFF2-40B4-BE49-F238E27FC236}">
                  <a16:creationId xmlns:a16="http://schemas.microsoft.com/office/drawing/2014/main" id="{FC66CB1D-8A64-4C46-9E05-4F9CDD7C2FBE}"/>
                </a:ext>
              </a:extLst>
            </p:cNvPr>
            <p:cNvGrpSpPr/>
            <p:nvPr userDrawn="1"/>
          </p:nvGrpSpPr>
          <p:grpSpPr>
            <a:xfrm>
              <a:off x="6184062" y="2884762"/>
              <a:ext cx="710930" cy="112429"/>
              <a:chOff x="4485636" y="5285289"/>
              <a:chExt cx="1647078" cy="260474"/>
            </a:xfrm>
          </p:grpSpPr>
          <p:sp>
            <p:nvSpPr>
              <p:cNvPr id="299" name="Freeform: Shape 298">
                <a:extLst>
                  <a:ext uri="{FF2B5EF4-FFF2-40B4-BE49-F238E27FC236}">
                    <a16:creationId xmlns:a16="http://schemas.microsoft.com/office/drawing/2014/main" id="{92D69B0B-5802-4212-A621-D9CCE1CB9EE5}"/>
                  </a:ext>
                </a:extLst>
              </p:cNvPr>
              <p:cNvSpPr/>
              <p:nvPr/>
            </p:nvSpPr>
            <p:spPr>
              <a:xfrm>
                <a:off x="4485636" y="5287795"/>
                <a:ext cx="363009" cy="254206"/>
              </a:xfrm>
              <a:custGeom>
                <a:avLst/>
                <a:gdLst>
                  <a:gd name="connsiteX0" fmla="*/ 0 w 363009"/>
                  <a:gd name="connsiteY0" fmla="*/ 0 h 254206"/>
                  <a:gd name="connsiteX1" fmla="*/ 30836 w 363009"/>
                  <a:gd name="connsiteY1" fmla="*/ 0 h 254206"/>
                  <a:gd name="connsiteX2" fmla="*/ 92256 w 363009"/>
                  <a:gd name="connsiteY2" fmla="*/ 183009 h 254206"/>
                  <a:gd name="connsiteX3" fmla="*/ 178496 w 363009"/>
                  <a:gd name="connsiteY3" fmla="*/ 0 h 254206"/>
                  <a:gd name="connsiteX4" fmla="*/ 184764 w 363009"/>
                  <a:gd name="connsiteY4" fmla="*/ 0 h 254206"/>
                  <a:gd name="connsiteX5" fmla="*/ 270001 w 363009"/>
                  <a:gd name="connsiteY5" fmla="*/ 183009 h 254206"/>
                  <a:gd name="connsiteX6" fmla="*/ 332424 w 363009"/>
                  <a:gd name="connsiteY6" fmla="*/ 0 h 254206"/>
                  <a:gd name="connsiteX7" fmla="*/ 363009 w 363009"/>
                  <a:gd name="connsiteY7" fmla="*/ 0 h 254206"/>
                  <a:gd name="connsiteX8" fmla="*/ 276769 w 363009"/>
                  <a:gd name="connsiteY8" fmla="*/ 254207 h 254206"/>
                  <a:gd name="connsiteX9" fmla="*/ 271003 w 363009"/>
                  <a:gd name="connsiteY9" fmla="*/ 254207 h 254206"/>
                  <a:gd name="connsiteX10" fmla="*/ 181755 w 363009"/>
                  <a:gd name="connsiteY10" fmla="*/ 61671 h 254206"/>
                  <a:gd name="connsiteX11" fmla="*/ 90752 w 363009"/>
                  <a:gd name="connsiteY11" fmla="*/ 254207 h 254206"/>
                  <a:gd name="connsiteX12" fmla="*/ 85237 w 363009"/>
                  <a:gd name="connsiteY12" fmla="*/ 254207 h 254206"/>
                  <a:gd name="connsiteX13" fmla="*/ 0 w 363009"/>
                  <a:gd name="connsiteY13" fmla="*/ 0 h 254206"/>
                  <a:gd name="connsiteX14" fmla="*/ 0 w 363009"/>
                  <a:gd name="connsiteY14"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3009" h="254206">
                    <a:moveTo>
                      <a:pt x="0" y="0"/>
                    </a:moveTo>
                    <a:lnTo>
                      <a:pt x="30836" y="0"/>
                    </a:lnTo>
                    <a:lnTo>
                      <a:pt x="92256" y="183009"/>
                    </a:lnTo>
                    <a:lnTo>
                      <a:pt x="178496" y="0"/>
                    </a:lnTo>
                    <a:lnTo>
                      <a:pt x="184764" y="0"/>
                    </a:lnTo>
                    <a:lnTo>
                      <a:pt x="270001" y="183009"/>
                    </a:lnTo>
                    <a:lnTo>
                      <a:pt x="332424" y="0"/>
                    </a:lnTo>
                    <a:lnTo>
                      <a:pt x="363009" y="0"/>
                    </a:lnTo>
                    <a:lnTo>
                      <a:pt x="276769" y="254207"/>
                    </a:lnTo>
                    <a:lnTo>
                      <a:pt x="271003" y="254207"/>
                    </a:lnTo>
                    <a:lnTo>
                      <a:pt x="181755" y="61671"/>
                    </a:lnTo>
                    <a:lnTo>
                      <a:pt x="90752" y="254207"/>
                    </a:lnTo>
                    <a:lnTo>
                      <a:pt x="85237" y="254207"/>
                    </a:lnTo>
                    <a:lnTo>
                      <a:pt x="0" y="0"/>
                    </a:lnTo>
                    <a:lnTo>
                      <a:pt x="0"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0" name="Freeform: Shape 299">
                <a:extLst>
                  <a:ext uri="{FF2B5EF4-FFF2-40B4-BE49-F238E27FC236}">
                    <a16:creationId xmlns:a16="http://schemas.microsoft.com/office/drawing/2014/main" id="{4503E5BD-B816-446D-B69D-20ED9EC814FE}"/>
                  </a:ext>
                </a:extLst>
              </p:cNvPr>
              <p:cNvSpPr/>
              <p:nvPr/>
            </p:nvSpPr>
            <p:spPr>
              <a:xfrm>
                <a:off x="4889759" y="5287795"/>
                <a:ext cx="30083" cy="254206"/>
              </a:xfrm>
              <a:custGeom>
                <a:avLst/>
                <a:gdLst>
                  <a:gd name="connsiteX0" fmla="*/ 0 w 30083"/>
                  <a:gd name="connsiteY0" fmla="*/ 0 h 254206"/>
                  <a:gd name="connsiteX1" fmla="*/ 30084 w 30083"/>
                  <a:gd name="connsiteY1" fmla="*/ 0 h 254206"/>
                  <a:gd name="connsiteX2" fmla="*/ 30084 w 30083"/>
                  <a:gd name="connsiteY2" fmla="*/ 254207 h 254206"/>
                  <a:gd name="connsiteX3" fmla="*/ 0 w 30083"/>
                  <a:gd name="connsiteY3" fmla="*/ 254207 h 254206"/>
                  <a:gd name="connsiteX4" fmla="*/ 0 w 30083"/>
                  <a:gd name="connsiteY4" fmla="*/ 0 h 254206"/>
                  <a:gd name="connsiteX5" fmla="*/ 0 w 30083"/>
                  <a:gd name="connsiteY5"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83" h="254206">
                    <a:moveTo>
                      <a:pt x="0" y="0"/>
                    </a:moveTo>
                    <a:lnTo>
                      <a:pt x="30084" y="0"/>
                    </a:lnTo>
                    <a:lnTo>
                      <a:pt x="30084" y="254207"/>
                    </a:lnTo>
                    <a:lnTo>
                      <a:pt x="0" y="254207"/>
                    </a:lnTo>
                    <a:lnTo>
                      <a:pt x="0" y="0"/>
                    </a:lnTo>
                    <a:lnTo>
                      <a:pt x="0"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1" name="Freeform: Shape 300">
                <a:extLst>
                  <a:ext uri="{FF2B5EF4-FFF2-40B4-BE49-F238E27FC236}">
                    <a16:creationId xmlns:a16="http://schemas.microsoft.com/office/drawing/2014/main" id="{856A071F-A754-4D5F-8CF6-545A71441D05}"/>
                  </a:ext>
                </a:extLst>
              </p:cNvPr>
              <p:cNvSpPr/>
              <p:nvPr/>
            </p:nvSpPr>
            <p:spPr>
              <a:xfrm>
                <a:off x="4972238" y="5287795"/>
                <a:ext cx="236156" cy="254206"/>
              </a:xfrm>
              <a:custGeom>
                <a:avLst/>
                <a:gdLst>
                  <a:gd name="connsiteX0" fmla="*/ 0 w 236156"/>
                  <a:gd name="connsiteY0" fmla="*/ 254207 h 254206"/>
                  <a:gd name="connsiteX1" fmla="*/ 0 w 236156"/>
                  <a:gd name="connsiteY1" fmla="*/ 0 h 254206"/>
                  <a:gd name="connsiteX2" fmla="*/ 6518 w 236156"/>
                  <a:gd name="connsiteY2" fmla="*/ 0 h 254206"/>
                  <a:gd name="connsiteX3" fmla="*/ 206574 w 236156"/>
                  <a:gd name="connsiteY3" fmla="*/ 194792 h 254206"/>
                  <a:gd name="connsiteX4" fmla="*/ 206574 w 236156"/>
                  <a:gd name="connsiteY4" fmla="*/ 0 h 254206"/>
                  <a:gd name="connsiteX5" fmla="*/ 236157 w 236156"/>
                  <a:gd name="connsiteY5" fmla="*/ 0 h 254206"/>
                  <a:gd name="connsiteX6" fmla="*/ 236157 w 236156"/>
                  <a:gd name="connsiteY6" fmla="*/ 254207 h 254206"/>
                  <a:gd name="connsiteX7" fmla="*/ 229388 w 236156"/>
                  <a:gd name="connsiteY7" fmla="*/ 254207 h 254206"/>
                  <a:gd name="connsiteX8" fmla="*/ 31086 w 236156"/>
                  <a:gd name="connsiteY8" fmla="*/ 61671 h 254206"/>
                  <a:gd name="connsiteX9" fmla="*/ 31086 w 236156"/>
                  <a:gd name="connsiteY9" fmla="*/ 254207 h 254206"/>
                  <a:gd name="connsiteX10" fmla="*/ 0 w 236156"/>
                  <a:gd name="connsiteY10" fmla="*/ 254207 h 254206"/>
                  <a:gd name="connsiteX11" fmla="*/ 0 w 236156"/>
                  <a:gd name="connsiteY11" fmla="*/ 254207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56" h="254206">
                    <a:moveTo>
                      <a:pt x="0" y="254207"/>
                    </a:moveTo>
                    <a:lnTo>
                      <a:pt x="0" y="0"/>
                    </a:lnTo>
                    <a:lnTo>
                      <a:pt x="6518" y="0"/>
                    </a:lnTo>
                    <a:lnTo>
                      <a:pt x="206574" y="194792"/>
                    </a:lnTo>
                    <a:lnTo>
                      <a:pt x="206574" y="0"/>
                    </a:lnTo>
                    <a:lnTo>
                      <a:pt x="236157" y="0"/>
                    </a:lnTo>
                    <a:lnTo>
                      <a:pt x="236157" y="254207"/>
                    </a:lnTo>
                    <a:lnTo>
                      <a:pt x="229388" y="254207"/>
                    </a:lnTo>
                    <a:lnTo>
                      <a:pt x="31086" y="61671"/>
                    </a:lnTo>
                    <a:lnTo>
                      <a:pt x="31086" y="254207"/>
                    </a:lnTo>
                    <a:lnTo>
                      <a:pt x="0" y="254207"/>
                    </a:lnTo>
                    <a:lnTo>
                      <a:pt x="0" y="254207"/>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2" name="Freeform: Shape 301">
                <a:extLst>
                  <a:ext uri="{FF2B5EF4-FFF2-40B4-BE49-F238E27FC236}">
                    <a16:creationId xmlns:a16="http://schemas.microsoft.com/office/drawing/2014/main" id="{DD45078F-F9B1-4B65-9019-793BF9682B07}"/>
                  </a:ext>
                </a:extLst>
              </p:cNvPr>
              <p:cNvSpPr/>
              <p:nvPr/>
            </p:nvSpPr>
            <p:spPr>
              <a:xfrm>
                <a:off x="5564134" y="5287795"/>
                <a:ext cx="236156" cy="254206"/>
              </a:xfrm>
              <a:custGeom>
                <a:avLst/>
                <a:gdLst>
                  <a:gd name="connsiteX0" fmla="*/ 0 w 236156"/>
                  <a:gd name="connsiteY0" fmla="*/ 254207 h 254206"/>
                  <a:gd name="connsiteX1" fmla="*/ 0 w 236156"/>
                  <a:gd name="connsiteY1" fmla="*/ 0 h 254206"/>
                  <a:gd name="connsiteX2" fmla="*/ 6518 w 236156"/>
                  <a:gd name="connsiteY2" fmla="*/ 0 h 254206"/>
                  <a:gd name="connsiteX3" fmla="*/ 206574 w 236156"/>
                  <a:gd name="connsiteY3" fmla="*/ 194792 h 254206"/>
                  <a:gd name="connsiteX4" fmla="*/ 206574 w 236156"/>
                  <a:gd name="connsiteY4" fmla="*/ 0 h 254206"/>
                  <a:gd name="connsiteX5" fmla="*/ 236157 w 236156"/>
                  <a:gd name="connsiteY5" fmla="*/ 0 h 254206"/>
                  <a:gd name="connsiteX6" fmla="*/ 236157 w 236156"/>
                  <a:gd name="connsiteY6" fmla="*/ 254207 h 254206"/>
                  <a:gd name="connsiteX7" fmla="*/ 229638 w 236156"/>
                  <a:gd name="connsiteY7" fmla="*/ 254207 h 254206"/>
                  <a:gd name="connsiteX8" fmla="*/ 31086 w 236156"/>
                  <a:gd name="connsiteY8" fmla="*/ 61671 h 254206"/>
                  <a:gd name="connsiteX9" fmla="*/ 31086 w 236156"/>
                  <a:gd name="connsiteY9" fmla="*/ 254207 h 254206"/>
                  <a:gd name="connsiteX10" fmla="*/ 0 w 236156"/>
                  <a:gd name="connsiteY10" fmla="*/ 254207 h 254206"/>
                  <a:gd name="connsiteX11" fmla="*/ 0 w 236156"/>
                  <a:gd name="connsiteY11" fmla="*/ 254207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156" h="254206">
                    <a:moveTo>
                      <a:pt x="0" y="254207"/>
                    </a:moveTo>
                    <a:lnTo>
                      <a:pt x="0" y="0"/>
                    </a:lnTo>
                    <a:lnTo>
                      <a:pt x="6518" y="0"/>
                    </a:lnTo>
                    <a:lnTo>
                      <a:pt x="206574" y="194792"/>
                    </a:lnTo>
                    <a:lnTo>
                      <a:pt x="206574" y="0"/>
                    </a:lnTo>
                    <a:lnTo>
                      <a:pt x="236157" y="0"/>
                    </a:lnTo>
                    <a:lnTo>
                      <a:pt x="236157" y="254207"/>
                    </a:lnTo>
                    <a:lnTo>
                      <a:pt x="229638" y="254207"/>
                    </a:lnTo>
                    <a:lnTo>
                      <a:pt x="31086" y="61671"/>
                    </a:lnTo>
                    <a:lnTo>
                      <a:pt x="31086" y="254207"/>
                    </a:lnTo>
                    <a:lnTo>
                      <a:pt x="0" y="254207"/>
                    </a:lnTo>
                    <a:lnTo>
                      <a:pt x="0" y="254207"/>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3" name="Freeform: Shape 302">
                <a:extLst>
                  <a:ext uri="{FF2B5EF4-FFF2-40B4-BE49-F238E27FC236}">
                    <a16:creationId xmlns:a16="http://schemas.microsoft.com/office/drawing/2014/main" id="{89E3CC45-21BC-45AA-8668-B8491379513E}"/>
                  </a:ext>
                </a:extLst>
              </p:cNvPr>
              <p:cNvSpPr/>
              <p:nvPr/>
            </p:nvSpPr>
            <p:spPr>
              <a:xfrm>
                <a:off x="5842909" y="5287795"/>
                <a:ext cx="289805" cy="254206"/>
              </a:xfrm>
              <a:custGeom>
                <a:avLst/>
                <a:gdLst>
                  <a:gd name="connsiteX0" fmla="*/ 145906 w 289805"/>
                  <a:gd name="connsiteY0" fmla="*/ 53900 h 254206"/>
                  <a:gd name="connsiteX1" fmla="*/ 94262 w 289805"/>
                  <a:gd name="connsiteY1" fmla="*/ 145906 h 254206"/>
                  <a:gd name="connsiteX2" fmla="*/ 197048 w 289805"/>
                  <a:gd name="connsiteY2" fmla="*/ 145906 h 254206"/>
                  <a:gd name="connsiteX3" fmla="*/ 145655 w 289805"/>
                  <a:gd name="connsiteY3" fmla="*/ 53900 h 254206"/>
                  <a:gd name="connsiteX4" fmla="*/ 145655 w 289805"/>
                  <a:gd name="connsiteY4" fmla="*/ 53900 h 254206"/>
                  <a:gd name="connsiteX5" fmla="*/ 149666 w 289805"/>
                  <a:gd name="connsiteY5" fmla="*/ 0 h 254206"/>
                  <a:gd name="connsiteX6" fmla="*/ 289806 w 289805"/>
                  <a:gd name="connsiteY6" fmla="*/ 254207 h 254206"/>
                  <a:gd name="connsiteX7" fmla="*/ 257466 w 289805"/>
                  <a:gd name="connsiteY7" fmla="*/ 254207 h 254206"/>
                  <a:gd name="connsiteX8" fmla="*/ 210084 w 289805"/>
                  <a:gd name="connsiteY8" fmla="*/ 170474 h 254206"/>
                  <a:gd name="connsiteX9" fmla="*/ 80474 w 289805"/>
                  <a:gd name="connsiteY9" fmla="*/ 170474 h 254206"/>
                  <a:gd name="connsiteX10" fmla="*/ 33593 w 289805"/>
                  <a:gd name="connsiteY10" fmla="*/ 254207 h 254206"/>
                  <a:gd name="connsiteX11" fmla="*/ 0 w 289805"/>
                  <a:gd name="connsiteY11" fmla="*/ 254207 h 254206"/>
                  <a:gd name="connsiteX12" fmla="*/ 142396 w 289805"/>
                  <a:gd name="connsiteY12" fmla="*/ 0 h 254206"/>
                  <a:gd name="connsiteX13" fmla="*/ 149666 w 289805"/>
                  <a:gd name="connsiteY13" fmla="*/ 0 h 2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9805" h="254206">
                    <a:moveTo>
                      <a:pt x="145906" y="53900"/>
                    </a:moveTo>
                    <a:lnTo>
                      <a:pt x="94262" y="145906"/>
                    </a:lnTo>
                    <a:lnTo>
                      <a:pt x="197048" y="145906"/>
                    </a:lnTo>
                    <a:lnTo>
                      <a:pt x="145655" y="53900"/>
                    </a:lnTo>
                    <a:lnTo>
                      <a:pt x="145655" y="53900"/>
                    </a:lnTo>
                    <a:close/>
                    <a:moveTo>
                      <a:pt x="149666" y="0"/>
                    </a:moveTo>
                    <a:lnTo>
                      <a:pt x="289806" y="254207"/>
                    </a:lnTo>
                    <a:lnTo>
                      <a:pt x="257466" y="254207"/>
                    </a:lnTo>
                    <a:lnTo>
                      <a:pt x="210084" y="170474"/>
                    </a:lnTo>
                    <a:lnTo>
                      <a:pt x="80474" y="170474"/>
                    </a:lnTo>
                    <a:lnTo>
                      <a:pt x="33593" y="254207"/>
                    </a:lnTo>
                    <a:lnTo>
                      <a:pt x="0" y="254207"/>
                    </a:lnTo>
                    <a:lnTo>
                      <a:pt x="142396" y="0"/>
                    </a:lnTo>
                    <a:lnTo>
                      <a:pt x="149666"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4" name="Freeform: Shape 303">
                <a:extLst>
                  <a:ext uri="{FF2B5EF4-FFF2-40B4-BE49-F238E27FC236}">
                    <a16:creationId xmlns:a16="http://schemas.microsoft.com/office/drawing/2014/main" id="{F5DBB6CB-9E19-4020-9E38-99697ECE0A68}"/>
                  </a:ext>
                </a:extLst>
              </p:cNvPr>
              <p:cNvSpPr/>
              <p:nvPr/>
            </p:nvSpPr>
            <p:spPr>
              <a:xfrm>
                <a:off x="6076308" y="5286793"/>
                <a:ext cx="56156" cy="55654"/>
              </a:xfrm>
              <a:custGeom>
                <a:avLst/>
                <a:gdLst>
                  <a:gd name="connsiteX0" fmla="*/ 20557 w 56156"/>
                  <a:gd name="connsiteY0" fmla="*/ 26323 h 55654"/>
                  <a:gd name="connsiteX1" fmla="*/ 26574 w 56156"/>
                  <a:gd name="connsiteY1" fmla="*/ 26323 h 55654"/>
                  <a:gd name="connsiteX2" fmla="*/ 32340 w 56156"/>
                  <a:gd name="connsiteY2" fmla="*/ 25070 h 55654"/>
                  <a:gd name="connsiteX3" fmla="*/ 33844 w 56156"/>
                  <a:gd name="connsiteY3" fmla="*/ 21811 h 55654"/>
                  <a:gd name="connsiteX4" fmla="*/ 33092 w 56156"/>
                  <a:gd name="connsiteY4" fmla="*/ 19304 h 55654"/>
                  <a:gd name="connsiteX5" fmla="*/ 31086 w 56156"/>
                  <a:gd name="connsiteY5" fmla="*/ 17799 h 55654"/>
                  <a:gd name="connsiteX6" fmla="*/ 26323 w 56156"/>
                  <a:gd name="connsiteY6" fmla="*/ 17298 h 55654"/>
                  <a:gd name="connsiteX7" fmla="*/ 20808 w 56156"/>
                  <a:gd name="connsiteY7" fmla="*/ 17298 h 55654"/>
                  <a:gd name="connsiteX8" fmla="*/ 20808 w 56156"/>
                  <a:gd name="connsiteY8" fmla="*/ 26323 h 55654"/>
                  <a:gd name="connsiteX9" fmla="*/ 20808 w 56156"/>
                  <a:gd name="connsiteY9" fmla="*/ 26323 h 55654"/>
                  <a:gd name="connsiteX10" fmla="*/ 15794 w 56156"/>
                  <a:gd name="connsiteY10" fmla="*/ 43371 h 55654"/>
                  <a:gd name="connsiteX11" fmla="*/ 15794 w 56156"/>
                  <a:gd name="connsiteY11" fmla="*/ 13036 h 55654"/>
                  <a:gd name="connsiteX12" fmla="*/ 26072 w 56156"/>
                  <a:gd name="connsiteY12" fmla="*/ 13036 h 55654"/>
                  <a:gd name="connsiteX13" fmla="*/ 33844 w 56156"/>
                  <a:gd name="connsiteY13" fmla="*/ 13788 h 55654"/>
                  <a:gd name="connsiteX14" fmla="*/ 37604 w 56156"/>
                  <a:gd name="connsiteY14" fmla="*/ 16797 h 55654"/>
                  <a:gd name="connsiteX15" fmla="*/ 39109 w 56156"/>
                  <a:gd name="connsiteY15" fmla="*/ 21309 h 55654"/>
                  <a:gd name="connsiteX16" fmla="*/ 36852 w 56156"/>
                  <a:gd name="connsiteY16" fmla="*/ 27075 h 55654"/>
                  <a:gd name="connsiteX17" fmla="*/ 30585 w 56156"/>
                  <a:gd name="connsiteY17" fmla="*/ 29833 h 55654"/>
                  <a:gd name="connsiteX18" fmla="*/ 33092 w 56156"/>
                  <a:gd name="connsiteY18" fmla="*/ 31337 h 55654"/>
                  <a:gd name="connsiteX19" fmla="*/ 37604 w 56156"/>
                  <a:gd name="connsiteY19" fmla="*/ 37354 h 55654"/>
                  <a:gd name="connsiteX20" fmla="*/ 41365 w 56156"/>
                  <a:gd name="connsiteY20" fmla="*/ 43371 h 55654"/>
                  <a:gd name="connsiteX21" fmla="*/ 35348 w 56156"/>
                  <a:gd name="connsiteY21" fmla="*/ 43371 h 55654"/>
                  <a:gd name="connsiteX22" fmla="*/ 32591 w 56156"/>
                  <a:gd name="connsiteY22" fmla="*/ 38607 h 55654"/>
                  <a:gd name="connsiteX23" fmla="*/ 27577 w 56156"/>
                  <a:gd name="connsiteY23" fmla="*/ 31588 h 55654"/>
                  <a:gd name="connsiteX24" fmla="*/ 23565 w 56156"/>
                  <a:gd name="connsiteY24" fmla="*/ 30585 h 55654"/>
                  <a:gd name="connsiteX25" fmla="*/ 20808 w 56156"/>
                  <a:gd name="connsiteY25" fmla="*/ 30585 h 55654"/>
                  <a:gd name="connsiteX26" fmla="*/ 20808 w 56156"/>
                  <a:gd name="connsiteY26" fmla="*/ 43371 h 55654"/>
                  <a:gd name="connsiteX27" fmla="*/ 16044 w 56156"/>
                  <a:gd name="connsiteY27" fmla="*/ 43371 h 55654"/>
                  <a:gd name="connsiteX28" fmla="*/ 28078 w 56156"/>
                  <a:gd name="connsiteY28" fmla="*/ 4513 h 55654"/>
                  <a:gd name="connsiteX29" fmla="*/ 16546 w 56156"/>
                  <a:gd name="connsiteY29" fmla="*/ 7521 h 55654"/>
                  <a:gd name="connsiteX30" fmla="*/ 7772 w 56156"/>
                  <a:gd name="connsiteY30" fmla="*/ 16045 h 55654"/>
                  <a:gd name="connsiteX31" fmla="*/ 4513 w 56156"/>
                  <a:gd name="connsiteY31" fmla="*/ 27827 h 55654"/>
                  <a:gd name="connsiteX32" fmla="*/ 7521 w 56156"/>
                  <a:gd name="connsiteY32" fmla="*/ 39359 h 55654"/>
                  <a:gd name="connsiteX33" fmla="*/ 16295 w 56156"/>
                  <a:gd name="connsiteY33" fmla="*/ 47883 h 55654"/>
                  <a:gd name="connsiteX34" fmla="*/ 27827 w 56156"/>
                  <a:gd name="connsiteY34" fmla="*/ 50891 h 55654"/>
                  <a:gd name="connsiteX35" fmla="*/ 39359 w 56156"/>
                  <a:gd name="connsiteY35" fmla="*/ 47883 h 55654"/>
                  <a:gd name="connsiteX36" fmla="*/ 47883 w 56156"/>
                  <a:gd name="connsiteY36" fmla="*/ 39359 h 55654"/>
                  <a:gd name="connsiteX37" fmla="*/ 50892 w 56156"/>
                  <a:gd name="connsiteY37" fmla="*/ 27827 h 55654"/>
                  <a:gd name="connsiteX38" fmla="*/ 47632 w 56156"/>
                  <a:gd name="connsiteY38" fmla="*/ 16045 h 55654"/>
                  <a:gd name="connsiteX39" fmla="*/ 38858 w 56156"/>
                  <a:gd name="connsiteY39" fmla="*/ 7521 h 55654"/>
                  <a:gd name="connsiteX40" fmla="*/ 27326 w 56156"/>
                  <a:gd name="connsiteY40" fmla="*/ 4513 h 55654"/>
                  <a:gd name="connsiteX41" fmla="*/ 27326 w 56156"/>
                  <a:gd name="connsiteY41" fmla="*/ 4513 h 55654"/>
                  <a:gd name="connsiteX42" fmla="*/ 28078 w 56156"/>
                  <a:gd name="connsiteY42" fmla="*/ 0 h 55654"/>
                  <a:gd name="connsiteX43" fmla="*/ 41866 w 56156"/>
                  <a:gd name="connsiteY43" fmla="*/ 3510 h 55654"/>
                  <a:gd name="connsiteX44" fmla="*/ 52396 w 56156"/>
                  <a:gd name="connsiteY44" fmla="*/ 13788 h 55654"/>
                  <a:gd name="connsiteX45" fmla="*/ 56156 w 56156"/>
                  <a:gd name="connsiteY45" fmla="*/ 27827 h 55654"/>
                  <a:gd name="connsiteX46" fmla="*/ 52396 w 56156"/>
                  <a:gd name="connsiteY46" fmla="*/ 41616 h 55654"/>
                  <a:gd name="connsiteX47" fmla="*/ 42117 w 56156"/>
                  <a:gd name="connsiteY47" fmla="*/ 51894 h 55654"/>
                  <a:gd name="connsiteX48" fmla="*/ 28078 w 56156"/>
                  <a:gd name="connsiteY48" fmla="*/ 55655 h 55654"/>
                  <a:gd name="connsiteX49" fmla="*/ 14039 w 56156"/>
                  <a:gd name="connsiteY49" fmla="*/ 51894 h 55654"/>
                  <a:gd name="connsiteX50" fmla="*/ 3760 w 56156"/>
                  <a:gd name="connsiteY50" fmla="*/ 41616 h 55654"/>
                  <a:gd name="connsiteX51" fmla="*/ 0 w 56156"/>
                  <a:gd name="connsiteY51" fmla="*/ 27827 h 55654"/>
                  <a:gd name="connsiteX52" fmla="*/ 3760 w 56156"/>
                  <a:gd name="connsiteY52" fmla="*/ 13788 h 55654"/>
                  <a:gd name="connsiteX53" fmla="*/ 14290 w 56156"/>
                  <a:gd name="connsiteY53" fmla="*/ 3510 h 55654"/>
                  <a:gd name="connsiteX54" fmla="*/ 28078 w 56156"/>
                  <a:gd name="connsiteY54" fmla="*/ 0 h 55654"/>
                  <a:gd name="connsiteX55" fmla="*/ 28078 w 56156"/>
                  <a:gd name="connsiteY55" fmla="*/ 0 h 55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6156" h="55654">
                    <a:moveTo>
                      <a:pt x="20557" y="26323"/>
                    </a:moveTo>
                    <a:lnTo>
                      <a:pt x="26574" y="26323"/>
                    </a:lnTo>
                    <a:cubicBezTo>
                      <a:pt x="29332" y="26323"/>
                      <a:pt x="31337" y="25822"/>
                      <a:pt x="32340" y="25070"/>
                    </a:cubicBezTo>
                    <a:cubicBezTo>
                      <a:pt x="33343" y="24318"/>
                      <a:pt x="33844" y="23064"/>
                      <a:pt x="33844" y="21811"/>
                    </a:cubicBezTo>
                    <a:cubicBezTo>
                      <a:pt x="33844" y="20808"/>
                      <a:pt x="33844" y="20056"/>
                      <a:pt x="33092" y="19304"/>
                    </a:cubicBezTo>
                    <a:cubicBezTo>
                      <a:pt x="32591" y="18552"/>
                      <a:pt x="31839" y="18050"/>
                      <a:pt x="31086" y="17799"/>
                    </a:cubicBezTo>
                    <a:cubicBezTo>
                      <a:pt x="30084" y="17549"/>
                      <a:pt x="28579" y="17298"/>
                      <a:pt x="26323" y="17298"/>
                    </a:cubicBezTo>
                    <a:lnTo>
                      <a:pt x="20808" y="17298"/>
                    </a:lnTo>
                    <a:lnTo>
                      <a:pt x="20808" y="26323"/>
                    </a:lnTo>
                    <a:lnTo>
                      <a:pt x="20808" y="26323"/>
                    </a:lnTo>
                    <a:close/>
                    <a:moveTo>
                      <a:pt x="15794" y="43371"/>
                    </a:moveTo>
                    <a:lnTo>
                      <a:pt x="15794" y="13036"/>
                    </a:lnTo>
                    <a:lnTo>
                      <a:pt x="26072" y="13036"/>
                    </a:lnTo>
                    <a:cubicBezTo>
                      <a:pt x="29582" y="13036"/>
                      <a:pt x="32089" y="13287"/>
                      <a:pt x="33844" y="13788"/>
                    </a:cubicBezTo>
                    <a:cubicBezTo>
                      <a:pt x="35348" y="14290"/>
                      <a:pt x="36602" y="15293"/>
                      <a:pt x="37604" y="16797"/>
                    </a:cubicBezTo>
                    <a:cubicBezTo>
                      <a:pt x="38607" y="18301"/>
                      <a:pt x="39109" y="19554"/>
                      <a:pt x="39109" y="21309"/>
                    </a:cubicBezTo>
                    <a:cubicBezTo>
                      <a:pt x="39109" y="23566"/>
                      <a:pt x="38357" y="25320"/>
                      <a:pt x="36852" y="27075"/>
                    </a:cubicBezTo>
                    <a:cubicBezTo>
                      <a:pt x="35348" y="28830"/>
                      <a:pt x="33092" y="29582"/>
                      <a:pt x="30585" y="29833"/>
                    </a:cubicBezTo>
                    <a:cubicBezTo>
                      <a:pt x="31588" y="30334"/>
                      <a:pt x="32591" y="30836"/>
                      <a:pt x="33092" y="31337"/>
                    </a:cubicBezTo>
                    <a:cubicBezTo>
                      <a:pt x="34345" y="32591"/>
                      <a:pt x="35850" y="34596"/>
                      <a:pt x="37604" y="37354"/>
                    </a:cubicBezTo>
                    <a:lnTo>
                      <a:pt x="41365" y="43371"/>
                    </a:lnTo>
                    <a:lnTo>
                      <a:pt x="35348" y="43371"/>
                    </a:lnTo>
                    <a:lnTo>
                      <a:pt x="32591" y="38607"/>
                    </a:lnTo>
                    <a:cubicBezTo>
                      <a:pt x="30585" y="34847"/>
                      <a:pt x="28830" y="32591"/>
                      <a:pt x="27577" y="31588"/>
                    </a:cubicBezTo>
                    <a:cubicBezTo>
                      <a:pt x="26574" y="30836"/>
                      <a:pt x="25320" y="30585"/>
                      <a:pt x="23565" y="30585"/>
                    </a:cubicBezTo>
                    <a:lnTo>
                      <a:pt x="20808" y="30585"/>
                    </a:lnTo>
                    <a:lnTo>
                      <a:pt x="20808" y="43371"/>
                    </a:lnTo>
                    <a:lnTo>
                      <a:pt x="16044" y="43371"/>
                    </a:lnTo>
                    <a:close/>
                    <a:moveTo>
                      <a:pt x="28078" y="4513"/>
                    </a:moveTo>
                    <a:cubicBezTo>
                      <a:pt x="24067" y="4513"/>
                      <a:pt x="20306" y="5515"/>
                      <a:pt x="16546" y="7521"/>
                    </a:cubicBezTo>
                    <a:cubicBezTo>
                      <a:pt x="12786" y="9526"/>
                      <a:pt x="10028" y="12535"/>
                      <a:pt x="7772" y="16045"/>
                    </a:cubicBezTo>
                    <a:cubicBezTo>
                      <a:pt x="5766" y="19805"/>
                      <a:pt x="4513" y="23566"/>
                      <a:pt x="4513" y="27827"/>
                    </a:cubicBezTo>
                    <a:cubicBezTo>
                      <a:pt x="4513" y="32089"/>
                      <a:pt x="5515" y="35599"/>
                      <a:pt x="7521" y="39359"/>
                    </a:cubicBezTo>
                    <a:cubicBezTo>
                      <a:pt x="9527" y="43120"/>
                      <a:pt x="12535" y="45878"/>
                      <a:pt x="16295" y="47883"/>
                    </a:cubicBezTo>
                    <a:cubicBezTo>
                      <a:pt x="20056" y="49889"/>
                      <a:pt x="23816" y="50891"/>
                      <a:pt x="27827" y="50891"/>
                    </a:cubicBezTo>
                    <a:cubicBezTo>
                      <a:pt x="31839" y="50891"/>
                      <a:pt x="35599" y="49889"/>
                      <a:pt x="39359" y="47883"/>
                    </a:cubicBezTo>
                    <a:cubicBezTo>
                      <a:pt x="43120" y="45878"/>
                      <a:pt x="45877" y="42869"/>
                      <a:pt x="47883" y="39359"/>
                    </a:cubicBezTo>
                    <a:cubicBezTo>
                      <a:pt x="49889" y="35599"/>
                      <a:pt x="50892" y="31839"/>
                      <a:pt x="50892" y="27827"/>
                    </a:cubicBezTo>
                    <a:cubicBezTo>
                      <a:pt x="50892" y="23816"/>
                      <a:pt x="49889" y="19805"/>
                      <a:pt x="47632" y="16045"/>
                    </a:cubicBezTo>
                    <a:cubicBezTo>
                      <a:pt x="45627" y="12284"/>
                      <a:pt x="42619" y="9526"/>
                      <a:pt x="38858" y="7521"/>
                    </a:cubicBezTo>
                    <a:cubicBezTo>
                      <a:pt x="35098" y="5515"/>
                      <a:pt x="31337" y="4513"/>
                      <a:pt x="27326" y="4513"/>
                    </a:cubicBezTo>
                    <a:lnTo>
                      <a:pt x="27326" y="4513"/>
                    </a:lnTo>
                    <a:close/>
                    <a:moveTo>
                      <a:pt x="28078" y="0"/>
                    </a:moveTo>
                    <a:cubicBezTo>
                      <a:pt x="32841" y="0"/>
                      <a:pt x="37354" y="1253"/>
                      <a:pt x="41866" y="3510"/>
                    </a:cubicBezTo>
                    <a:cubicBezTo>
                      <a:pt x="46379" y="6017"/>
                      <a:pt x="49889" y="9276"/>
                      <a:pt x="52396" y="13788"/>
                    </a:cubicBezTo>
                    <a:cubicBezTo>
                      <a:pt x="54903" y="18301"/>
                      <a:pt x="56156" y="23064"/>
                      <a:pt x="56156" y="27827"/>
                    </a:cubicBezTo>
                    <a:cubicBezTo>
                      <a:pt x="56156" y="32591"/>
                      <a:pt x="54903" y="37354"/>
                      <a:pt x="52396" y="41616"/>
                    </a:cubicBezTo>
                    <a:cubicBezTo>
                      <a:pt x="49889" y="46128"/>
                      <a:pt x="46379" y="49638"/>
                      <a:pt x="42117" y="51894"/>
                    </a:cubicBezTo>
                    <a:cubicBezTo>
                      <a:pt x="37604" y="54401"/>
                      <a:pt x="33092" y="55655"/>
                      <a:pt x="28078" y="55655"/>
                    </a:cubicBezTo>
                    <a:cubicBezTo>
                      <a:pt x="23064" y="55655"/>
                      <a:pt x="18552" y="54401"/>
                      <a:pt x="14039" y="51894"/>
                    </a:cubicBezTo>
                    <a:cubicBezTo>
                      <a:pt x="9527" y="49387"/>
                      <a:pt x="6267" y="45878"/>
                      <a:pt x="3760" y="41616"/>
                    </a:cubicBezTo>
                    <a:cubicBezTo>
                      <a:pt x="1253" y="37103"/>
                      <a:pt x="0" y="32591"/>
                      <a:pt x="0" y="27827"/>
                    </a:cubicBezTo>
                    <a:cubicBezTo>
                      <a:pt x="0" y="23064"/>
                      <a:pt x="1253" y="18301"/>
                      <a:pt x="3760" y="13788"/>
                    </a:cubicBezTo>
                    <a:cubicBezTo>
                      <a:pt x="6267" y="9276"/>
                      <a:pt x="9777" y="5766"/>
                      <a:pt x="14290" y="3510"/>
                    </a:cubicBezTo>
                    <a:cubicBezTo>
                      <a:pt x="18802" y="1003"/>
                      <a:pt x="23315" y="0"/>
                      <a:pt x="28078" y="0"/>
                    </a:cubicBezTo>
                    <a:lnTo>
                      <a:pt x="28078" y="0"/>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5" name="Freeform: Shape 304">
                <a:extLst>
                  <a:ext uri="{FF2B5EF4-FFF2-40B4-BE49-F238E27FC236}">
                    <a16:creationId xmlns:a16="http://schemas.microsoft.com/office/drawing/2014/main" id="{F8A4CCB6-19CB-4861-B765-417DBF448728}"/>
                  </a:ext>
                </a:extLst>
              </p:cNvPr>
              <p:cNvSpPr/>
              <p:nvPr/>
            </p:nvSpPr>
            <p:spPr>
              <a:xfrm>
                <a:off x="5255025" y="5285289"/>
                <a:ext cx="260223" cy="260474"/>
              </a:xfrm>
              <a:custGeom>
                <a:avLst/>
                <a:gdLst>
                  <a:gd name="connsiteX0" fmla="*/ 130112 w 260223"/>
                  <a:gd name="connsiteY0" fmla="*/ 25070 h 260474"/>
                  <a:gd name="connsiteX1" fmla="*/ 25070 w 260223"/>
                  <a:gd name="connsiteY1" fmla="*/ 130112 h 260474"/>
                  <a:gd name="connsiteX2" fmla="*/ 130112 w 260223"/>
                  <a:gd name="connsiteY2" fmla="*/ 235154 h 260474"/>
                  <a:gd name="connsiteX3" fmla="*/ 235154 w 260223"/>
                  <a:gd name="connsiteY3" fmla="*/ 130112 h 260474"/>
                  <a:gd name="connsiteX4" fmla="*/ 130112 w 260223"/>
                  <a:gd name="connsiteY4" fmla="*/ 25070 h 260474"/>
                  <a:gd name="connsiteX5" fmla="*/ 130112 w 260223"/>
                  <a:gd name="connsiteY5" fmla="*/ 25070 h 260474"/>
                  <a:gd name="connsiteX6" fmla="*/ 130112 w 260223"/>
                  <a:gd name="connsiteY6" fmla="*/ 260474 h 260474"/>
                  <a:gd name="connsiteX7" fmla="*/ 0 w 260223"/>
                  <a:gd name="connsiteY7" fmla="*/ 130362 h 260474"/>
                  <a:gd name="connsiteX8" fmla="*/ 130112 w 260223"/>
                  <a:gd name="connsiteY8" fmla="*/ 0 h 260474"/>
                  <a:gd name="connsiteX9" fmla="*/ 260223 w 260223"/>
                  <a:gd name="connsiteY9" fmla="*/ 130112 h 260474"/>
                  <a:gd name="connsiteX10" fmla="*/ 130112 w 260223"/>
                  <a:gd name="connsiteY10" fmla="*/ 260223 h 260474"/>
                  <a:gd name="connsiteX11" fmla="*/ 130112 w 260223"/>
                  <a:gd name="connsiteY11" fmla="*/ 260223 h 260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0223" h="260474">
                    <a:moveTo>
                      <a:pt x="130112" y="25070"/>
                    </a:moveTo>
                    <a:cubicBezTo>
                      <a:pt x="72201" y="25070"/>
                      <a:pt x="25070" y="72201"/>
                      <a:pt x="25070" y="130112"/>
                    </a:cubicBezTo>
                    <a:cubicBezTo>
                      <a:pt x="25070" y="188023"/>
                      <a:pt x="72201" y="235154"/>
                      <a:pt x="130112" y="235154"/>
                    </a:cubicBezTo>
                    <a:cubicBezTo>
                      <a:pt x="188023" y="235154"/>
                      <a:pt x="235154" y="188023"/>
                      <a:pt x="235154" y="130112"/>
                    </a:cubicBezTo>
                    <a:cubicBezTo>
                      <a:pt x="235154" y="72201"/>
                      <a:pt x="188023" y="25070"/>
                      <a:pt x="130112" y="25070"/>
                    </a:cubicBezTo>
                    <a:lnTo>
                      <a:pt x="130112" y="25070"/>
                    </a:lnTo>
                    <a:close/>
                    <a:moveTo>
                      <a:pt x="130112" y="260474"/>
                    </a:moveTo>
                    <a:cubicBezTo>
                      <a:pt x="58412" y="260474"/>
                      <a:pt x="0" y="202062"/>
                      <a:pt x="0" y="130362"/>
                    </a:cubicBezTo>
                    <a:cubicBezTo>
                      <a:pt x="0" y="58663"/>
                      <a:pt x="58412" y="0"/>
                      <a:pt x="130112" y="0"/>
                    </a:cubicBezTo>
                    <a:cubicBezTo>
                      <a:pt x="201811" y="0"/>
                      <a:pt x="260223" y="58412"/>
                      <a:pt x="260223" y="130112"/>
                    </a:cubicBezTo>
                    <a:cubicBezTo>
                      <a:pt x="260223" y="201811"/>
                      <a:pt x="201811" y="260223"/>
                      <a:pt x="130112" y="260223"/>
                    </a:cubicBezTo>
                    <a:lnTo>
                      <a:pt x="130112" y="260223"/>
                    </a:lnTo>
                    <a:close/>
                  </a:path>
                </a:pathLst>
              </a:custGeom>
              <a:solidFill>
                <a:srgbClr val="A1ABB2"/>
              </a:solidFill>
              <a:ln w="249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260" name="Group 259">
              <a:extLst>
                <a:ext uri="{FF2B5EF4-FFF2-40B4-BE49-F238E27FC236}">
                  <a16:creationId xmlns:a16="http://schemas.microsoft.com/office/drawing/2014/main" id="{D13383F9-4549-4C75-956A-3EAC271E060C}"/>
                </a:ext>
              </a:extLst>
            </p:cNvPr>
            <p:cNvGrpSpPr/>
            <p:nvPr userDrawn="1"/>
          </p:nvGrpSpPr>
          <p:grpSpPr>
            <a:xfrm>
              <a:off x="3339354" y="2864280"/>
              <a:ext cx="1352315" cy="153392"/>
              <a:chOff x="4724400" y="3271837"/>
              <a:chExt cx="2743390" cy="311181"/>
            </a:xfrm>
          </p:grpSpPr>
          <p:sp>
            <p:nvSpPr>
              <p:cNvPr id="272" name="Freeform: Shape 271">
                <a:extLst>
                  <a:ext uri="{FF2B5EF4-FFF2-40B4-BE49-F238E27FC236}">
                    <a16:creationId xmlns:a16="http://schemas.microsoft.com/office/drawing/2014/main" id="{9754D66D-2D87-4710-909C-A9A73F1F6CD4}"/>
                  </a:ext>
                </a:extLst>
              </p:cNvPr>
              <p:cNvSpPr/>
              <p:nvPr/>
            </p:nvSpPr>
            <p:spPr>
              <a:xfrm>
                <a:off x="4724400" y="3272598"/>
                <a:ext cx="323468" cy="310133"/>
              </a:xfrm>
              <a:custGeom>
                <a:avLst/>
                <a:gdLst>
                  <a:gd name="connsiteX0" fmla="*/ 0 w 323468"/>
                  <a:gd name="connsiteY0" fmla="*/ 0 h 310133"/>
                  <a:gd name="connsiteX1" fmla="*/ 93536 w 323468"/>
                  <a:gd name="connsiteY1" fmla="*/ 0 h 310133"/>
                  <a:gd name="connsiteX2" fmla="*/ 161544 w 323468"/>
                  <a:gd name="connsiteY2" fmla="*/ 214789 h 310133"/>
                  <a:gd name="connsiteX3" fmla="*/ 163354 w 323468"/>
                  <a:gd name="connsiteY3" fmla="*/ 214789 h 310133"/>
                  <a:gd name="connsiteX4" fmla="*/ 230886 w 323468"/>
                  <a:gd name="connsiteY4" fmla="*/ 0 h 310133"/>
                  <a:gd name="connsiteX5" fmla="*/ 323469 w 323468"/>
                  <a:gd name="connsiteY5" fmla="*/ 0 h 310133"/>
                  <a:gd name="connsiteX6" fmla="*/ 323469 w 323468"/>
                  <a:gd name="connsiteY6" fmla="*/ 310134 h 310133"/>
                  <a:gd name="connsiteX7" fmla="*/ 255937 w 323468"/>
                  <a:gd name="connsiteY7" fmla="*/ 310134 h 310133"/>
                  <a:gd name="connsiteX8" fmla="*/ 255937 w 323468"/>
                  <a:gd name="connsiteY8" fmla="*/ 81915 h 310133"/>
                  <a:gd name="connsiteX9" fmla="*/ 254603 w 323468"/>
                  <a:gd name="connsiteY9" fmla="*/ 81915 h 310133"/>
                  <a:gd name="connsiteX10" fmla="*/ 182594 w 323468"/>
                  <a:gd name="connsiteY10" fmla="*/ 310134 h 310133"/>
                  <a:gd name="connsiteX11" fmla="*/ 130683 w 323468"/>
                  <a:gd name="connsiteY11" fmla="*/ 310134 h 310133"/>
                  <a:gd name="connsiteX12" fmla="*/ 59531 w 323468"/>
                  <a:gd name="connsiteY12" fmla="*/ 81915 h 310133"/>
                  <a:gd name="connsiteX13" fmla="*/ 57722 w 323468"/>
                  <a:gd name="connsiteY13" fmla="*/ 81915 h 310133"/>
                  <a:gd name="connsiteX14" fmla="*/ 57722 w 323468"/>
                  <a:gd name="connsiteY14" fmla="*/ 310134 h 310133"/>
                  <a:gd name="connsiteX15" fmla="*/ 0 w 323468"/>
                  <a:gd name="connsiteY15" fmla="*/ 310134 h 310133"/>
                  <a:gd name="connsiteX16" fmla="*/ 0 w 323468"/>
                  <a:gd name="connsiteY16" fmla="*/ 0 h 31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468" h="310133">
                    <a:moveTo>
                      <a:pt x="0" y="0"/>
                    </a:moveTo>
                    <a:lnTo>
                      <a:pt x="93536" y="0"/>
                    </a:lnTo>
                    <a:lnTo>
                      <a:pt x="161544" y="214789"/>
                    </a:lnTo>
                    <a:lnTo>
                      <a:pt x="163354" y="214789"/>
                    </a:lnTo>
                    <a:lnTo>
                      <a:pt x="230886" y="0"/>
                    </a:lnTo>
                    <a:lnTo>
                      <a:pt x="323469" y="0"/>
                    </a:lnTo>
                    <a:lnTo>
                      <a:pt x="323469" y="310134"/>
                    </a:lnTo>
                    <a:lnTo>
                      <a:pt x="255937" y="310134"/>
                    </a:lnTo>
                    <a:lnTo>
                      <a:pt x="255937" y="81915"/>
                    </a:lnTo>
                    <a:lnTo>
                      <a:pt x="254603" y="81915"/>
                    </a:lnTo>
                    <a:lnTo>
                      <a:pt x="182594" y="310134"/>
                    </a:lnTo>
                    <a:lnTo>
                      <a:pt x="130683" y="310134"/>
                    </a:lnTo>
                    <a:lnTo>
                      <a:pt x="59531" y="81915"/>
                    </a:lnTo>
                    <a:lnTo>
                      <a:pt x="57722" y="81915"/>
                    </a:lnTo>
                    <a:lnTo>
                      <a:pt x="57722" y="310134"/>
                    </a:lnTo>
                    <a:lnTo>
                      <a:pt x="0" y="310134"/>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3" name="Freeform: Shape 272">
                <a:extLst>
                  <a:ext uri="{FF2B5EF4-FFF2-40B4-BE49-F238E27FC236}">
                    <a16:creationId xmlns:a16="http://schemas.microsoft.com/office/drawing/2014/main" id="{280E1FEB-3A51-4D3B-AB8D-136B96D23565}"/>
                  </a:ext>
                </a:extLst>
              </p:cNvPr>
              <p:cNvSpPr/>
              <p:nvPr/>
            </p:nvSpPr>
            <p:spPr>
              <a:xfrm>
                <a:off x="5107019" y="3272598"/>
                <a:ext cx="290798" cy="310038"/>
              </a:xfrm>
              <a:custGeom>
                <a:avLst/>
                <a:gdLst>
                  <a:gd name="connsiteX0" fmla="*/ 110014 w 290798"/>
                  <a:gd name="connsiteY0" fmla="*/ 0 h 310038"/>
                  <a:gd name="connsiteX1" fmla="*/ 181642 w 290798"/>
                  <a:gd name="connsiteY1" fmla="*/ 0 h 310038"/>
                  <a:gd name="connsiteX2" fmla="*/ 290798 w 290798"/>
                  <a:gd name="connsiteY2" fmla="*/ 310039 h 310038"/>
                  <a:gd name="connsiteX3" fmla="*/ 220599 w 290798"/>
                  <a:gd name="connsiteY3" fmla="*/ 310039 h 310038"/>
                  <a:gd name="connsiteX4" fmla="*/ 196025 w 290798"/>
                  <a:gd name="connsiteY4" fmla="*/ 238411 h 310038"/>
                  <a:gd name="connsiteX5" fmla="*/ 86392 w 290798"/>
                  <a:gd name="connsiteY5" fmla="*/ 238411 h 310038"/>
                  <a:gd name="connsiteX6" fmla="*/ 62198 w 290798"/>
                  <a:gd name="connsiteY6" fmla="*/ 310039 h 310038"/>
                  <a:gd name="connsiteX7" fmla="*/ 0 w 290798"/>
                  <a:gd name="connsiteY7" fmla="*/ 310039 h 310038"/>
                  <a:gd name="connsiteX8" fmla="*/ 110014 w 290798"/>
                  <a:gd name="connsiteY8" fmla="*/ 0 h 310038"/>
                  <a:gd name="connsiteX9" fmla="*/ 101060 w 290798"/>
                  <a:gd name="connsiteY9" fmla="*/ 191072 h 310038"/>
                  <a:gd name="connsiteX10" fmla="*/ 180213 w 290798"/>
                  <a:gd name="connsiteY10" fmla="*/ 191072 h 310038"/>
                  <a:gd name="connsiteX11" fmla="*/ 141256 w 290798"/>
                  <a:gd name="connsiteY11" fmla="*/ 75629 h 310038"/>
                  <a:gd name="connsiteX12" fmla="*/ 139446 w 290798"/>
                  <a:gd name="connsiteY12" fmla="*/ 75629 h 310038"/>
                  <a:gd name="connsiteX13" fmla="*/ 100965 w 290798"/>
                  <a:gd name="connsiteY13" fmla="*/ 191072 h 3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0798" h="310038">
                    <a:moveTo>
                      <a:pt x="110014" y="0"/>
                    </a:moveTo>
                    <a:lnTo>
                      <a:pt x="181642" y="0"/>
                    </a:lnTo>
                    <a:lnTo>
                      <a:pt x="290798" y="310039"/>
                    </a:lnTo>
                    <a:lnTo>
                      <a:pt x="220599" y="310039"/>
                    </a:lnTo>
                    <a:lnTo>
                      <a:pt x="196025" y="238411"/>
                    </a:lnTo>
                    <a:lnTo>
                      <a:pt x="86392" y="238411"/>
                    </a:lnTo>
                    <a:lnTo>
                      <a:pt x="62198" y="310039"/>
                    </a:lnTo>
                    <a:lnTo>
                      <a:pt x="0" y="310039"/>
                    </a:lnTo>
                    <a:lnTo>
                      <a:pt x="110014" y="0"/>
                    </a:lnTo>
                    <a:close/>
                    <a:moveTo>
                      <a:pt x="101060" y="191072"/>
                    </a:moveTo>
                    <a:lnTo>
                      <a:pt x="180213" y="191072"/>
                    </a:lnTo>
                    <a:lnTo>
                      <a:pt x="141256" y="75629"/>
                    </a:lnTo>
                    <a:lnTo>
                      <a:pt x="139446" y="75629"/>
                    </a:lnTo>
                    <a:lnTo>
                      <a:pt x="100965" y="191072"/>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4" name="Freeform: Shape 273">
                <a:extLst>
                  <a:ext uri="{FF2B5EF4-FFF2-40B4-BE49-F238E27FC236}">
                    <a16:creationId xmlns:a16="http://schemas.microsoft.com/office/drawing/2014/main" id="{E55505F4-9CFC-49DD-9E39-782E93539CE0}"/>
                  </a:ext>
                </a:extLst>
              </p:cNvPr>
              <p:cNvSpPr/>
              <p:nvPr/>
            </p:nvSpPr>
            <p:spPr>
              <a:xfrm>
                <a:off x="5457348" y="3272598"/>
                <a:ext cx="246602" cy="310038"/>
              </a:xfrm>
              <a:custGeom>
                <a:avLst/>
                <a:gdLst>
                  <a:gd name="connsiteX0" fmla="*/ 0 w 246602"/>
                  <a:gd name="connsiteY0" fmla="*/ 0 h 310038"/>
                  <a:gd name="connsiteX1" fmla="*/ 114586 w 246602"/>
                  <a:gd name="connsiteY1" fmla="*/ 0 h 310038"/>
                  <a:gd name="connsiteX2" fmla="*/ 226886 w 246602"/>
                  <a:gd name="connsiteY2" fmla="*/ 93059 h 310038"/>
                  <a:gd name="connsiteX3" fmla="*/ 172784 w 246602"/>
                  <a:gd name="connsiteY3" fmla="*/ 172688 h 310038"/>
                  <a:gd name="connsiteX4" fmla="*/ 172784 w 246602"/>
                  <a:gd name="connsiteY4" fmla="*/ 174498 h 310038"/>
                  <a:gd name="connsiteX5" fmla="*/ 246602 w 246602"/>
                  <a:gd name="connsiteY5" fmla="*/ 310039 h 310038"/>
                  <a:gd name="connsiteX6" fmla="*/ 173641 w 246602"/>
                  <a:gd name="connsiteY6" fmla="*/ 310039 h 310038"/>
                  <a:gd name="connsiteX7" fmla="*/ 109633 w 246602"/>
                  <a:gd name="connsiteY7" fmla="*/ 189738 h 310038"/>
                  <a:gd name="connsiteX8" fmla="*/ 68485 w 246602"/>
                  <a:gd name="connsiteY8" fmla="*/ 189738 h 310038"/>
                  <a:gd name="connsiteX9" fmla="*/ 68485 w 246602"/>
                  <a:gd name="connsiteY9" fmla="*/ 310039 h 310038"/>
                  <a:gd name="connsiteX10" fmla="*/ 0 w 246602"/>
                  <a:gd name="connsiteY10" fmla="*/ 310039 h 310038"/>
                  <a:gd name="connsiteX11" fmla="*/ 0 w 246602"/>
                  <a:gd name="connsiteY11" fmla="*/ 0 h 310038"/>
                  <a:gd name="connsiteX12" fmla="*/ 106013 w 246602"/>
                  <a:gd name="connsiteY12" fmla="*/ 145447 h 310038"/>
                  <a:gd name="connsiteX13" fmla="*/ 157448 w 246602"/>
                  <a:gd name="connsiteY13" fmla="*/ 95726 h 310038"/>
                  <a:gd name="connsiteX14" fmla="*/ 105537 w 246602"/>
                  <a:gd name="connsiteY14" fmla="*/ 49149 h 310038"/>
                  <a:gd name="connsiteX15" fmla="*/ 67532 w 246602"/>
                  <a:gd name="connsiteY15" fmla="*/ 49149 h 310038"/>
                  <a:gd name="connsiteX16" fmla="*/ 67532 w 246602"/>
                  <a:gd name="connsiteY16" fmla="*/ 145447 h 310038"/>
                  <a:gd name="connsiteX17" fmla="*/ 106013 w 246602"/>
                  <a:gd name="connsiteY17" fmla="*/ 145447 h 31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6602" h="310038">
                    <a:moveTo>
                      <a:pt x="0" y="0"/>
                    </a:moveTo>
                    <a:lnTo>
                      <a:pt x="114586" y="0"/>
                    </a:lnTo>
                    <a:cubicBezTo>
                      <a:pt x="188881" y="0"/>
                      <a:pt x="226886" y="30004"/>
                      <a:pt x="226886" y="93059"/>
                    </a:cubicBezTo>
                    <a:cubicBezTo>
                      <a:pt x="226886" y="136493"/>
                      <a:pt x="206312" y="158877"/>
                      <a:pt x="172784" y="172688"/>
                    </a:cubicBezTo>
                    <a:lnTo>
                      <a:pt x="172784" y="174498"/>
                    </a:lnTo>
                    <a:lnTo>
                      <a:pt x="246602" y="310039"/>
                    </a:lnTo>
                    <a:lnTo>
                      <a:pt x="173641" y="310039"/>
                    </a:lnTo>
                    <a:lnTo>
                      <a:pt x="109633" y="189738"/>
                    </a:lnTo>
                    <a:lnTo>
                      <a:pt x="68485" y="189738"/>
                    </a:lnTo>
                    <a:lnTo>
                      <a:pt x="68485" y="310039"/>
                    </a:lnTo>
                    <a:lnTo>
                      <a:pt x="0" y="310039"/>
                    </a:lnTo>
                    <a:lnTo>
                      <a:pt x="0" y="0"/>
                    </a:lnTo>
                    <a:close/>
                    <a:moveTo>
                      <a:pt x="106013" y="145447"/>
                    </a:moveTo>
                    <a:cubicBezTo>
                      <a:pt x="142685" y="145447"/>
                      <a:pt x="157448" y="129350"/>
                      <a:pt x="157448" y="95726"/>
                    </a:cubicBezTo>
                    <a:cubicBezTo>
                      <a:pt x="157448" y="62103"/>
                      <a:pt x="142208" y="49149"/>
                      <a:pt x="105537" y="49149"/>
                    </a:cubicBezTo>
                    <a:lnTo>
                      <a:pt x="67532" y="49149"/>
                    </a:lnTo>
                    <a:lnTo>
                      <a:pt x="67532" y="145447"/>
                    </a:lnTo>
                    <a:lnTo>
                      <a:pt x="106013" y="145447"/>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5" name="Freeform: Shape 274">
                <a:extLst>
                  <a:ext uri="{FF2B5EF4-FFF2-40B4-BE49-F238E27FC236}">
                    <a16:creationId xmlns:a16="http://schemas.microsoft.com/office/drawing/2014/main" id="{DA876E0A-80D4-4D75-9CC7-7835259C4C4F}"/>
                  </a:ext>
                </a:extLst>
              </p:cNvPr>
              <p:cNvSpPr/>
              <p:nvPr/>
            </p:nvSpPr>
            <p:spPr>
              <a:xfrm>
                <a:off x="5764244" y="3272598"/>
                <a:ext cx="255555" cy="310133"/>
              </a:xfrm>
              <a:custGeom>
                <a:avLst/>
                <a:gdLst>
                  <a:gd name="connsiteX0" fmla="*/ 95 w 255555"/>
                  <a:gd name="connsiteY0" fmla="*/ 0 h 310133"/>
                  <a:gd name="connsiteX1" fmla="*/ 68580 w 255555"/>
                  <a:gd name="connsiteY1" fmla="*/ 0 h 310133"/>
                  <a:gd name="connsiteX2" fmla="*/ 68580 w 255555"/>
                  <a:gd name="connsiteY2" fmla="*/ 153543 h 310133"/>
                  <a:gd name="connsiteX3" fmla="*/ 179070 w 255555"/>
                  <a:gd name="connsiteY3" fmla="*/ 0 h 310133"/>
                  <a:gd name="connsiteX4" fmla="*/ 249365 w 255555"/>
                  <a:gd name="connsiteY4" fmla="*/ 0 h 310133"/>
                  <a:gd name="connsiteX5" fmla="*/ 141923 w 255555"/>
                  <a:gd name="connsiteY5" fmla="*/ 146780 h 310133"/>
                  <a:gd name="connsiteX6" fmla="*/ 255556 w 255555"/>
                  <a:gd name="connsiteY6" fmla="*/ 310134 h 310133"/>
                  <a:gd name="connsiteX7" fmla="*/ 178118 w 255555"/>
                  <a:gd name="connsiteY7" fmla="*/ 310134 h 310133"/>
                  <a:gd name="connsiteX8" fmla="*/ 68485 w 255555"/>
                  <a:gd name="connsiteY8" fmla="*/ 153543 h 310133"/>
                  <a:gd name="connsiteX9" fmla="*/ 68485 w 255555"/>
                  <a:gd name="connsiteY9" fmla="*/ 310134 h 310133"/>
                  <a:gd name="connsiteX10" fmla="*/ 0 w 255555"/>
                  <a:gd name="connsiteY10" fmla="*/ 310134 h 310133"/>
                  <a:gd name="connsiteX11" fmla="*/ 0 w 255555"/>
                  <a:gd name="connsiteY11" fmla="*/ 0 h 310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5555" h="310133">
                    <a:moveTo>
                      <a:pt x="95" y="0"/>
                    </a:moveTo>
                    <a:lnTo>
                      <a:pt x="68580" y="0"/>
                    </a:lnTo>
                    <a:lnTo>
                      <a:pt x="68580" y="153543"/>
                    </a:lnTo>
                    <a:lnTo>
                      <a:pt x="179070" y="0"/>
                    </a:lnTo>
                    <a:lnTo>
                      <a:pt x="249365" y="0"/>
                    </a:lnTo>
                    <a:lnTo>
                      <a:pt x="141923" y="146780"/>
                    </a:lnTo>
                    <a:lnTo>
                      <a:pt x="255556" y="310134"/>
                    </a:lnTo>
                    <a:lnTo>
                      <a:pt x="178118" y="310134"/>
                    </a:lnTo>
                    <a:lnTo>
                      <a:pt x="68485" y="153543"/>
                    </a:lnTo>
                    <a:lnTo>
                      <a:pt x="68485" y="310134"/>
                    </a:lnTo>
                    <a:lnTo>
                      <a:pt x="0" y="310134"/>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6" name="Freeform: Shape 275">
                <a:extLst>
                  <a:ext uri="{FF2B5EF4-FFF2-40B4-BE49-F238E27FC236}">
                    <a16:creationId xmlns:a16="http://schemas.microsoft.com/office/drawing/2014/main" id="{41D50383-2FC9-47A0-9ABC-E5E5CB87140D}"/>
                  </a:ext>
                </a:extLst>
              </p:cNvPr>
              <p:cNvSpPr/>
              <p:nvPr/>
            </p:nvSpPr>
            <p:spPr>
              <a:xfrm>
                <a:off x="6097619" y="3273265"/>
                <a:ext cx="101631" cy="126206"/>
              </a:xfrm>
              <a:custGeom>
                <a:avLst/>
                <a:gdLst>
                  <a:gd name="connsiteX0" fmla="*/ 47911 w 101631"/>
                  <a:gd name="connsiteY0" fmla="*/ 0 h 126206"/>
                  <a:gd name="connsiteX1" fmla="*/ 53721 w 101631"/>
                  <a:gd name="connsiteY1" fmla="*/ 0 h 126206"/>
                  <a:gd name="connsiteX2" fmla="*/ 101632 w 101631"/>
                  <a:gd name="connsiteY2" fmla="*/ 126206 h 126206"/>
                  <a:gd name="connsiteX3" fmla="*/ 95250 w 101631"/>
                  <a:gd name="connsiteY3" fmla="*/ 126206 h 126206"/>
                  <a:gd name="connsiteX4" fmla="*/ 79058 w 101631"/>
                  <a:gd name="connsiteY4" fmla="*/ 83249 h 126206"/>
                  <a:gd name="connsiteX5" fmla="*/ 22003 w 101631"/>
                  <a:gd name="connsiteY5" fmla="*/ 83249 h 126206"/>
                  <a:gd name="connsiteX6" fmla="*/ 5810 w 101631"/>
                  <a:gd name="connsiteY6" fmla="*/ 126206 h 126206"/>
                  <a:gd name="connsiteX7" fmla="*/ 0 w 101631"/>
                  <a:gd name="connsiteY7" fmla="*/ 126206 h 126206"/>
                  <a:gd name="connsiteX8" fmla="*/ 47911 w 101631"/>
                  <a:gd name="connsiteY8" fmla="*/ 0 h 126206"/>
                  <a:gd name="connsiteX9" fmla="*/ 24003 w 101631"/>
                  <a:gd name="connsiteY9" fmla="*/ 78010 h 126206"/>
                  <a:gd name="connsiteX10" fmla="*/ 77057 w 101631"/>
                  <a:gd name="connsiteY10" fmla="*/ 78010 h 126206"/>
                  <a:gd name="connsiteX11" fmla="*/ 50863 w 101631"/>
                  <a:gd name="connsiteY11" fmla="*/ 8382 h 126206"/>
                  <a:gd name="connsiteX12" fmla="*/ 50483 w 101631"/>
                  <a:gd name="connsiteY12" fmla="*/ 8382 h 126206"/>
                  <a:gd name="connsiteX13" fmla="*/ 24098 w 101631"/>
                  <a:gd name="connsiteY13" fmla="*/ 7801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631" h="126206">
                    <a:moveTo>
                      <a:pt x="47911" y="0"/>
                    </a:moveTo>
                    <a:lnTo>
                      <a:pt x="53721" y="0"/>
                    </a:lnTo>
                    <a:lnTo>
                      <a:pt x="101632" y="126206"/>
                    </a:lnTo>
                    <a:lnTo>
                      <a:pt x="95250" y="126206"/>
                    </a:lnTo>
                    <a:lnTo>
                      <a:pt x="79058" y="83249"/>
                    </a:lnTo>
                    <a:lnTo>
                      <a:pt x="22003" y="83249"/>
                    </a:lnTo>
                    <a:lnTo>
                      <a:pt x="5810" y="126206"/>
                    </a:lnTo>
                    <a:lnTo>
                      <a:pt x="0" y="126206"/>
                    </a:lnTo>
                    <a:lnTo>
                      <a:pt x="47911" y="0"/>
                    </a:lnTo>
                    <a:close/>
                    <a:moveTo>
                      <a:pt x="24003" y="78010"/>
                    </a:moveTo>
                    <a:lnTo>
                      <a:pt x="77057" y="78010"/>
                    </a:lnTo>
                    <a:lnTo>
                      <a:pt x="50863" y="8382"/>
                    </a:lnTo>
                    <a:lnTo>
                      <a:pt x="50483" y="8382"/>
                    </a:lnTo>
                    <a:lnTo>
                      <a:pt x="24098" y="780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7" name="Freeform: Shape 276">
                <a:extLst>
                  <a:ext uri="{FF2B5EF4-FFF2-40B4-BE49-F238E27FC236}">
                    <a16:creationId xmlns:a16="http://schemas.microsoft.com/office/drawing/2014/main" id="{4468AE0E-B31E-4F0B-9649-4B40D7600F4A}"/>
                  </a:ext>
                </a:extLst>
              </p:cNvPr>
              <p:cNvSpPr/>
              <p:nvPr/>
            </p:nvSpPr>
            <p:spPr>
              <a:xfrm>
                <a:off x="6225730" y="3273265"/>
                <a:ext cx="80962" cy="126301"/>
              </a:xfrm>
              <a:custGeom>
                <a:avLst/>
                <a:gdLst>
                  <a:gd name="connsiteX0" fmla="*/ 95 w 80962"/>
                  <a:gd name="connsiteY0" fmla="*/ 0 h 126301"/>
                  <a:gd name="connsiteX1" fmla="*/ 34004 w 80962"/>
                  <a:gd name="connsiteY1" fmla="*/ 0 h 126301"/>
                  <a:gd name="connsiteX2" fmla="*/ 72962 w 80962"/>
                  <a:gd name="connsiteY2" fmla="*/ 33338 h 126301"/>
                  <a:gd name="connsiteX3" fmla="*/ 44196 w 80962"/>
                  <a:gd name="connsiteY3" fmla="*/ 67056 h 126301"/>
                  <a:gd name="connsiteX4" fmla="*/ 44196 w 80962"/>
                  <a:gd name="connsiteY4" fmla="*/ 67437 h 126301"/>
                  <a:gd name="connsiteX5" fmla="*/ 80963 w 80962"/>
                  <a:gd name="connsiteY5" fmla="*/ 126302 h 126301"/>
                  <a:gd name="connsiteX6" fmla="*/ 74200 w 80962"/>
                  <a:gd name="connsiteY6" fmla="*/ 126302 h 126301"/>
                  <a:gd name="connsiteX7" fmla="*/ 38100 w 80962"/>
                  <a:gd name="connsiteY7" fmla="*/ 68390 h 126301"/>
                  <a:gd name="connsiteX8" fmla="*/ 6001 w 80962"/>
                  <a:gd name="connsiteY8" fmla="*/ 68390 h 126301"/>
                  <a:gd name="connsiteX9" fmla="*/ 6001 w 80962"/>
                  <a:gd name="connsiteY9" fmla="*/ 126302 h 126301"/>
                  <a:gd name="connsiteX10" fmla="*/ 0 w 80962"/>
                  <a:gd name="connsiteY10" fmla="*/ 126302 h 126301"/>
                  <a:gd name="connsiteX11" fmla="*/ 0 w 80962"/>
                  <a:gd name="connsiteY11" fmla="*/ 0 h 126301"/>
                  <a:gd name="connsiteX12" fmla="*/ 34195 w 80962"/>
                  <a:gd name="connsiteY12" fmla="*/ 63246 h 126301"/>
                  <a:gd name="connsiteX13" fmla="*/ 66770 w 80962"/>
                  <a:gd name="connsiteY13" fmla="*/ 33338 h 126301"/>
                  <a:gd name="connsiteX14" fmla="*/ 33814 w 80962"/>
                  <a:gd name="connsiteY14" fmla="*/ 5144 h 126301"/>
                  <a:gd name="connsiteX15" fmla="*/ 6096 w 80962"/>
                  <a:gd name="connsiteY15" fmla="*/ 5144 h 126301"/>
                  <a:gd name="connsiteX16" fmla="*/ 6096 w 80962"/>
                  <a:gd name="connsiteY16" fmla="*/ 63246 h 126301"/>
                  <a:gd name="connsiteX17" fmla="*/ 34100 w 80962"/>
                  <a:gd name="connsiteY17" fmla="*/ 63246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62" h="126301">
                    <a:moveTo>
                      <a:pt x="95" y="0"/>
                    </a:moveTo>
                    <a:lnTo>
                      <a:pt x="34004" y="0"/>
                    </a:lnTo>
                    <a:cubicBezTo>
                      <a:pt x="62198" y="0"/>
                      <a:pt x="72962" y="14192"/>
                      <a:pt x="72962" y="33338"/>
                    </a:cubicBezTo>
                    <a:cubicBezTo>
                      <a:pt x="72962" y="51149"/>
                      <a:pt x="64961" y="63437"/>
                      <a:pt x="44196" y="67056"/>
                    </a:cubicBezTo>
                    <a:lnTo>
                      <a:pt x="44196" y="67437"/>
                    </a:lnTo>
                    <a:lnTo>
                      <a:pt x="80963" y="126302"/>
                    </a:lnTo>
                    <a:lnTo>
                      <a:pt x="74200" y="126302"/>
                    </a:lnTo>
                    <a:lnTo>
                      <a:pt x="38100" y="68390"/>
                    </a:lnTo>
                    <a:lnTo>
                      <a:pt x="6001" y="68390"/>
                    </a:lnTo>
                    <a:lnTo>
                      <a:pt x="6001" y="126302"/>
                    </a:lnTo>
                    <a:lnTo>
                      <a:pt x="0" y="126302"/>
                    </a:lnTo>
                    <a:lnTo>
                      <a:pt x="0" y="0"/>
                    </a:lnTo>
                    <a:close/>
                    <a:moveTo>
                      <a:pt x="34195" y="63246"/>
                    </a:moveTo>
                    <a:cubicBezTo>
                      <a:pt x="59341" y="63246"/>
                      <a:pt x="66770" y="49911"/>
                      <a:pt x="66770" y="33338"/>
                    </a:cubicBezTo>
                    <a:cubicBezTo>
                      <a:pt x="66770" y="16764"/>
                      <a:pt x="58388" y="5144"/>
                      <a:pt x="33814" y="5144"/>
                    </a:cubicBezTo>
                    <a:lnTo>
                      <a:pt x="6096" y="5144"/>
                    </a:lnTo>
                    <a:lnTo>
                      <a:pt x="6096" y="63246"/>
                    </a:lnTo>
                    <a:lnTo>
                      <a:pt x="34100" y="6324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8" name="Freeform: Shape 277">
                <a:extLst>
                  <a:ext uri="{FF2B5EF4-FFF2-40B4-BE49-F238E27FC236}">
                    <a16:creationId xmlns:a16="http://schemas.microsoft.com/office/drawing/2014/main" id="{FA7B3E1D-6A11-4D10-9EDF-B18FC21839E5}"/>
                  </a:ext>
                </a:extLst>
              </p:cNvPr>
              <p:cNvSpPr/>
              <p:nvPr/>
            </p:nvSpPr>
            <p:spPr>
              <a:xfrm>
                <a:off x="6326028" y="3271837"/>
                <a:ext cx="86391" cy="129159"/>
              </a:xfrm>
              <a:custGeom>
                <a:avLst/>
                <a:gdLst>
                  <a:gd name="connsiteX0" fmla="*/ 0 w 86391"/>
                  <a:gd name="connsiteY0" fmla="*/ 65627 h 129159"/>
                  <a:gd name="connsiteX1" fmla="*/ 0 w 86391"/>
                  <a:gd name="connsiteY1" fmla="*/ 63246 h 129159"/>
                  <a:gd name="connsiteX2" fmla="*/ 54864 w 86391"/>
                  <a:gd name="connsiteY2" fmla="*/ 0 h 129159"/>
                  <a:gd name="connsiteX3" fmla="*/ 85439 w 86391"/>
                  <a:gd name="connsiteY3" fmla="*/ 6953 h 129159"/>
                  <a:gd name="connsiteX4" fmla="*/ 85439 w 86391"/>
                  <a:gd name="connsiteY4" fmla="*/ 12097 h 129159"/>
                  <a:gd name="connsiteX5" fmla="*/ 54674 w 86391"/>
                  <a:gd name="connsiteY5" fmla="*/ 5144 h 129159"/>
                  <a:gd name="connsiteX6" fmla="*/ 6191 w 86391"/>
                  <a:gd name="connsiteY6" fmla="*/ 62389 h 129159"/>
                  <a:gd name="connsiteX7" fmla="*/ 6191 w 86391"/>
                  <a:gd name="connsiteY7" fmla="*/ 65818 h 129159"/>
                  <a:gd name="connsiteX8" fmla="*/ 52864 w 86391"/>
                  <a:gd name="connsiteY8" fmla="*/ 124111 h 129159"/>
                  <a:gd name="connsiteX9" fmla="*/ 86392 w 86391"/>
                  <a:gd name="connsiteY9" fmla="*/ 115538 h 129159"/>
                  <a:gd name="connsiteX10" fmla="*/ 86392 w 86391"/>
                  <a:gd name="connsiteY10" fmla="*/ 120968 h 129159"/>
                  <a:gd name="connsiteX11" fmla="*/ 52292 w 86391"/>
                  <a:gd name="connsiteY11" fmla="*/ 129159 h 129159"/>
                  <a:gd name="connsiteX12" fmla="*/ 0 w 86391"/>
                  <a:gd name="connsiteY12" fmla="*/ 65532 h 12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391" h="129159">
                    <a:moveTo>
                      <a:pt x="0" y="65627"/>
                    </a:moveTo>
                    <a:lnTo>
                      <a:pt x="0" y="63246"/>
                    </a:lnTo>
                    <a:cubicBezTo>
                      <a:pt x="0" y="21336"/>
                      <a:pt x="20574" y="0"/>
                      <a:pt x="54864" y="0"/>
                    </a:cubicBezTo>
                    <a:cubicBezTo>
                      <a:pt x="69628" y="0"/>
                      <a:pt x="78200" y="2953"/>
                      <a:pt x="85439" y="6953"/>
                    </a:cubicBezTo>
                    <a:lnTo>
                      <a:pt x="85439" y="12097"/>
                    </a:lnTo>
                    <a:cubicBezTo>
                      <a:pt x="77438" y="8287"/>
                      <a:pt x="68485" y="5144"/>
                      <a:pt x="54674" y="5144"/>
                    </a:cubicBezTo>
                    <a:cubicBezTo>
                      <a:pt x="24098" y="5144"/>
                      <a:pt x="6191" y="23908"/>
                      <a:pt x="6191" y="62389"/>
                    </a:cubicBezTo>
                    <a:lnTo>
                      <a:pt x="6191" y="65818"/>
                    </a:lnTo>
                    <a:cubicBezTo>
                      <a:pt x="6191" y="103918"/>
                      <a:pt x="20574" y="124111"/>
                      <a:pt x="52864" y="124111"/>
                    </a:cubicBezTo>
                    <a:cubicBezTo>
                      <a:pt x="69818" y="124111"/>
                      <a:pt x="78581" y="119729"/>
                      <a:pt x="86392" y="115538"/>
                    </a:cubicBezTo>
                    <a:lnTo>
                      <a:pt x="86392" y="120968"/>
                    </a:lnTo>
                    <a:cubicBezTo>
                      <a:pt x="79629" y="124587"/>
                      <a:pt x="70199" y="129159"/>
                      <a:pt x="52292" y="129159"/>
                    </a:cubicBezTo>
                    <a:cubicBezTo>
                      <a:pt x="17336" y="129159"/>
                      <a:pt x="0" y="106775"/>
                      <a:pt x="0" y="65532"/>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9" name="Freeform: Shape 278">
                <a:extLst>
                  <a:ext uri="{FF2B5EF4-FFF2-40B4-BE49-F238E27FC236}">
                    <a16:creationId xmlns:a16="http://schemas.microsoft.com/office/drawing/2014/main" id="{020D1079-7E48-4C19-BABE-BEA07915CD55}"/>
                  </a:ext>
                </a:extLst>
              </p:cNvPr>
              <p:cNvSpPr/>
              <p:nvPr/>
            </p:nvSpPr>
            <p:spPr>
              <a:xfrm>
                <a:off x="6441948" y="3273265"/>
                <a:ext cx="88296" cy="126301"/>
              </a:xfrm>
              <a:custGeom>
                <a:avLst/>
                <a:gdLst>
                  <a:gd name="connsiteX0" fmla="*/ 0 w 88296"/>
                  <a:gd name="connsiteY0" fmla="*/ 0 h 126301"/>
                  <a:gd name="connsiteX1" fmla="*/ 6001 w 88296"/>
                  <a:gd name="connsiteY1" fmla="*/ 0 h 126301"/>
                  <a:gd name="connsiteX2" fmla="*/ 6001 w 88296"/>
                  <a:gd name="connsiteY2" fmla="*/ 57912 h 126301"/>
                  <a:gd name="connsiteX3" fmla="*/ 82296 w 88296"/>
                  <a:gd name="connsiteY3" fmla="*/ 57912 h 126301"/>
                  <a:gd name="connsiteX4" fmla="*/ 82296 w 88296"/>
                  <a:gd name="connsiteY4" fmla="*/ 0 h 126301"/>
                  <a:gd name="connsiteX5" fmla="*/ 88297 w 88296"/>
                  <a:gd name="connsiteY5" fmla="*/ 0 h 126301"/>
                  <a:gd name="connsiteX6" fmla="*/ 88297 w 88296"/>
                  <a:gd name="connsiteY6" fmla="*/ 126302 h 126301"/>
                  <a:gd name="connsiteX7" fmla="*/ 82296 w 88296"/>
                  <a:gd name="connsiteY7" fmla="*/ 126302 h 126301"/>
                  <a:gd name="connsiteX8" fmla="*/ 82296 w 88296"/>
                  <a:gd name="connsiteY8" fmla="*/ 63246 h 126301"/>
                  <a:gd name="connsiteX9" fmla="*/ 6001 w 88296"/>
                  <a:gd name="connsiteY9" fmla="*/ 63246 h 126301"/>
                  <a:gd name="connsiteX10" fmla="*/ 6001 w 88296"/>
                  <a:gd name="connsiteY10" fmla="*/ 126302 h 126301"/>
                  <a:gd name="connsiteX11" fmla="*/ 0 w 88296"/>
                  <a:gd name="connsiteY11" fmla="*/ 126302 h 126301"/>
                  <a:gd name="connsiteX12" fmla="*/ 0 w 88296"/>
                  <a:gd name="connsiteY12"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96" h="126301">
                    <a:moveTo>
                      <a:pt x="0" y="0"/>
                    </a:moveTo>
                    <a:lnTo>
                      <a:pt x="6001" y="0"/>
                    </a:lnTo>
                    <a:lnTo>
                      <a:pt x="6001" y="57912"/>
                    </a:lnTo>
                    <a:lnTo>
                      <a:pt x="82296" y="57912"/>
                    </a:lnTo>
                    <a:lnTo>
                      <a:pt x="82296" y="0"/>
                    </a:lnTo>
                    <a:lnTo>
                      <a:pt x="88297" y="0"/>
                    </a:lnTo>
                    <a:lnTo>
                      <a:pt x="88297" y="126302"/>
                    </a:lnTo>
                    <a:lnTo>
                      <a:pt x="82296" y="126302"/>
                    </a:lnTo>
                    <a:lnTo>
                      <a:pt x="82296" y="63246"/>
                    </a:lnTo>
                    <a:lnTo>
                      <a:pt x="6001" y="63246"/>
                    </a:lnTo>
                    <a:lnTo>
                      <a:pt x="6001"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0" name="Freeform: Shape 279">
                <a:extLst>
                  <a:ext uri="{FF2B5EF4-FFF2-40B4-BE49-F238E27FC236}">
                    <a16:creationId xmlns:a16="http://schemas.microsoft.com/office/drawing/2014/main" id="{D86F999C-098C-41E0-B8BE-7C9795F83BBB}"/>
                  </a:ext>
                </a:extLst>
              </p:cNvPr>
              <p:cNvSpPr/>
              <p:nvPr/>
            </p:nvSpPr>
            <p:spPr>
              <a:xfrm>
                <a:off x="6568154" y="3273265"/>
                <a:ext cx="6000" cy="126301"/>
              </a:xfrm>
              <a:custGeom>
                <a:avLst/>
                <a:gdLst>
                  <a:gd name="connsiteX0" fmla="*/ 0 w 6000"/>
                  <a:gd name="connsiteY0" fmla="*/ 0 h 126301"/>
                  <a:gd name="connsiteX1" fmla="*/ 6001 w 6000"/>
                  <a:gd name="connsiteY1" fmla="*/ 0 h 126301"/>
                  <a:gd name="connsiteX2" fmla="*/ 6001 w 6000"/>
                  <a:gd name="connsiteY2" fmla="*/ 126302 h 126301"/>
                  <a:gd name="connsiteX3" fmla="*/ 0 w 6000"/>
                  <a:gd name="connsiteY3" fmla="*/ 126302 h 126301"/>
                  <a:gd name="connsiteX4" fmla="*/ 0 w 6000"/>
                  <a:gd name="connsiteY4" fmla="*/ 0 h 126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301">
                    <a:moveTo>
                      <a:pt x="0" y="0"/>
                    </a:moveTo>
                    <a:lnTo>
                      <a:pt x="6001" y="0"/>
                    </a:lnTo>
                    <a:lnTo>
                      <a:pt x="6001"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1" name="Freeform: Shape 280">
                <a:extLst>
                  <a:ext uri="{FF2B5EF4-FFF2-40B4-BE49-F238E27FC236}">
                    <a16:creationId xmlns:a16="http://schemas.microsoft.com/office/drawing/2014/main" id="{8D3586D3-98A0-4AFE-8A63-8D5E33D2D945}"/>
                  </a:ext>
                </a:extLst>
              </p:cNvPr>
              <p:cNvSpPr/>
              <p:nvPr/>
            </p:nvSpPr>
            <p:spPr>
              <a:xfrm>
                <a:off x="6601205" y="3273265"/>
                <a:ext cx="92868" cy="126301"/>
              </a:xfrm>
              <a:custGeom>
                <a:avLst/>
                <a:gdLst>
                  <a:gd name="connsiteX0" fmla="*/ 43529 w 92868"/>
                  <a:gd name="connsiteY0" fmla="*/ 5144 h 126301"/>
                  <a:gd name="connsiteX1" fmla="*/ 0 w 92868"/>
                  <a:gd name="connsiteY1" fmla="*/ 5144 h 126301"/>
                  <a:gd name="connsiteX2" fmla="*/ 0 w 92868"/>
                  <a:gd name="connsiteY2" fmla="*/ 0 h 126301"/>
                  <a:gd name="connsiteX3" fmla="*/ 92869 w 92868"/>
                  <a:gd name="connsiteY3" fmla="*/ 0 h 126301"/>
                  <a:gd name="connsiteX4" fmla="*/ 92869 w 92868"/>
                  <a:gd name="connsiteY4" fmla="*/ 5144 h 126301"/>
                  <a:gd name="connsiteX5" fmla="*/ 49340 w 92868"/>
                  <a:gd name="connsiteY5" fmla="*/ 5144 h 126301"/>
                  <a:gd name="connsiteX6" fmla="*/ 49340 w 92868"/>
                  <a:gd name="connsiteY6" fmla="*/ 126302 h 126301"/>
                  <a:gd name="connsiteX7" fmla="*/ 43529 w 92868"/>
                  <a:gd name="connsiteY7" fmla="*/ 126302 h 126301"/>
                  <a:gd name="connsiteX8" fmla="*/ 43529 w 92868"/>
                  <a:gd name="connsiteY8" fmla="*/ 5144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4"/>
                    </a:moveTo>
                    <a:lnTo>
                      <a:pt x="0" y="5144"/>
                    </a:lnTo>
                    <a:lnTo>
                      <a:pt x="0" y="0"/>
                    </a:lnTo>
                    <a:lnTo>
                      <a:pt x="92869" y="0"/>
                    </a:lnTo>
                    <a:lnTo>
                      <a:pt x="92869" y="5144"/>
                    </a:lnTo>
                    <a:lnTo>
                      <a:pt x="49340" y="5144"/>
                    </a:lnTo>
                    <a:lnTo>
                      <a:pt x="49340" y="126302"/>
                    </a:lnTo>
                    <a:lnTo>
                      <a:pt x="43529" y="126302"/>
                    </a:lnTo>
                    <a:lnTo>
                      <a:pt x="43529" y="51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2" name="Freeform: Shape 281">
                <a:extLst>
                  <a:ext uri="{FF2B5EF4-FFF2-40B4-BE49-F238E27FC236}">
                    <a16:creationId xmlns:a16="http://schemas.microsoft.com/office/drawing/2014/main" id="{343F5280-B399-4CD9-B34C-4B95761812B8}"/>
                  </a:ext>
                </a:extLst>
              </p:cNvPr>
              <p:cNvSpPr/>
              <p:nvPr/>
            </p:nvSpPr>
            <p:spPr>
              <a:xfrm>
                <a:off x="6720840" y="3273265"/>
                <a:ext cx="73247" cy="126301"/>
              </a:xfrm>
              <a:custGeom>
                <a:avLst/>
                <a:gdLst>
                  <a:gd name="connsiteX0" fmla="*/ 0 w 73247"/>
                  <a:gd name="connsiteY0" fmla="*/ 0 h 126301"/>
                  <a:gd name="connsiteX1" fmla="*/ 73057 w 73247"/>
                  <a:gd name="connsiteY1" fmla="*/ 0 h 126301"/>
                  <a:gd name="connsiteX2" fmla="*/ 73057 w 73247"/>
                  <a:gd name="connsiteY2" fmla="*/ 5144 h 126301"/>
                  <a:gd name="connsiteX3" fmla="*/ 6001 w 73247"/>
                  <a:gd name="connsiteY3" fmla="*/ 5144 h 126301"/>
                  <a:gd name="connsiteX4" fmla="*/ 6001 w 73247"/>
                  <a:gd name="connsiteY4" fmla="*/ 58865 h 126301"/>
                  <a:gd name="connsiteX5" fmla="*/ 57531 w 73247"/>
                  <a:gd name="connsiteY5" fmla="*/ 58865 h 126301"/>
                  <a:gd name="connsiteX6" fmla="*/ 57531 w 73247"/>
                  <a:gd name="connsiteY6" fmla="*/ 64103 h 126301"/>
                  <a:gd name="connsiteX7" fmla="*/ 6001 w 73247"/>
                  <a:gd name="connsiteY7" fmla="*/ 64103 h 126301"/>
                  <a:gd name="connsiteX8" fmla="*/ 6001 w 73247"/>
                  <a:gd name="connsiteY8" fmla="*/ 121158 h 126301"/>
                  <a:gd name="connsiteX9" fmla="*/ 73247 w 73247"/>
                  <a:gd name="connsiteY9" fmla="*/ 121158 h 126301"/>
                  <a:gd name="connsiteX10" fmla="*/ 73247 w 73247"/>
                  <a:gd name="connsiteY10" fmla="*/ 126302 h 126301"/>
                  <a:gd name="connsiteX11" fmla="*/ 0 w 73247"/>
                  <a:gd name="connsiteY11" fmla="*/ 126302 h 126301"/>
                  <a:gd name="connsiteX12" fmla="*/ 0 w 73247"/>
                  <a:gd name="connsiteY12"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247" h="126301">
                    <a:moveTo>
                      <a:pt x="0" y="0"/>
                    </a:moveTo>
                    <a:lnTo>
                      <a:pt x="73057" y="0"/>
                    </a:lnTo>
                    <a:lnTo>
                      <a:pt x="73057" y="5144"/>
                    </a:lnTo>
                    <a:lnTo>
                      <a:pt x="6001" y="5144"/>
                    </a:lnTo>
                    <a:lnTo>
                      <a:pt x="6001" y="58865"/>
                    </a:lnTo>
                    <a:lnTo>
                      <a:pt x="57531" y="58865"/>
                    </a:lnTo>
                    <a:lnTo>
                      <a:pt x="57531" y="64103"/>
                    </a:lnTo>
                    <a:lnTo>
                      <a:pt x="6001" y="64103"/>
                    </a:lnTo>
                    <a:lnTo>
                      <a:pt x="6001" y="121158"/>
                    </a:lnTo>
                    <a:lnTo>
                      <a:pt x="73247" y="121158"/>
                    </a:lnTo>
                    <a:lnTo>
                      <a:pt x="73247"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3" name="Freeform: Shape 282">
                <a:extLst>
                  <a:ext uri="{FF2B5EF4-FFF2-40B4-BE49-F238E27FC236}">
                    <a16:creationId xmlns:a16="http://schemas.microsoft.com/office/drawing/2014/main" id="{FC581E89-1A98-464F-8049-ED4BF4EE0B13}"/>
                  </a:ext>
                </a:extLst>
              </p:cNvPr>
              <p:cNvSpPr/>
              <p:nvPr/>
            </p:nvSpPr>
            <p:spPr>
              <a:xfrm>
                <a:off x="6811422" y="3271837"/>
                <a:ext cx="86391" cy="129159"/>
              </a:xfrm>
              <a:custGeom>
                <a:avLst/>
                <a:gdLst>
                  <a:gd name="connsiteX0" fmla="*/ 0 w 86391"/>
                  <a:gd name="connsiteY0" fmla="*/ 65627 h 129159"/>
                  <a:gd name="connsiteX1" fmla="*/ 0 w 86391"/>
                  <a:gd name="connsiteY1" fmla="*/ 63246 h 129159"/>
                  <a:gd name="connsiteX2" fmla="*/ 54864 w 86391"/>
                  <a:gd name="connsiteY2" fmla="*/ 0 h 129159"/>
                  <a:gd name="connsiteX3" fmla="*/ 85439 w 86391"/>
                  <a:gd name="connsiteY3" fmla="*/ 6953 h 129159"/>
                  <a:gd name="connsiteX4" fmla="*/ 85439 w 86391"/>
                  <a:gd name="connsiteY4" fmla="*/ 12097 h 129159"/>
                  <a:gd name="connsiteX5" fmla="*/ 54674 w 86391"/>
                  <a:gd name="connsiteY5" fmla="*/ 5144 h 129159"/>
                  <a:gd name="connsiteX6" fmla="*/ 6191 w 86391"/>
                  <a:gd name="connsiteY6" fmla="*/ 62389 h 129159"/>
                  <a:gd name="connsiteX7" fmla="*/ 6191 w 86391"/>
                  <a:gd name="connsiteY7" fmla="*/ 65818 h 129159"/>
                  <a:gd name="connsiteX8" fmla="*/ 52864 w 86391"/>
                  <a:gd name="connsiteY8" fmla="*/ 124111 h 129159"/>
                  <a:gd name="connsiteX9" fmla="*/ 86392 w 86391"/>
                  <a:gd name="connsiteY9" fmla="*/ 115538 h 129159"/>
                  <a:gd name="connsiteX10" fmla="*/ 86392 w 86391"/>
                  <a:gd name="connsiteY10" fmla="*/ 120968 h 129159"/>
                  <a:gd name="connsiteX11" fmla="*/ 52292 w 86391"/>
                  <a:gd name="connsiteY11" fmla="*/ 129159 h 129159"/>
                  <a:gd name="connsiteX12" fmla="*/ 0 w 86391"/>
                  <a:gd name="connsiteY12" fmla="*/ 65532 h 129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391" h="129159">
                    <a:moveTo>
                      <a:pt x="0" y="65627"/>
                    </a:moveTo>
                    <a:lnTo>
                      <a:pt x="0" y="63246"/>
                    </a:lnTo>
                    <a:cubicBezTo>
                      <a:pt x="0" y="21336"/>
                      <a:pt x="20574" y="0"/>
                      <a:pt x="54864" y="0"/>
                    </a:cubicBezTo>
                    <a:cubicBezTo>
                      <a:pt x="69628" y="0"/>
                      <a:pt x="78200" y="2953"/>
                      <a:pt x="85439" y="6953"/>
                    </a:cubicBezTo>
                    <a:lnTo>
                      <a:pt x="85439" y="12097"/>
                    </a:lnTo>
                    <a:cubicBezTo>
                      <a:pt x="77438" y="8287"/>
                      <a:pt x="68485" y="5144"/>
                      <a:pt x="54674" y="5144"/>
                    </a:cubicBezTo>
                    <a:cubicBezTo>
                      <a:pt x="24098" y="5144"/>
                      <a:pt x="6191" y="23908"/>
                      <a:pt x="6191" y="62389"/>
                    </a:cubicBezTo>
                    <a:lnTo>
                      <a:pt x="6191" y="65818"/>
                    </a:lnTo>
                    <a:cubicBezTo>
                      <a:pt x="6191" y="103918"/>
                      <a:pt x="20574" y="124111"/>
                      <a:pt x="52864" y="124111"/>
                    </a:cubicBezTo>
                    <a:cubicBezTo>
                      <a:pt x="69818" y="124111"/>
                      <a:pt x="78581" y="119729"/>
                      <a:pt x="86392" y="115538"/>
                    </a:cubicBezTo>
                    <a:lnTo>
                      <a:pt x="86392" y="120968"/>
                    </a:lnTo>
                    <a:cubicBezTo>
                      <a:pt x="79629" y="124587"/>
                      <a:pt x="70199" y="129159"/>
                      <a:pt x="52292" y="129159"/>
                    </a:cubicBezTo>
                    <a:cubicBezTo>
                      <a:pt x="17335" y="129159"/>
                      <a:pt x="0" y="106775"/>
                      <a:pt x="0" y="65532"/>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4" name="Freeform: Shape 283">
                <a:extLst>
                  <a:ext uri="{FF2B5EF4-FFF2-40B4-BE49-F238E27FC236}">
                    <a16:creationId xmlns:a16="http://schemas.microsoft.com/office/drawing/2014/main" id="{0F586BE7-E578-4B26-B4A6-4D764CDC7F21}"/>
                  </a:ext>
                </a:extLst>
              </p:cNvPr>
              <p:cNvSpPr/>
              <p:nvPr/>
            </p:nvSpPr>
            <p:spPr>
              <a:xfrm>
                <a:off x="6921626" y="3273265"/>
                <a:ext cx="92868" cy="126301"/>
              </a:xfrm>
              <a:custGeom>
                <a:avLst/>
                <a:gdLst>
                  <a:gd name="connsiteX0" fmla="*/ 43529 w 92868"/>
                  <a:gd name="connsiteY0" fmla="*/ 5144 h 126301"/>
                  <a:gd name="connsiteX1" fmla="*/ 0 w 92868"/>
                  <a:gd name="connsiteY1" fmla="*/ 5144 h 126301"/>
                  <a:gd name="connsiteX2" fmla="*/ 0 w 92868"/>
                  <a:gd name="connsiteY2" fmla="*/ 0 h 126301"/>
                  <a:gd name="connsiteX3" fmla="*/ 92869 w 92868"/>
                  <a:gd name="connsiteY3" fmla="*/ 0 h 126301"/>
                  <a:gd name="connsiteX4" fmla="*/ 92869 w 92868"/>
                  <a:gd name="connsiteY4" fmla="*/ 5144 h 126301"/>
                  <a:gd name="connsiteX5" fmla="*/ 49340 w 92868"/>
                  <a:gd name="connsiteY5" fmla="*/ 5144 h 126301"/>
                  <a:gd name="connsiteX6" fmla="*/ 49340 w 92868"/>
                  <a:gd name="connsiteY6" fmla="*/ 126302 h 126301"/>
                  <a:gd name="connsiteX7" fmla="*/ 43529 w 92868"/>
                  <a:gd name="connsiteY7" fmla="*/ 126302 h 126301"/>
                  <a:gd name="connsiteX8" fmla="*/ 43529 w 92868"/>
                  <a:gd name="connsiteY8" fmla="*/ 5144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4"/>
                    </a:moveTo>
                    <a:lnTo>
                      <a:pt x="0" y="5144"/>
                    </a:lnTo>
                    <a:lnTo>
                      <a:pt x="0" y="0"/>
                    </a:lnTo>
                    <a:lnTo>
                      <a:pt x="92869" y="0"/>
                    </a:lnTo>
                    <a:lnTo>
                      <a:pt x="92869" y="5144"/>
                    </a:lnTo>
                    <a:lnTo>
                      <a:pt x="49340" y="5144"/>
                    </a:lnTo>
                    <a:lnTo>
                      <a:pt x="49340" y="126302"/>
                    </a:lnTo>
                    <a:lnTo>
                      <a:pt x="43529" y="126302"/>
                    </a:lnTo>
                    <a:lnTo>
                      <a:pt x="43529" y="5144"/>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5" name="Freeform: Shape 284">
                <a:extLst>
                  <a:ext uri="{FF2B5EF4-FFF2-40B4-BE49-F238E27FC236}">
                    <a16:creationId xmlns:a16="http://schemas.microsoft.com/office/drawing/2014/main" id="{E1C1FBF9-84AD-4EDD-8C77-6D52ABAA25CE}"/>
                  </a:ext>
                </a:extLst>
              </p:cNvPr>
              <p:cNvSpPr/>
              <p:nvPr/>
            </p:nvSpPr>
            <p:spPr>
              <a:xfrm>
                <a:off x="7041165" y="3273265"/>
                <a:ext cx="88201" cy="127920"/>
              </a:xfrm>
              <a:custGeom>
                <a:avLst/>
                <a:gdLst>
                  <a:gd name="connsiteX0" fmla="*/ 0 w 88201"/>
                  <a:gd name="connsiteY0" fmla="*/ 84011 h 127920"/>
                  <a:gd name="connsiteX1" fmla="*/ 0 w 88201"/>
                  <a:gd name="connsiteY1" fmla="*/ 0 h 127920"/>
                  <a:gd name="connsiteX2" fmla="*/ 6001 w 88201"/>
                  <a:gd name="connsiteY2" fmla="*/ 0 h 127920"/>
                  <a:gd name="connsiteX3" fmla="*/ 6001 w 88201"/>
                  <a:gd name="connsiteY3" fmla="*/ 83630 h 127920"/>
                  <a:gd name="connsiteX4" fmla="*/ 44482 w 88201"/>
                  <a:gd name="connsiteY4" fmla="*/ 122777 h 127920"/>
                  <a:gd name="connsiteX5" fmla="*/ 82582 w 88201"/>
                  <a:gd name="connsiteY5" fmla="*/ 83630 h 127920"/>
                  <a:gd name="connsiteX6" fmla="*/ 82582 w 88201"/>
                  <a:gd name="connsiteY6" fmla="*/ 0 h 127920"/>
                  <a:gd name="connsiteX7" fmla="*/ 88202 w 88201"/>
                  <a:gd name="connsiteY7" fmla="*/ 0 h 127920"/>
                  <a:gd name="connsiteX8" fmla="*/ 88202 w 88201"/>
                  <a:gd name="connsiteY8" fmla="*/ 83820 h 127920"/>
                  <a:gd name="connsiteX9" fmla="*/ 44291 w 88201"/>
                  <a:gd name="connsiteY9" fmla="*/ 127921 h 127920"/>
                  <a:gd name="connsiteX10" fmla="*/ 0 w 88201"/>
                  <a:gd name="connsiteY10" fmla="*/ 84011 h 12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201" h="127920">
                    <a:moveTo>
                      <a:pt x="0" y="84011"/>
                    </a:moveTo>
                    <a:lnTo>
                      <a:pt x="0" y="0"/>
                    </a:lnTo>
                    <a:lnTo>
                      <a:pt x="6001" y="0"/>
                    </a:lnTo>
                    <a:lnTo>
                      <a:pt x="6001" y="83630"/>
                    </a:lnTo>
                    <a:cubicBezTo>
                      <a:pt x="6001" y="112205"/>
                      <a:pt x="20003" y="122777"/>
                      <a:pt x="44482" y="122777"/>
                    </a:cubicBezTo>
                    <a:cubicBezTo>
                      <a:pt x="68961" y="122777"/>
                      <a:pt x="82582" y="112395"/>
                      <a:pt x="82582" y="83630"/>
                    </a:cubicBezTo>
                    <a:lnTo>
                      <a:pt x="82582" y="0"/>
                    </a:lnTo>
                    <a:lnTo>
                      <a:pt x="88202" y="0"/>
                    </a:lnTo>
                    <a:lnTo>
                      <a:pt x="88202" y="83820"/>
                    </a:lnTo>
                    <a:cubicBezTo>
                      <a:pt x="88202" y="114586"/>
                      <a:pt x="72581" y="127921"/>
                      <a:pt x="44291" y="127921"/>
                    </a:cubicBezTo>
                    <a:cubicBezTo>
                      <a:pt x="16002" y="127921"/>
                      <a:pt x="0" y="114395"/>
                      <a:pt x="0" y="84011"/>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6" name="Freeform: Shape 285">
                <a:extLst>
                  <a:ext uri="{FF2B5EF4-FFF2-40B4-BE49-F238E27FC236}">
                    <a16:creationId xmlns:a16="http://schemas.microsoft.com/office/drawing/2014/main" id="{828B6F5B-B0B2-4231-B2AF-20E811BC7386}"/>
                  </a:ext>
                </a:extLst>
              </p:cNvPr>
              <p:cNvSpPr/>
              <p:nvPr/>
            </p:nvSpPr>
            <p:spPr>
              <a:xfrm>
                <a:off x="7166228" y="3273265"/>
                <a:ext cx="80962" cy="126301"/>
              </a:xfrm>
              <a:custGeom>
                <a:avLst/>
                <a:gdLst>
                  <a:gd name="connsiteX0" fmla="*/ 95 w 80962"/>
                  <a:gd name="connsiteY0" fmla="*/ 0 h 126301"/>
                  <a:gd name="connsiteX1" fmla="*/ 34004 w 80962"/>
                  <a:gd name="connsiteY1" fmla="*/ 0 h 126301"/>
                  <a:gd name="connsiteX2" fmla="*/ 72962 w 80962"/>
                  <a:gd name="connsiteY2" fmla="*/ 33338 h 126301"/>
                  <a:gd name="connsiteX3" fmla="*/ 44196 w 80962"/>
                  <a:gd name="connsiteY3" fmla="*/ 67056 h 126301"/>
                  <a:gd name="connsiteX4" fmla="*/ 44196 w 80962"/>
                  <a:gd name="connsiteY4" fmla="*/ 67437 h 126301"/>
                  <a:gd name="connsiteX5" fmla="*/ 80963 w 80962"/>
                  <a:gd name="connsiteY5" fmla="*/ 126302 h 126301"/>
                  <a:gd name="connsiteX6" fmla="*/ 74200 w 80962"/>
                  <a:gd name="connsiteY6" fmla="*/ 126302 h 126301"/>
                  <a:gd name="connsiteX7" fmla="*/ 38100 w 80962"/>
                  <a:gd name="connsiteY7" fmla="*/ 68390 h 126301"/>
                  <a:gd name="connsiteX8" fmla="*/ 6001 w 80962"/>
                  <a:gd name="connsiteY8" fmla="*/ 68390 h 126301"/>
                  <a:gd name="connsiteX9" fmla="*/ 6001 w 80962"/>
                  <a:gd name="connsiteY9" fmla="*/ 126302 h 126301"/>
                  <a:gd name="connsiteX10" fmla="*/ 0 w 80962"/>
                  <a:gd name="connsiteY10" fmla="*/ 126302 h 126301"/>
                  <a:gd name="connsiteX11" fmla="*/ 0 w 80962"/>
                  <a:gd name="connsiteY11" fmla="*/ 0 h 126301"/>
                  <a:gd name="connsiteX12" fmla="*/ 34195 w 80962"/>
                  <a:gd name="connsiteY12" fmla="*/ 63246 h 126301"/>
                  <a:gd name="connsiteX13" fmla="*/ 66770 w 80962"/>
                  <a:gd name="connsiteY13" fmla="*/ 33338 h 126301"/>
                  <a:gd name="connsiteX14" fmla="*/ 33814 w 80962"/>
                  <a:gd name="connsiteY14" fmla="*/ 5144 h 126301"/>
                  <a:gd name="connsiteX15" fmla="*/ 6096 w 80962"/>
                  <a:gd name="connsiteY15" fmla="*/ 5144 h 126301"/>
                  <a:gd name="connsiteX16" fmla="*/ 6096 w 80962"/>
                  <a:gd name="connsiteY16" fmla="*/ 63246 h 126301"/>
                  <a:gd name="connsiteX17" fmla="*/ 34100 w 80962"/>
                  <a:gd name="connsiteY17" fmla="*/ 63246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62" h="126301">
                    <a:moveTo>
                      <a:pt x="95" y="0"/>
                    </a:moveTo>
                    <a:lnTo>
                      <a:pt x="34004" y="0"/>
                    </a:lnTo>
                    <a:cubicBezTo>
                      <a:pt x="62199" y="0"/>
                      <a:pt x="72962" y="14192"/>
                      <a:pt x="72962" y="33338"/>
                    </a:cubicBezTo>
                    <a:cubicBezTo>
                      <a:pt x="72962" y="51149"/>
                      <a:pt x="64961" y="63437"/>
                      <a:pt x="44196" y="67056"/>
                    </a:cubicBezTo>
                    <a:lnTo>
                      <a:pt x="44196" y="67437"/>
                    </a:lnTo>
                    <a:lnTo>
                      <a:pt x="80963" y="126302"/>
                    </a:lnTo>
                    <a:lnTo>
                      <a:pt x="74200" y="126302"/>
                    </a:lnTo>
                    <a:lnTo>
                      <a:pt x="38100" y="68390"/>
                    </a:lnTo>
                    <a:lnTo>
                      <a:pt x="6001" y="68390"/>
                    </a:lnTo>
                    <a:lnTo>
                      <a:pt x="6001" y="126302"/>
                    </a:lnTo>
                    <a:lnTo>
                      <a:pt x="0" y="126302"/>
                    </a:lnTo>
                    <a:lnTo>
                      <a:pt x="0" y="0"/>
                    </a:lnTo>
                    <a:close/>
                    <a:moveTo>
                      <a:pt x="34195" y="63246"/>
                    </a:moveTo>
                    <a:cubicBezTo>
                      <a:pt x="59341" y="63246"/>
                      <a:pt x="66770" y="49911"/>
                      <a:pt x="66770" y="33338"/>
                    </a:cubicBezTo>
                    <a:cubicBezTo>
                      <a:pt x="66770" y="16764"/>
                      <a:pt x="58388" y="5144"/>
                      <a:pt x="33814" y="5144"/>
                    </a:cubicBezTo>
                    <a:lnTo>
                      <a:pt x="6096" y="5144"/>
                    </a:lnTo>
                    <a:lnTo>
                      <a:pt x="6096" y="63246"/>
                    </a:lnTo>
                    <a:lnTo>
                      <a:pt x="34100" y="63246"/>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7" name="Freeform: Shape 286">
                <a:extLst>
                  <a:ext uri="{FF2B5EF4-FFF2-40B4-BE49-F238E27FC236}">
                    <a16:creationId xmlns:a16="http://schemas.microsoft.com/office/drawing/2014/main" id="{B7FC879E-AAE1-4E62-AA01-9A102B20DF1B}"/>
                  </a:ext>
                </a:extLst>
              </p:cNvPr>
              <p:cNvSpPr/>
              <p:nvPr/>
            </p:nvSpPr>
            <p:spPr>
              <a:xfrm>
                <a:off x="7269194" y="3273265"/>
                <a:ext cx="101631" cy="126206"/>
              </a:xfrm>
              <a:custGeom>
                <a:avLst/>
                <a:gdLst>
                  <a:gd name="connsiteX0" fmla="*/ 47911 w 101631"/>
                  <a:gd name="connsiteY0" fmla="*/ 0 h 126206"/>
                  <a:gd name="connsiteX1" fmla="*/ 53721 w 101631"/>
                  <a:gd name="connsiteY1" fmla="*/ 0 h 126206"/>
                  <a:gd name="connsiteX2" fmla="*/ 101632 w 101631"/>
                  <a:gd name="connsiteY2" fmla="*/ 126206 h 126206"/>
                  <a:gd name="connsiteX3" fmla="*/ 95250 w 101631"/>
                  <a:gd name="connsiteY3" fmla="*/ 126206 h 126206"/>
                  <a:gd name="connsiteX4" fmla="*/ 79057 w 101631"/>
                  <a:gd name="connsiteY4" fmla="*/ 83249 h 126206"/>
                  <a:gd name="connsiteX5" fmla="*/ 22003 w 101631"/>
                  <a:gd name="connsiteY5" fmla="*/ 83249 h 126206"/>
                  <a:gd name="connsiteX6" fmla="*/ 5810 w 101631"/>
                  <a:gd name="connsiteY6" fmla="*/ 126206 h 126206"/>
                  <a:gd name="connsiteX7" fmla="*/ 0 w 101631"/>
                  <a:gd name="connsiteY7" fmla="*/ 126206 h 126206"/>
                  <a:gd name="connsiteX8" fmla="*/ 47911 w 101631"/>
                  <a:gd name="connsiteY8" fmla="*/ 0 h 126206"/>
                  <a:gd name="connsiteX9" fmla="*/ 24003 w 101631"/>
                  <a:gd name="connsiteY9" fmla="*/ 78010 h 126206"/>
                  <a:gd name="connsiteX10" fmla="*/ 77057 w 101631"/>
                  <a:gd name="connsiteY10" fmla="*/ 78010 h 126206"/>
                  <a:gd name="connsiteX11" fmla="*/ 50863 w 101631"/>
                  <a:gd name="connsiteY11" fmla="*/ 8382 h 126206"/>
                  <a:gd name="connsiteX12" fmla="*/ 50482 w 101631"/>
                  <a:gd name="connsiteY12" fmla="*/ 8382 h 126206"/>
                  <a:gd name="connsiteX13" fmla="*/ 24098 w 101631"/>
                  <a:gd name="connsiteY13" fmla="*/ 7801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631" h="126206">
                    <a:moveTo>
                      <a:pt x="47911" y="0"/>
                    </a:moveTo>
                    <a:lnTo>
                      <a:pt x="53721" y="0"/>
                    </a:lnTo>
                    <a:lnTo>
                      <a:pt x="101632" y="126206"/>
                    </a:lnTo>
                    <a:lnTo>
                      <a:pt x="95250" y="126206"/>
                    </a:lnTo>
                    <a:lnTo>
                      <a:pt x="79057" y="83249"/>
                    </a:lnTo>
                    <a:lnTo>
                      <a:pt x="22003" y="83249"/>
                    </a:lnTo>
                    <a:lnTo>
                      <a:pt x="5810" y="126206"/>
                    </a:lnTo>
                    <a:lnTo>
                      <a:pt x="0" y="126206"/>
                    </a:lnTo>
                    <a:lnTo>
                      <a:pt x="47911" y="0"/>
                    </a:lnTo>
                    <a:close/>
                    <a:moveTo>
                      <a:pt x="24003" y="78010"/>
                    </a:moveTo>
                    <a:lnTo>
                      <a:pt x="77057" y="78010"/>
                    </a:lnTo>
                    <a:lnTo>
                      <a:pt x="50863" y="8382"/>
                    </a:lnTo>
                    <a:lnTo>
                      <a:pt x="50482" y="8382"/>
                    </a:lnTo>
                    <a:lnTo>
                      <a:pt x="24098" y="7801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8" name="Freeform: Shape 287">
                <a:extLst>
                  <a:ext uri="{FF2B5EF4-FFF2-40B4-BE49-F238E27FC236}">
                    <a16:creationId xmlns:a16="http://schemas.microsoft.com/office/drawing/2014/main" id="{BD22D774-6523-467D-AE62-10188F8746A9}"/>
                  </a:ext>
                </a:extLst>
              </p:cNvPr>
              <p:cNvSpPr/>
              <p:nvPr/>
            </p:nvSpPr>
            <p:spPr>
              <a:xfrm>
                <a:off x="7397496" y="3273265"/>
                <a:ext cx="70294" cy="126301"/>
              </a:xfrm>
              <a:custGeom>
                <a:avLst/>
                <a:gdLst>
                  <a:gd name="connsiteX0" fmla="*/ 0 w 70294"/>
                  <a:gd name="connsiteY0" fmla="*/ 0 h 126301"/>
                  <a:gd name="connsiteX1" fmla="*/ 6001 w 70294"/>
                  <a:gd name="connsiteY1" fmla="*/ 0 h 126301"/>
                  <a:gd name="connsiteX2" fmla="*/ 6001 w 70294"/>
                  <a:gd name="connsiteY2" fmla="*/ 121158 h 126301"/>
                  <a:gd name="connsiteX3" fmla="*/ 70294 w 70294"/>
                  <a:gd name="connsiteY3" fmla="*/ 121158 h 126301"/>
                  <a:gd name="connsiteX4" fmla="*/ 70294 w 70294"/>
                  <a:gd name="connsiteY4" fmla="*/ 126302 h 126301"/>
                  <a:gd name="connsiteX5" fmla="*/ 0 w 70294"/>
                  <a:gd name="connsiteY5" fmla="*/ 126302 h 126301"/>
                  <a:gd name="connsiteX6" fmla="*/ 0 w 70294"/>
                  <a:gd name="connsiteY6" fmla="*/ 0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94" h="126301">
                    <a:moveTo>
                      <a:pt x="0" y="0"/>
                    </a:moveTo>
                    <a:lnTo>
                      <a:pt x="6001" y="0"/>
                    </a:lnTo>
                    <a:lnTo>
                      <a:pt x="6001" y="121158"/>
                    </a:lnTo>
                    <a:lnTo>
                      <a:pt x="70294" y="121158"/>
                    </a:lnTo>
                    <a:lnTo>
                      <a:pt x="70294" y="126302"/>
                    </a:lnTo>
                    <a:lnTo>
                      <a:pt x="0" y="126302"/>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89" name="Freeform: Shape 288">
                <a:extLst>
                  <a:ext uri="{FF2B5EF4-FFF2-40B4-BE49-F238E27FC236}">
                    <a16:creationId xmlns:a16="http://schemas.microsoft.com/office/drawing/2014/main" id="{D7FDC7A2-3B38-408C-956E-AF1664FD7BED}"/>
                  </a:ext>
                </a:extLst>
              </p:cNvPr>
              <p:cNvSpPr/>
              <p:nvPr/>
            </p:nvSpPr>
            <p:spPr>
              <a:xfrm>
                <a:off x="6109239" y="3455479"/>
                <a:ext cx="70294" cy="126301"/>
              </a:xfrm>
              <a:custGeom>
                <a:avLst/>
                <a:gdLst>
                  <a:gd name="connsiteX0" fmla="*/ 0 w 70294"/>
                  <a:gd name="connsiteY0" fmla="*/ 0 h 126301"/>
                  <a:gd name="connsiteX1" fmla="*/ 6001 w 70294"/>
                  <a:gd name="connsiteY1" fmla="*/ 0 h 126301"/>
                  <a:gd name="connsiteX2" fmla="*/ 6001 w 70294"/>
                  <a:gd name="connsiteY2" fmla="*/ 121158 h 126301"/>
                  <a:gd name="connsiteX3" fmla="*/ 70295 w 70294"/>
                  <a:gd name="connsiteY3" fmla="*/ 121158 h 126301"/>
                  <a:gd name="connsiteX4" fmla="*/ 70295 w 70294"/>
                  <a:gd name="connsiteY4" fmla="*/ 126302 h 126301"/>
                  <a:gd name="connsiteX5" fmla="*/ 0 w 70294"/>
                  <a:gd name="connsiteY5" fmla="*/ 126302 h 126301"/>
                  <a:gd name="connsiteX6" fmla="*/ 0 w 70294"/>
                  <a:gd name="connsiteY6" fmla="*/ 95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94" h="126301">
                    <a:moveTo>
                      <a:pt x="0" y="0"/>
                    </a:moveTo>
                    <a:lnTo>
                      <a:pt x="6001" y="0"/>
                    </a:lnTo>
                    <a:lnTo>
                      <a:pt x="6001" y="121158"/>
                    </a:lnTo>
                    <a:lnTo>
                      <a:pt x="70295" y="121158"/>
                    </a:lnTo>
                    <a:lnTo>
                      <a:pt x="70295" y="126302"/>
                    </a:lnTo>
                    <a:lnTo>
                      <a:pt x="0" y="126302"/>
                    </a:lnTo>
                    <a:lnTo>
                      <a:pt x="0" y="9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0" name="Freeform: Shape 289">
                <a:extLst>
                  <a:ext uri="{FF2B5EF4-FFF2-40B4-BE49-F238E27FC236}">
                    <a16:creationId xmlns:a16="http://schemas.microsoft.com/office/drawing/2014/main" id="{28AC2732-E95B-4BCE-9BC0-F16C23F10081}"/>
                  </a:ext>
                </a:extLst>
              </p:cNvPr>
              <p:cNvSpPr/>
              <p:nvPr/>
            </p:nvSpPr>
            <p:spPr>
              <a:xfrm>
                <a:off x="6207823" y="3455479"/>
                <a:ext cx="6000" cy="126206"/>
              </a:xfrm>
              <a:custGeom>
                <a:avLst/>
                <a:gdLst>
                  <a:gd name="connsiteX0" fmla="*/ 0 w 6000"/>
                  <a:gd name="connsiteY0" fmla="*/ 0 h 126206"/>
                  <a:gd name="connsiteX1" fmla="*/ 6001 w 6000"/>
                  <a:gd name="connsiteY1" fmla="*/ 0 h 126206"/>
                  <a:gd name="connsiteX2" fmla="*/ 6001 w 6000"/>
                  <a:gd name="connsiteY2" fmla="*/ 126206 h 126206"/>
                  <a:gd name="connsiteX3" fmla="*/ 0 w 6000"/>
                  <a:gd name="connsiteY3" fmla="*/ 126206 h 126206"/>
                  <a:gd name="connsiteX4" fmla="*/ 0 w 6000"/>
                  <a:gd name="connsiteY4" fmla="*/ 0 h 12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206">
                    <a:moveTo>
                      <a:pt x="0" y="0"/>
                    </a:moveTo>
                    <a:lnTo>
                      <a:pt x="6001" y="0"/>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1" name="Freeform: Shape 290">
                <a:extLst>
                  <a:ext uri="{FF2B5EF4-FFF2-40B4-BE49-F238E27FC236}">
                    <a16:creationId xmlns:a16="http://schemas.microsoft.com/office/drawing/2014/main" id="{4FBABFF3-C2EB-4D7D-9E43-11118CFDCA49}"/>
                  </a:ext>
                </a:extLst>
              </p:cNvPr>
              <p:cNvSpPr/>
              <p:nvPr/>
            </p:nvSpPr>
            <p:spPr>
              <a:xfrm>
                <a:off x="6245733" y="3454050"/>
                <a:ext cx="92487" cy="128968"/>
              </a:xfrm>
              <a:custGeom>
                <a:avLst/>
                <a:gdLst>
                  <a:gd name="connsiteX0" fmla="*/ 0 w 92487"/>
                  <a:gd name="connsiteY0" fmla="*/ 66104 h 128968"/>
                  <a:gd name="connsiteX1" fmla="*/ 0 w 92487"/>
                  <a:gd name="connsiteY1" fmla="*/ 63722 h 128968"/>
                  <a:gd name="connsiteX2" fmla="*/ 56483 w 92487"/>
                  <a:gd name="connsiteY2" fmla="*/ 0 h 128968"/>
                  <a:gd name="connsiteX3" fmla="*/ 88201 w 92487"/>
                  <a:gd name="connsiteY3" fmla="*/ 6382 h 128968"/>
                  <a:gd name="connsiteX4" fmla="*/ 88201 w 92487"/>
                  <a:gd name="connsiteY4" fmla="*/ 11621 h 128968"/>
                  <a:gd name="connsiteX5" fmla="*/ 56102 w 92487"/>
                  <a:gd name="connsiteY5" fmla="*/ 5048 h 128968"/>
                  <a:gd name="connsiteX6" fmla="*/ 6191 w 92487"/>
                  <a:gd name="connsiteY6" fmla="*/ 62960 h 128968"/>
                  <a:gd name="connsiteX7" fmla="*/ 6191 w 92487"/>
                  <a:gd name="connsiteY7" fmla="*/ 66008 h 128968"/>
                  <a:gd name="connsiteX8" fmla="*/ 56864 w 92487"/>
                  <a:gd name="connsiteY8" fmla="*/ 123920 h 128968"/>
                  <a:gd name="connsiteX9" fmla="*/ 86582 w 92487"/>
                  <a:gd name="connsiteY9" fmla="*/ 119348 h 128968"/>
                  <a:gd name="connsiteX10" fmla="*/ 86582 w 92487"/>
                  <a:gd name="connsiteY10" fmla="*/ 76200 h 128968"/>
                  <a:gd name="connsiteX11" fmla="*/ 56197 w 92487"/>
                  <a:gd name="connsiteY11" fmla="*/ 76200 h 128968"/>
                  <a:gd name="connsiteX12" fmla="*/ 56197 w 92487"/>
                  <a:gd name="connsiteY12" fmla="*/ 71057 h 128968"/>
                  <a:gd name="connsiteX13" fmla="*/ 92488 w 92487"/>
                  <a:gd name="connsiteY13" fmla="*/ 71057 h 128968"/>
                  <a:gd name="connsiteX14" fmla="*/ 92488 w 92487"/>
                  <a:gd name="connsiteY14" fmla="*/ 122968 h 128968"/>
                  <a:gd name="connsiteX15" fmla="*/ 56769 w 92487"/>
                  <a:gd name="connsiteY15" fmla="*/ 128968 h 128968"/>
                  <a:gd name="connsiteX16" fmla="*/ 95 w 92487"/>
                  <a:gd name="connsiteY16" fmla="*/ 65913 h 1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487" h="128968">
                    <a:moveTo>
                      <a:pt x="0" y="66104"/>
                    </a:moveTo>
                    <a:lnTo>
                      <a:pt x="0" y="63722"/>
                    </a:lnTo>
                    <a:cubicBezTo>
                      <a:pt x="0" y="21241"/>
                      <a:pt x="22193" y="0"/>
                      <a:pt x="56483" y="0"/>
                    </a:cubicBezTo>
                    <a:cubicBezTo>
                      <a:pt x="73057" y="0"/>
                      <a:pt x="81058" y="3143"/>
                      <a:pt x="88201" y="6382"/>
                    </a:cubicBezTo>
                    <a:lnTo>
                      <a:pt x="88201" y="11621"/>
                    </a:lnTo>
                    <a:cubicBezTo>
                      <a:pt x="80581" y="8192"/>
                      <a:pt x="72009" y="5048"/>
                      <a:pt x="56102" y="5048"/>
                    </a:cubicBezTo>
                    <a:cubicBezTo>
                      <a:pt x="22955" y="5048"/>
                      <a:pt x="6191" y="27432"/>
                      <a:pt x="6191" y="62960"/>
                    </a:cubicBezTo>
                    <a:lnTo>
                      <a:pt x="6191" y="66008"/>
                    </a:lnTo>
                    <a:cubicBezTo>
                      <a:pt x="6191" y="102299"/>
                      <a:pt x="20574" y="123920"/>
                      <a:pt x="56864" y="123920"/>
                    </a:cubicBezTo>
                    <a:cubicBezTo>
                      <a:pt x="68485" y="123920"/>
                      <a:pt x="78200" y="122111"/>
                      <a:pt x="86582" y="119348"/>
                    </a:cubicBezTo>
                    <a:lnTo>
                      <a:pt x="86582" y="76200"/>
                    </a:lnTo>
                    <a:lnTo>
                      <a:pt x="56197" y="76200"/>
                    </a:lnTo>
                    <a:lnTo>
                      <a:pt x="56197" y="71057"/>
                    </a:lnTo>
                    <a:lnTo>
                      <a:pt x="92488" y="71057"/>
                    </a:lnTo>
                    <a:lnTo>
                      <a:pt x="92488" y="122968"/>
                    </a:lnTo>
                    <a:cubicBezTo>
                      <a:pt x="82296" y="126587"/>
                      <a:pt x="70961" y="128968"/>
                      <a:pt x="56769" y="128968"/>
                    </a:cubicBezTo>
                    <a:cubicBezTo>
                      <a:pt x="19431" y="128968"/>
                      <a:pt x="95" y="107061"/>
                      <a:pt x="95" y="65913"/>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2" name="Freeform: Shape 291">
                <a:extLst>
                  <a:ext uri="{FF2B5EF4-FFF2-40B4-BE49-F238E27FC236}">
                    <a16:creationId xmlns:a16="http://schemas.microsoft.com/office/drawing/2014/main" id="{BEB545FB-68EA-499D-8D95-6245800BA9E1}"/>
                  </a:ext>
                </a:extLst>
              </p:cNvPr>
              <p:cNvSpPr/>
              <p:nvPr/>
            </p:nvSpPr>
            <p:spPr>
              <a:xfrm>
                <a:off x="6371939" y="3455479"/>
                <a:ext cx="88296" cy="126206"/>
              </a:xfrm>
              <a:custGeom>
                <a:avLst/>
                <a:gdLst>
                  <a:gd name="connsiteX0" fmla="*/ 0 w 88296"/>
                  <a:gd name="connsiteY0" fmla="*/ 0 h 126206"/>
                  <a:gd name="connsiteX1" fmla="*/ 6001 w 88296"/>
                  <a:gd name="connsiteY1" fmla="*/ 0 h 126206"/>
                  <a:gd name="connsiteX2" fmla="*/ 6001 w 88296"/>
                  <a:gd name="connsiteY2" fmla="*/ 57912 h 126206"/>
                  <a:gd name="connsiteX3" fmla="*/ 82296 w 88296"/>
                  <a:gd name="connsiteY3" fmla="*/ 57912 h 126206"/>
                  <a:gd name="connsiteX4" fmla="*/ 82296 w 88296"/>
                  <a:gd name="connsiteY4" fmla="*/ 0 h 126206"/>
                  <a:gd name="connsiteX5" fmla="*/ 88297 w 88296"/>
                  <a:gd name="connsiteY5" fmla="*/ 0 h 126206"/>
                  <a:gd name="connsiteX6" fmla="*/ 88297 w 88296"/>
                  <a:gd name="connsiteY6" fmla="*/ 126206 h 126206"/>
                  <a:gd name="connsiteX7" fmla="*/ 82296 w 88296"/>
                  <a:gd name="connsiteY7" fmla="*/ 126206 h 126206"/>
                  <a:gd name="connsiteX8" fmla="*/ 82296 w 88296"/>
                  <a:gd name="connsiteY8" fmla="*/ 63151 h 126206"/>
                  <a:gd name="connsiteX9" fmla="*/ 6001 w 88296"/>
                  <a:gd name="connsiteY9" fmla="*/ 63151 h 126206"/>
                  <a:gd name="connsiteX10" fmla="*/ 6001 w 88296"/>
                  <a:gd name="connsiteY10" fmla="*/ 126206 h 126206"/>
                  <a:gd name="connsiteX11" fmla="*/ 0 w 88296"/>
                  <a:gd name="connsiteY11" fmla="*/ 126206 h 126206"/>
                  <a:gd name="connsiteX12" fmla="*/ 0 w 88296"/>
                  <a:gd name="connsiteY12" fmla="*/ 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296" h="126206">
                    <a:moveTo>
                      <a:pt x="0" y="0"/>
                    </a:moveTo>
                    <a:lnTo>
                      <a:pt x="6001" y="0"/>
                    </a:lnTo>
                    <a:lnTo>
                      <a:pt x="6001" y="57912"/>
                    </a:lnTo>
                    <a:lnTo>
                      <a:pt x="82296" y="57912"/>
                    </a:lnTo>
                    <a:lnTo>
                      <a:pt x="82296" y="0"/>
                    </a:lnTo>
                    <a:lnTo>
                      <a:pt x="88297" y="0"/>
                    </a:lnTo>
                    <a:lnTo>
                      <a:pt x="88297" y="126206"/>
                    </a:lnTo>
                    <a:lnTo>
                      <a:pt x="82296" y="126206"/>
                    </a:lnTo>
                    <a:lnTo>
                      <a:pt x="82296" y="63151"/>
                    </a:lnTo>
                    <a:lnTo>
                      <a:pt x="6001" y="63151"/>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3" name="Freeform: Shape 292">
                <a:extLst>
                  <a:ext uri="{FF2B5EF4-FFF2-40B4-BE49-F238E27FC236}">
                    <a16:creationId xmlns:a16="http://schemas.microsoft.com/office/drawing/2014/main" id="{884697F1-B7CD-42DD-9268-06FFD7745FE3}"/>
                  </a:ext>
                </a:extLst>
              </p:cNvPr>
              <p:cNvSpPr/>
              <p:nvPr/>
            </p:nvSpPr>
            <p:spPr>
              <a:xfrm>
                <a:off x="6487096" y="3455479"/>
                <a:ext cx="92868" cy="126301"/>
              </a:xfrm>
              <a:custGeom>
                <a:avLst/>
                <a:gdLst>
                  <a:gd name="connsiteX0" fmla="*/ 43529 w 92868"/>
                  <a:gd name="connsiteY0" fmla="*/ 5143 h 126301"/>
                  <a:gd name="connsiteX1" fmla="*/ 0 w 92868"/>
                  <a:gd name="connsiteY1" fmla="*/ 5143 h 126301"/>
                  <a:gd name="connsiteX2" fmla="*/ 0 w 92868"/>
                  <a:gd name="connsiteY2" fmla="*/ 0 h 126301"/>
                  <a:gd name="connsiteX3" fmla="*/ 92869 w 92868"/>
                  <a:gd name="connsiteY3" fmla="*/ 0 h 126301"/>
                  <a:gd name="connsiteX4" fmla="*/ 92869 w 92868"/>
                  <a:gd name="connsiteY4" fmla="*/ 5143 h 126301"/>
                  <a:gd name="connsiteX5" fmla="*/ 49340 w 92868"/>
                  <a:gd name="connsiteY5" fmla="*/ 5143 h 126301"/>
                  <a:gd name="connsiteX6" fmla="*/ 49340 w 92868"/>
                  <a:gd name="connsiteY6" fmla="*/ 126302 h 126301"/>
                  <a:gd name="connsiteX7" fmla="*/ 43529 w 92868"/>
                  <a:gd name="connsiteY7" fmla="*/ 126302 h 126301"/>
                  <a:gd name="connsiteX8" fmla="*/ 43529 w 92868"/>
                  <a:gd name="connsiteY8" fmla="*/ 5143 h 126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126301">
                    <a:moveTo>
                      <a:pt x="43529" y="5143"/>
                    </a:moveTo>
                    <a:lnTo>
                      <a:pt x="0" y="5143"/>
                    </a:lnTo>
                    <a:lnTo>
                      <a:pt x="0" y="0"/>
                    </a:lnTo>
                    <a:lnTo>
                      <a:pt x="92869" y="0"/>
                    </a:lnTo>
                    <a:lnTo>
                      <a:pt x="92869" y="5143"/>
                    </a:lnTo>
                    <a:lnTo>
                      <a:pt x="49340" y="5143"/>
                    </a:lnTo>
                    <a:lnTo>
                      <a:pt x="49340" y="126302"/>
                    </a:lnTo>
                    <a:lnTo>
                      <a:pt x="43529" y="126302"/>
                    </a:lnTo>
                    <a:lnTo>
                      <a:pt x="43529" y="5143"/>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4" name="Freeform: Shape 293">
                <a:extLst>
                  <a:ext uri="{FF2B5EF4-FFF2-40B4-BE49-F238E27FC236}">
                    <a16:creationId xmlns:a16="http://schemas.microsoft.com/office/drawing/2014/main" id="{6DDF5C6E-86C8-408C-81B6-3A9DDC0FCD47}"/>
                  </a:ext>
                </a:extLst>
              </p:cNvPr>
              <p:cNvSpPr/>
              <p:nvPr/>
            </p:nvSpPr>
            <p:spPr>
              <a:xfrm>
                <a:off x="6607206" y="3455479"/>
                <a:ext cx="6000" cy="126206"/>
              </a:xfrm>
              <a:custGeom>
                <a:avLst/>
                <a:gdLst>
                  <a:gd name="connsiteX0" fmla="*/ 0 w 6000"/>
                  <a:gd name="connsiteY0" fmla="*/ 0 h 126206"/>
                  <a:gd name="connsiteX1" fmla="*/ 6001 w 6000"/>
                  <a:gd name="connsiteY1" fmla="*/ 0 h 126206"/>
                  <a:gd name="connsiteX2" fmla="*/ 6001 w 6000"/>
                  <a:gd name="connsiteY2" fmla="*/ 126206 h 126206"/>
                  <a:gd name="connsiteX3" fmla="*/ 0 w 6000"/>
                  <a:gd name="connsiteY3" fmla="*/ 126206 h 126206"/>
                  <a:gd name="connsiteX4" fmla="*/ 0 w 6000"/>
                  <a:gd name="connsiteY4" fmla="*/ 0 h 1262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00" h="126206">
                    <a:moveTo>
                      <a:pt x="0" y="0"/>
                    </a:moveTo>
                    <a:lnTo>
                      <a:pt x="6001" y="0"/>
                    </a:lnTo>
                    <a:lnTo>
                      <a:pt x="6001"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5" name="Freeform: Shape 294">
                <a:extLst>
                  <a:ext uri="{FF2B5EF4-FFF2-40B4-BE49-F238E27FC236}">
                    <a16:creationId xmlns:a16="http://schemas.microsoft.com/office/drawing/2014/main" id="{D48700CB-70A9-4F34-9916-8D594D21F1C1}"/>
                  </a:ext>
                </a:extLst>
              </p:cNvPr>
              <p:cNvSpPr/>
              <p:nvPr/>
            </p:nvSpPr>
            <p:spPr>
              <a:xfrm>
                <a:off x="6650736" y="3455479"/>
                <a:ext cx="88868" cy="126206"/>
              </a:xfrm>
              <a:custGeom>
                <a:avLst/>
                <a:gdLst>
                  <a:gd name="connsiteX0" fmla="*/ 0 w 88868"/>
                  <a:gd name="connsiteY0" fmla="*/ 0 h 126206"/>
                  <a:gd name="connsiteX1" fmla="*/ 7429 w 88868"/>
                  <a:gd name="connsiteY1" fmla="*/ 0 h 126206"/>
                  <a:gd name="connsiteX2" fmla="*/ 83058 w 88868"/>
                  <a:gd name="connsiteY2" fmla="*/ 116395 h 126206"/>
                  <a:gd name="connsiteX3" fmla="*/ 83248 w 88868"/>
                  <a:gd name="connsiteY3" fmla="*/ 116395 h 126206"/>
                  <a:gd name="connsiteX4" fmla="*/ 83248 w 88868"/>
                  <a:gd name="connsiteY4" fmla="*/ 0 h 126206"/>
                  <a:gd name="connsiteX5" fmla="*/ 88868 w 88868"/>
                  <a:gd name="connsiteY5" fmla="*/ 0 h 126206"/>
                  <a:gd name="connsiteX6" fmla="*/ 88868 w 88868"/>
                  <a:gd name="connsiteY6" fmla="*/ 126206 h 126206"/>
                  <a:gd name="connsiteX7" fmla="*/ 82486 w 88868"/>
                  <a:gd name="connsiteY7" fmla="*/ 126206 h 126206"/>
                  <a:gd name="connsiteX8" fmla="*/ 5810 w 88868"/>
                  <a:gd name="connsiteY8" fmla="*/ 8001 h 126206"/>
                  <a:gd name="connsiteX9" fmla="*/ 5620 w 88868"/>
                  <a:gd name="connsiteY9" fmla="*/ 8001 h 126206"/>
                  <a:gd name="connsiteX10" fmla="*/ 5620 w 88868"/>
                  <a:gd name="connsiteY10" fmla="*/ 126206 h 126206"/>
                  <a:gd name="connsiteX11" fmla="*/ 0 w 88868"/>
                  <a:gd name="connsiteY11" fmla="*/ 126206 h 126206"/>
                  <a:gd name="connsiteX12" fmla="*/ 0 w 88868"/>
                  <a:gd name="connsiteY12" fmla="*/ 0 h 12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868" h="126206">
                    <a:moveTo>
                      <a:pt x="0" y="0"/>
                    </a:moveTo>
                    <a:lnTo>
                      <a:pt x="7429" y="0"/>
                    </a:lnTo>
                    <a:lnTo>
                      <a:pt x="83058" y="116395"/>
                    </a:lnTo>
                    <a:lnTo>
                      <a:pt x="83248" y="116395"/>
                    </a:lnTo>
                    <a:lnTo>
                      <a:pt x="83248" y="0"/>
                    </a:lnTo>
                    <a:lnTo>
                      <a:pt x="88868" y="0"/>
                    </a:lnTo>
                    <a:lnTo>
                      <a:pt x="88868" y="126206"/>
                    </a:lnTo>
                    <a:lnTo>
                      <a:pt x="82486" y="126206"/>
                    </a:lnTo>
                    <a:lnTo>
                      <a:pt x="5810" y="8001"/>
                    </a:lnTo>
                    <a:lnTo>
                      <a:pt x="5620" y="8001"/>
                    </a:lnTo>
                    <a:lnTo>
                      <a:pt x="5620" y="126206"/>
                    </a:lnTo>
                    <a:lnTo>
                      <a:pt x="0" y="126206"/>
                    </a:lnTo>
                    <a:lnTo>
                      <a:pt x="0" y="0"/>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6" name="Freeform: Shape 295">
                <a:extLst>
                  <a:ext uri="{FF2B5EF4-FFF2-40B4-BE49-F238E27FC236}">
                    <a16:creationId xmlns:a16="http://schemas.microsoft.com/office/drawing/2014/main" id="{7C2FC667-B504-4ED1-BAD3-2EE5C8245910}"/>
                  </a:ext>
                </a:extLst>
              </p:cNvPr>
              <p:cNvSpPr/>
              <p:nvPr/>
            </p:nvSpPr>
            <p:spPr>
              <a:xfrm>
                <a:off x="6771132" y="3454050"/>
                <a:ext cx="92487" cy="128968"/>
              </a:xfrm>
              <a:custGeom>
                <a:avLst/>
                <a:gdLst>
                  <a:gd name="connsiteX0" fmla="*/ 0 w 92487"/>
                  <a:gd name="connsiteY0" fmla="*/ 66104 h 128968"/>
                  <a:gd name="connsiteX1" fmla="*/ 0 w 92487"/>
                  <a:gd name="connsiteY1" fmla="*/ 63722 h 128968"/>
                  <a:gd name="connsiteX2" fmla="*/ 56483 w 92487"/>
                  <a:gd name="connsiteY2" fmla="*/ 0 h 128968"/>
                  <a:gd name="connsiteX3" fmla="*/ 88201 w 92487"/>
                  <a:gd name="connsiteY3" fmla="*/ 6382 h 128968"/>
                  <a:gd name="connsiteX4" fmla="*/ 88201 w 92487"/>
                  <a:gd name="connsiteY4" fmla="*/ 11621 h 128968"/>
                  <a:gd name="connsiteX5" fmla="*/ 56102 w 92487"/>
                  <a:gd name="connsiteY5" fmla="*/ 5048 h 128968"/>
                  <a:gd name="connsiteX6" fmla="*/ 6191 w 92487"/>
                  <a:gd name="connsiteY6" fmla="*/ 62960 h 128968"/>
                  <a:gd name="connsiteX7" fmla="*/ 6191 w 92487"/>
                  <a:gd name="connsiteY7" fmla="*/ 66008 h 128968"/>
                  <a:gd name="connsiteX8" fmla="*/ 56864 w 92487"/>
                  <a:gd name="connsiteY8" fmla="*/ 123920 h 128968"/>
                  <a:gd name="connsiteX9" fmla="*/ 86582 w 92487"/>
                  <a:gd name="connsiteY9" fmla="*/ 119348 h 128968"/>
                  <a:gd name="connsiteX10" fmla="*/ 86582 w 92487"/>
                  <a:gd name="connsiteY10" fmla="*/ 76200 h 128968"/>
                  <a:gd name="connsiteX11" fmla="*/ 56197 w 92487"/>
                  <a:gd name="connsiteY11" fmla="*/ 76200 h 128968"/>
                  <a:gd name="connsiteX12" fmla="*/ 56197 w 92487"/>
                  <a:gd name="connsiteY12" fmla="*/ 71057 h 128968"/>
                  <a:gd name="connsiteX13" fmla="*/ 92488 w 92487"/>
                  <a:gd name="connsiteY13" fmla="*/ 71057 h 128968"/>
                  <a:gd name="connsiteX14" fmla="*/ 92488 w 92487"/>
                  <a:gd name="connsiteY14" fmla="*/ 122968 h 128968"/>
                  <a:gd name="connsiteX15" fmla="*/ 56769 w 92487"/>
                  <a:gd name="connsiteY15" fmla="*/ 128968 h 128968"/>
                  <a:gd name="connsiteX16" fmla="*/ 95 w 92487"/>
                  <a:gd name="connsiteY16" fmla="*/ 65913 h 128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487" h="128968">
                    <a:moveTo>
                      <a:pt x="0" y="66104"/>
                    </a:moveTo>
                    <a:lnTo>
                      <a:pt x="0" y="63722"/>
                    </a:lnTo>
                    <a:cubicBezTo>
                      <a:pt x="0" y="21241"/>
                      <a:pt x="22193" y="0"/>
                      <a:pt x="56483" y="0"/>
                    </a:cubicBezTo>
                    <a:cubicBezTo>
                      <a:pt x="73057" y="0"/>
                      <a:pt x="81058" y="3143"/>
                      <a:pt x="88201" y="6382"/>
                    </a:cubicBezTo>
                    <a:lnTo>
                      <a:pt x="88201" y="11621"/>
                    </a:lnTo>
                    <a:cubicBezTo>
                      <a:pt x="80581" y="8192"/>
                      <a:pt x="72009" y="5048"/>
                      <a:pt x="56102" y="5048"/>
                    </a:cubicBezTo>
                    <a:cubicBezTo>
                      <a:pt x="22955" y="5048"/>
                      <a:pt x="6191" y="27432"/>
                      <a:pt x="6191" y="62960"/>
                    </a:cubicBezTo>
                    <a:lnTo>
                      <a:pt x="6191" y="66008"/>
                    </a:lnTo>
                    <a:cubicBezTo>
                      <a:pt x="6191" y="102299"/>
                      <a:pt x="20574" y="123920"/>
                      <a:pt x="56864" y="123920"/>
                    </a:cubicBezTo>
                    <a:cubicBezTo>
                      <a:pt x="68485" y="123920"/>
                      <a:pt x="78200" y="122111"/>
                      <a:pt x="86582" y="119348"/>
                    </a:cubicBezTo>
                    <a:lnTo>
                      <a:pt x="86582" y="76200"/>
                    </a:lnTo>
                    <a:lnTo>
                      <a:pt x="56197" y="76200"/>
                    </a:lnTo>
                    <a:lnTo>
                      <a:pt x="56197" y="71057"/>
                    </a:lnTo>
                    <a:lnTo>
                      <a:pt x="92488" y="71057"/>
                    </a:lnTo>
                    <a:lnTo>
                      <a:pt x="92488" y="122968"/>
                    </a:lnTo>
                    <a:cubicBezTo>
                      <a:pt x="82296" y="126587"/>
                      <a:pt x="70961" y="128968"/>
                      <a:pt x="56769" y="128968"/>
                    </a:cubicBezTo>
                    <a:cubicBezTo>
                      <a:pt x="19431" y="128968"/>
                      <a:pt x="95" y="107061"/>
                      <a:pt x="95" y="65913"/>
                    </a:cubicBez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7" name="Freeform: Shape 296">
                <a:extLst>
                  <a:ext uri="{FF2B5EF4-FFF2-40B4-BE49-F238E27FC236}">
                    <a16:creationId xmlns:a16="http://schemas.microsoft.com/office/drawing/2014/main" id="{A5E835A2-41EC-4A5F-B9F3-B60DAF3AB2BC}"/>
                  </a:ext>
                </a:extLst>
              </p:cNvPr>
              <p:cNvSpPr/>
              <p:nvPr/>
            </p:nvSpPr>
            <p:spPr>
              <a:xfrm>
                <a:off x="6873906" y="3454050"/>
                <a:ext cx="10667" cy="13144"/>
              </a:xfrm>
              <a:custGeom>
                <a:avLst/>
                <a:gdLst>
                  <a:gd name="connsiteX0" fmla="*/ 4477 w 10667"/>
                  <a:gd name="connsiteY0" fmla="*/ 13145 h 13144"/>
                  <a:gd name="connsiteX1" fmla="*/ 4477 w 10667"/>
                  <a:gd name="connsiteY1" fmla="*/ 1334 h 13144"/>
                  <a:gd name="connsiteX2" fmla="*/ 0 w 10667"/>
                  <a:gd name="connsiteY2" fmla="*/ 1334 h 13144"/>
                  <a:gd name="connsiteX3" fmla="*/ 0 w 10667"/>
                  <a:gd name="connsiteY3" fmla="*/ 0 h 13144"/>
                  <a:gd name="connsiteX4" fmla="*/ 10668 w 10667"/>
                  <a:gd name="connsiteY4" fmla="*/ 0 h 13144"/>
                  <a:gd name="connsiteX5" fmla="*/ 10668 w 10667"/>
                  <a:gd name="connsiteY5" fmla="*/ 1334 h 13144"/>
                  <a:gd name="connsiteX6" fmla="*/ 6191 w 10667"/>
                  <a:gd name="connsiteY6" fmla="*/ 1334 h 13144"/>
                  <a:gd name="connsiteX7" fmla="*/ 6191 w 10667"/>
                  <a:gd name="connsiteY7" fmla="*/ 13145 h 13144"/>
                  <a:gd name="connsiteX8" fmla="*/ 4477 w 10667"/>
                  <a:gd name="connsiteY8" fmla="*/ 13145 h 1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67" h="13144">
                    <a:moveTo>
                      <a:pt x="4477" y="13145"/>
                    </a:moveTo>
                    <a:lnTo>
                      <a:pt x="4477" y="1334"/>
                    </a:lnTo>
                    <a:lnTo>
                      <a:pt x="0" y="1334"/>
                    </a:lnTo>
                    <a:lnTo>
                      <a:pt x="0" y="0"/>
                    </a:lnTo>
                    <a:lnTo>
                      <a:pt x="10668" y="0"/>
                    </a:lnTo>
                    <a:lnTo>
                      <a:pt x="10668" y="1334"/>
                    </a:lnTo>
                    <a:lnTo>
                      <a:pt x="6191" y="1334"/>
                    </a:lnTo>
                    <a:lnTo>
                      <a:pt x="6191" y="13145"/>
                    </a:lnTo>
                    <a:lnTo>
                      <a:pt x="4477" y="1314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98" name="Freeform: Shape 297">
                <a:extLst>
                  <a:ext uri="{FF2B5EF4-FFF2-40B4-BE49-F238E27FC236}">
                    <a16:creationId xmlns:a16="http://schemas.microsoft.com/office/drawing/2014/main" id="{6C7BEDE2-894F-4259-A6A3-0EDFC563CB0F}"/>
                  </a:ext>
                </a:extLst>
              </p:cNvPr>
              <p:cNvSpPr/>
              <p:nvPr/>
            </p:nvSpPr>
            <p:spPr>
              <a:xfrm>
                <a:off x="6886575" y="3454050"/>
                <a:ext cx="11144" cy="13144"/>
              </a:xfrm>
              <a:custGeom>
                <a:avLst/>
                <a:gdLst>
                  <a:gd name="connsiteX0" fmla="*/ 1429 w 11144"/>
                  <a:gd name="connsiteY0" fmla="*/ 13145 h 13144"/>
                  <a:gd name="connsiteX1" fmla="*/ 0 w 11144"/>
                  <a:gd name="connsiteY1" fmla="*/ 13145 h 13144"/>
                  <a:gd name="connsiteX2" fmla="*/ 0 w 11144"/>
                  <a:gd name="connsiteY2" fmla="*/ 0 h 13144"/>
                  <a:gd name="connsiteX3" fmla="*/ 1619 w 11144"/>
                  <a:gd name="connsiteY3" fmla="*/ 0 h 13144"/>
                  <a:gd name="connsiteX4" fmla="*/ 5715 w 11144"/>
                  <a:gd name="connsiteY4" fmla="*/ 9430 h 13144"/>
                  <a:gd name="connsiteX5" fmla="*/ 9525 w 11144"/>
                  <a:gd name="connsiteY5" fmla="*/ 0 h 13144"/>
                  <a:gd name="connsiteX6" fmla="*/ 11144 w 11144"/>
                  <a:gd name="connsiteY6" fmla="*/ 0 h 13144"/>
                  <a:gd name="connsiteX7" fmla="*/ 11144 w 11144"/>
                  <a:gd name="connsiteY7" fmla="*/ 13145 h 13144"/>
                  <a:gd name="connsiteX8" fmla="*/ 9620 w 11144"/>
                  <a:gd name="connsiteY8" fmla="*/ 13145 h 13144"/>
                  <a:gd name="connsiteX9" fmla="*/ 9620 w 11144"/>
                  <a:gd name="connsiteY9" fmla="*/ 5334 h 13144"/>
                  <a:gd name="connsiteX10" fmla="*/ 9716 w 11144"/>
                  <a:gd name="connsiteY10" fmla="*/ 2953 h 13144"/>
                  <a:gd name="connsiteX11" fmla="*/ 9620 w 11144"/>
                  <a:gd name="connsiteY11" fmla="*/ 2953 h 13144"/>
                  <a:gd name="connsiteX12" fmla="*/ 8763 w 11144"/>
                  <a:gd name="connsiteY12" fmla="*/ 5334 h 13144"/>
                  <a:gd name="connsiteX13" fmla="*/ 6477 w 11144"/>
                  <a:gd name="connsiteY13" fmla="*/ 11144 h 13144"/>
                  <a:gd name="connsiteX14" fmla="*/ 4763 w 11144"/>
                  <a:gd name="connsiteY14" fmla="*/ 11144 h 13144"/>
                  <a:gd name="connsiteX15" fmla="*/ 2191 w 11144"/>
                  <a:gd name="connsiteY15" fmla="*/ 5239 h 13144"/>
                  <a:gd name="connsiteX16" fmla="*/ 1429 w 11144"/>
                  <a:gd name="connsiteY16" fmla="*/ 3143 h 13144"/>
                  <a:gd name="connsiteX17" fmla="*/ 1333 w 11144"/>
                  <a:gd name="connsiteY17" fmla="*/ 3143 h 13144"/>
                  <a:gd name="connsiteX18" fmla="*/ 1429 w 11144"/>
                  <a:gd name="connsiteY18" fmla="*/ 5239 h 13144"/>
                  <a:gd name="connsiteX19" fmla="*/ 1429 w 11144"/>
                  <a:gd name="connsiteY19" fmla="*/ 13145 h 13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4" h="13144">
                    <a:moveTo>
                      <a:pt x="1429" y="13145"/>
                    </a:moveTo>
                    <a:lnTo>
                      <a:pt x="0" y="13145"/>
                    </a:lnTo>
                    <a:lnTo>
                      <a:pt x="0" y="0"/>
                    </a:lnTo>
                    <a:lnTo>
                      <a:pt x="1619" y="0"/>
                    </a:lnTo>
                    <a:lnTo>
                      <a:pt x="5715" y="9430"/>
                    </a:lnTo>
                    <a:lnTo>
                      <a:pt x="9525" y="0"/>
                    </a:lnTo>
                    <a:lnTo>
                      <a:pt x="11144" y="0"/>
                    </a:lnTo>
                    <a:lnTo>
                      <a:pt x="11144" y="13145"/>
                    </a:lnTo>
                    <a:lnTo>
                      <a:pt x="9620" y="13145"/>
                    </a:lnTo>
                    <a:lnTo>
                      <a:pt x="9620" y="5334"/>
                    </a:lnTo>
                    <a:lnTo>
                      <a:pt x="9716" y="2953"/>
                    </a:lnTo>
                    <a:lnTo>
                      <a:pt x="9620" y="2953"/>
                    </a:lnTo>
                    <a:lnTo>
                      <a:pt x="8763" y="5334"/>
                    </a:lnTo>
                    <a:lnTo>
                      <a:pt x="6477" y="11144"/>
                    </a:lnTo>
                    <a:lnTo>
                      <a:pt x="4763" y="11144"/>
                    </a:lnTo>
                    <a:lnTo>
                      <a:pt x="2191" y="5239"/>
                    </a:lnTo>
                    <a:lnTo>
                      <a:pt x="1429" y="3143"/>
                    </a:lnTo>
                    <a:lnTo>
                      <a:pt x="1333" y="3143"/>
                    </a:lnTo>
                    <a:lnTo>
                      <a:pt x="1429" y="5239"/>
                    </a:lnTo>
                    <a:lnTo>
                      <a:pt x="1429" y="13145"/>
                    </a:lnTo>
                    <a:close/>
                  </a:path>
                </a:pathLst>
              </a:custGeom>
              <a:solidFill>
                <a:srgbClr val="A1ABB3"/>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261" name="Group 260">
              <a:extLst>
                <a:ext uri="{FF2B5EF4-FFF2-40B4-BE49-F238E27FC236}">
                  <a16:creationId xmlns:a16="http://schemas.microsoft.com/office/drawing/2014/main" id="{EA1C8009-57C2-47D4-9761-2FD3D74EA060}"/>
                </a:ext>
              </a:extLst>
            </p:cNvPr>
            <p:cNvGrpSpPr/>
            <p:nvPr userDrawn="1"/>
          </p:nvGrpSpPr>
          <p:grpSpPr>
            <a:xfrm>
              <a:off x="5031637" y="2837445"/>
              <a:ext cx="812456" cy="207062"/>
              <a:chOff x="6644344" y="5370144"/>
              <a:chExt cx="1449816" cy="369499"/>
            </a:xfrm>
          </p:grpSpPr>
          <p:sp>
            <p:nvSpPr>
              <p:cNvPr id="262" name="Freeform: Shape 261">
                <a:extLst>
                  <a:ext uri="{FF2B5EF4-FFF2-40B4-BE49-F238E27FC236}">
                    <a16:creationId xmlns:a16="http://schemas.microsoft.com/office/drawing/2014/main" id="{F7538892-540C-47FD-8518-A4A27185FD36}"/>
                  </a:ext>
                </a:extLst>
              </p:cNvPr>
              <p:cNvSpPr/>
              <p:nvPr/>
            </p:nvSpPr>
            <p:spPr>
              <a:xfrm>
                <a:off x="7402131" y="5370144"/>
                <a:ext cx="47864" cy="365026"/>
              </a:xfrm>
              <a:custGeom>
                <a:avLst/>
                <a:gdLst>
                  <a:gd name="connsiteX0" fmla="*/ 47865 w 47864"/>
                  <a:gd name="connsiteY0" fmla="*/ 133306 h 365026"/>
                  <a:gd name="connsiteX1" fmla="*/ 47865 w 47864"/>
                  <a:gd name="connsiteY1" fmla="*/ 0 h 365026"/>
                  <a:gd name="connsiteX2" fmla="*/ 0 w 47864"/>
                  <a:gd name="connsiteY2" fmla="*/ 0 h 365026"/>
                  <a:gd name="connsiteX3" fmla="*/ 0 w 47864"/>
                  <a:gd name="connsiteY3" fmla="*/ 365026 h 365026"/>
                  <a:gd name="connsiteX4" fmla="*/ 47865 w 47864"/>
                  <a:gd name="connsiteY4" fmla="*/ 365026 h 365026"/>
                  <a:gd name="connsiteX5" fmla="*/ 47865 w 47864"/>
                  <a:gd name="connsiteY5" fmla="*/ 133306 h 365026"/>
                  <a:gd name="connsiteX6" fmla="*/ 47865 w 47864"/>
                  <a:gd name="connsiteY6" fmla="*/ 133306 h 36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64" h="365026">
                    <a:moveTo>
                      <a:pt x="47865" y="133306"/>
                    </a:moveTo>
                    <a:lnTo>
                      <a:pt x="47865" y="0"/>
                    </a:lnTo>
                    <a:lnTo>
                      <a:pt x="0" y="0"/>
                    </a:lnTo>
                    <a:lnTo>
                      <a:pt x="0" y="365026"/>
                    </a:lnTo>
                    <a:lnTo>
                      <a:pt x="47865" y="365026"/>
                    </a:lnTo>
                    <a:lnTo>
                      <a:pt x="47865" y="133306"/>
                    </a:lnTo>
                    <a:lnTo>
                      <a:pt x="47865" y="133306"/>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3" name="Freeform: Shape 262">
                <a:extLst>
                  <a:ext uri="{FF2B5EF4-FFF2-40B4-BE49-F238E27FC236}">
                    <a16:creationId xmlns:a16="http://schemas.microsoft.com/office/drawing/2014/main" id="{8D178A56-DDA1-45B9-88A1-4FB6A9BEB31F}"/>
                  </a:ext>
                </a:extLst>
              </p:cNvPr>
              <p:cNvSpPr/>
              <p:nvPr/>
            </p:nvSpPr>
            <p:spPr>
              <a:xfrm>
                <a:off x="7263904" y="5457821"/>
                <a:ext cx="107808" cy="276901"/>
              </a:xfrm>
              <a:custGeom>
                <a:avLst/>
                <a:gdLst>
                  <a:gd name="connsiteX0" fmla="*/ 47418 w 107808"/>
                  <a:gd name="connsiteY0" fmla="*/ 120781 h 276901"/>
                  <a:gd name="connsiteX1" fmla="*/ 97519 w 107808"/>
                  <a:gd name="connsiteY1" fmla="*/ 48312 h 276901"/>
                  <a:gd name="connsiteX2" fmla="*/ 107808 w 107808"/>
                  <a:gd name="connsiteY2" fmla="*/ 48312 h 276901"/>
                  <a:gd name="connsiteX3" fmla="*/ 107808 w 107808"/>
                  <a:gd name="connsiteY3" fmla="*/ 1342 h 276901"/>
                  <a:gd name="connsiteX4" fmla="*/ 103782 w 107808"/>
                  <a:gd name="connsiteY4" fmla="*/ 447 h 276901"/>
                  <a:gd name="connsiteX5" fmla="*/ 96177 w 107808"/>
                  <a:gd name="connsiteY5" fmla="*/ 0 h 276901"/>
                  <a:gd name="connsiteX6" fmla="*/ 45628 w 107808"/>
                  <a:gd name="connsiteY6" fmla="*/ 23261 h 276901"/>
                  <a:gd name="connsiteX7" fmla="*/ 45628 w 107808"/>
                  <a:gd name="connsiteY7" fmla="*/ 3131 h 276901"/>
                  <a:gd name="connsiteX8" fmla="*/ 0 w 107808"/>
                  <a:gd name="connsiteY8" fmla="*/ 3131 h 276901"/>
                  <a:gd name="connsiteX9" fmla="*/ 0 w 107808"/>
                  <a:gd name="connsiteY9" fmla="*/ 276901 h 276901"/>
                  <a:gd name="connsiteX10" fmla="*/ 47418 w 107808"/>
                  <a:gd name="connsiteY10" fmla="*/ 276901 h 276901"/>
                  <a:gd name="connsiteX11" fmla="*/ 47418 w 107808"/>
                  <a:gd name="connsiteY11" fmla="*/ 120781 h 276901"/>
                  <a:gd name="connsiteX12" fmla="*/ 47418 w 107808"/>
                  <a:gd name="connsiteY12" fmla="*/ 120781 h 27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7808" h="276901">
                    <a:moveTo>
                      <a:pt x="47418" y="120781"/>
                    </a:moveTo>
                    <a:cubicBezTo>
                      <a:pt x="47418" y="69784"/>
                      <a:pt x="62627" y="48312"/>
                      <a:pt x="97519" y="48312"/>
                    </a:cubicBezTo>
                    <a:lnTo>
                      <a:pt x="107808" y="48312"/>
                    </a:lnTo>
                    <a:lnTo>
                      <a:pt x="107808" y="1342"/>
                    </a:lnTo>
                    <a:lnTo>
                      <a:pt x="103782" y="447"/>
                    </a:lnTo>
                    <a:cubicBezTo>
                      <a:pt x="103782" y="447"/>
                      <a:pt x="100651" y="0"/>
                      <a:pt x="96177" y="0"/>
                    </a:cubicBezTo>
                    <a:cubicBezTo>
                      <a:pt x="71574" y="0"/>
                      <a:pt x="55022" y="11183"/>
                      <a:pt x="45628" y="23261"/>
                    </a:cubicBezTo>
                    <a:lnTo>
                      <a:pt x="45628" y="3131"/>
                    </a:lnTo>
                    <a:lnTo>
                      <a:pt x="0" y="3131"/>
                    </a:lnTo>
                    <a:lnTo>
                      <a:pt x="0" y="276901"/>
                    </a:lnTo>
                    <a:lnTo>
                      <a:pt x="47418" y="276901"/>
                    </a:lnTo>
                    <a:lnTo>
                      <a:pt x="47418" y="120781"/>
                    </a:lnTo>
                    <a:lnTo>
                      <a:pt x="47418" y="120781"/>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4" name="Freeform: Shape 263">
                <a:extLst>
                  <a:ext uri="{FF2B5EF4-FFF2-40B4-BE49-F238E27FC236}">
                    <a16:creationId xmlns:a16="http://schemas.microsoft.com/office/drawing/2014/main" id="{D80320FD-ABB5-464C-8DDD-36C11444E09A}"/>
                  </a:ext>
                </a:extLst>
              </p:cNvPr>
              <p:cNvSpPr/>
              <p:nvPr/>
            </p:nvSpPr>
            <p:spPr>
              <a:xfrm>
                <a:off x="6853697" y="5457821"/>
                <a:ext cx="172671" cy="280927"/>
              </a:xfrm>
              <a:custGeom>
                <a:avLst/>
                <a:gdLst>
                  <a:gd name="connsiteX0" fmla="*/ 124807 w 172671"/>
                  <a:gd name="connsiteY0" fmla="*/ 120333 h 280927"/>
                  <a:gd name="connsiteX1" fmla="*/ 47418 w 172671"/>
                  <a:gd name="connsiteY1" fmla="*/ 120333 h 280927"/>
                  <a:gd name="connsiteX2" fmla="*/ 47418 w 172671"/>
                  <a:gd name="connsiteY2" fmla="*/ 84099 h 280927"/>
                  <a:gd name="connsiteX3" fmla="*/ 86336 w 172671"/>
                  <a:gd name="connsiteY3" fmla="*/ 42497 h 280927"/>
                  <a:gd name="connsiteX4" fmla="*/ 124807 w 172671"/>
                  <a:gd name="connsiteY4" fmla="*/ 84994 h 280927"/>
                  <a:gd name="connsiteX5" fmla="*/ 124807 w 172671"/>
                  <a:gd name="connsiteY5" fmla="*/ 119886 h 280927"/>
                  <a:gd name="connsiteX6" fmla="*/ 124807 w 172671"/>
                  <a:gd name="connsiteY6" fmla="*/ 119886 h 280927"/>
                  <a:gd name="connsiteX7" fmla="*/ 86336 w 172671"/>
                  <a:gd name="connsiteY7" fmla="*/ 0 h 280927"/>
                  <a:gd name="connsiteX8" fmla="*/ 0 w 172671"/>
                  <a:gd name="connsiteY8" fmla="*/ 89467 h 280927"/>
                  <a:gd name="connsiteX9" fmla="*/ 0 w 172671"/>
                  <a:gd name="connsiteY9" fmla="*/ 189223 h 280927"/>
                  <a:gd name="connsiteX10" fmla="*/ 86336 w 172671"/>
                  <a:gd name="connsiteY10" fmla="*/ 280927 h 280927"/>
                  <a:gd name="connsiteX11" fmla="*/ 171330 w 172671"/>
                  <a:gd name="connsiteY11" fmla="*/ 214274 h 280927"/>
                  <a:gd name="connsiteX12" fmla="*/ 123017 w 172671"/>
                  <a:gd name="connsiteY12" fmla="*/ 214274 h 280927"/>
                  <a:gd name="connsiteX13" fmla="*/ 86336 w 172671"/>
                  <a:gd name="connsiteY13" fmla="*/ 238878 h 280927"/>
                  <a:gd name="connsiteX14" fmla="*/ 47418 w 172671"/>
                  <a:gd name="connsiteY14" fmla="*/ 188329 h 280927"/>
                  <a:gd name="connsiteX15" fmla="*/ 47418 w 172671"/>
                  <a:gd name="connsiteY15" fmla="*/ 157910 h 280927"/>
                  <a:gd name="connsiteX16" fmla="*/ 172672 w 172671"/>
                  <a:gd name="connsiteY16" fmla="*/ 157910 h 280927"/>
                  <a:gd name="connsiteX17" fmla="*/ 172672 w 172671"/>
                  <a:gd name="connsiteY17" fmla="*/ 89467 h 280927"/>
                  <a:gd name="connsiteX18" fmla="*/ 86336 w 172671"/>
                  <a:gd name="connsiteY18" fmla="*/ 0 h 280927"/>
                  <a:gd name="connsiteX19" fmla="*/ 86336 w 172671"/>
                  <a:gd name="connsiteY19" fmla="*/ 0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671" h="280927">
                    <a:moveTo>
                      <a:pt x="124807" y="120333"/>
                    </a:moveTo>
                    <a:lnTo>
                      <a:pt x="47418" y="120333"/>
                    </a:lnTo>
                    <a:lnTo>
                      <a:pt x="47418" y="84099"/>
                    </a:lnTo>
                    <a:cubicBezTo>
                      <a:pt x="47418" y="58154"/>
                      <a:pt x="61732" y="42497"/>
                      <a:pt x="86336" y="42497"/>
                    </a:cubicBezTo>
                    <a:cubicBezTo>
                      <a:pt x="110939" y="42497"/>
                      <a:pt x="124807" y="58601"/>
                      <a:pt x="124807" y="84994"/>
                    </a:cubicBezTo>
                    <a:lnTo>
                      <a:pt x="124807" y="119886"/>
                    </a:lnTo>
                    <a:lnTo>
                      <a:pt x="124807" y="119886"/>
                    </a:lnTo>
                    <a:close/>
                    <a:moveTo>
                      <a:pt x="86336" y="0"/>
                    </a:moveTo>
                    <a:cubicBezTo>
                      <a:pt x="33103" y="0"/>
                      <a:pt x="0" y="34445"/>
                      <a:pt x="0" y="89467"/>
                    </a:cubicBezTo>
                    <a:lnTo>
                      <a:pt x="0" y="189223"/>
                    </a:lnTo>
                    <a:cubicBezTo>
                      <a:pt x="0" y="246035"/>
                      <a:pt x="33103" y="280927"/>
                      <a:pt x="86336" y="280927"/>
                    </a:cubicBezTo>
                    <a:cubicBezTo>
                      <a:pt x="139569" y="280927"/>
                      <a:pt x="165962" y="249166"/>
                      <a:pt x="171330" y="214274"/>
                    </a:cubicBezTo>
                    <a:lnTo>
                      <a:pt x="123017" y="214274"/>
                    </a:ln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lnTo>
                      <a:pt x="86336"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5" name="Freeform: Shape 264">
                <a:extLst>
                  <a:ext uri="{FF2B5EF4-FFF2-40B4-BE49-F238E27FC236}">
                    <a16:creationId xmlns:a16="http://schemas.microsoft.com/office/drawing/2014/main" id="{25BCB9CB-CBE8-41E5-ABBC-97854DD30B35}"/>
                  </a:ext>
                </a:extLst>
              </p:cNvPr>
              <p:cNvSpPr/>
              <p:nvPr/>
            </p:nvSpPr>
            <p:spPr>
              <a:xfrm>
                <a:off x="7057235" y="5457374"/>
                <a:ext cx="172671" cy="280927"/>
              </a:xfrm>
              <a:custGeom>
                <a:avLst/>
                <a:gdLst>
                  <a:gd name="connsiteX0" fmla="*/ 47418 w 172671"/>
                  <a:gd name="connsiteY0" fmla="*/ 84547 h 280927"/>
                  <a:gd name="connsiteX1" fmla="*/ 86336 w 172671"/>
                  <a:gd name="connsiteY1" fmla="*/ 42944 h 280927"/>
                  <a:gd name="connsiteX2" fmla="*/ 124807 w 172671"/>
                  <a:gd name="connsiteY2" fmla="*/ 85441 h 280927"/>
                  <a:gd name="connsiteX3" fmla="*/ 124807 w 172671"/>
                  <a:gd name="connsiteY3" fmla="*/ 120333 h 280927"/>
                  <a:gd name="connsiteX4" fmla="*/ 47418 w 172671"/>
                  <a:gd name="connsiteY4" fmla="*/ 120333 h 280927"/>
                  <a:gd name="connsiteX5" fmla="*/ 47418 w 172671"/>
                  <a:gd name="connsiteY5" fmla="*/ 84099 h 280927"/>
                  <a:gd name="connsiteX6" fmla="*/ 47418 w 172671"/>
                  <a:gd name="connsiteY6" fmla="*/ 84099 h 280927"/>
                  <a:gd name="connsiteX7" fmla="*/ 123017 w 172671"/>
                  <a:gd name="connsiteY7" fmla="*/ 214274 h 280927"/>
                  <a:gd name="connsiteX8" fmla="*/ 86336 w 172671"/>
                  <a:gd name="connsiteY8" fmla="*/ 238878 h 280927"/>
                  <a:gd name="connsiteX9" fmla="*/ 47418 w 172671"/>
                  <a:gd name="connsiteY9" fmla="*/ 188329 h 280927"/>
                  <a:gd name="connsiteX10" fmla="*/ 47418 w 172671"/>
                  <a:gd name="connsiteY10" fmla="*/ 157910 h 280927"/>
                  <a:gd name="connsiteX11" fmla="*/ 172672 w 172671"/>
                  <a:gd name="connsiteY11" fmla="*/ 157910 h 280927"/>
                  <a:gd name="connsiteX12" fmla="*/ 172672 w 172671"/>
                  <a:gd name="connsiteY12" fmla="*/ 89467 h 280927"/>
                  <a:gd name="connsiteX13" fmla="*/ 86336 w 172671"/>
                  <a:gd name="connsiteY13" fmla="*/ 0 h 280927"/>
                  <a:gd name="connsiteX14" fmla="*/ 0 w 172671"/>
                  <a:gd name="connsiteY14" fmla="*/ 89467 h 280927"/>
                  <a:gd name="connsiteX15" fmla="*/ 0 w 172671"/>
                  <a:gd name="connsiteY15" fmla="*/ 189223 h 280927"/>
                  <a:gd name="connsiteX16" fmla="*/ 86336 w 172671"/>
                  <a:gd name="connsiteY16" fmla="*/ 280927 h 280927"/>
                  <a:gd name="connsiteX17" fmla="*/ 171330 w 172671"/>
                  <a:gd name="connsiteY17" fmla="*/ 214274 h 280927"/>
                  <a:gd name="connsiteX18" fmla="*/ 123017 w 172671"/>
                  <a:gd name="connsiteY18" fmla="*/ 214274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2671" h="280927">
                    <a:moveTo>
                      <a:pt x="47418" y="84547"/>
                    </a:moveTo>
                    <a:cubicBezTo>
                      <a:pt x="47418" y="58601"/>
                      <a:pt x="61732" y="42944"/>
                      <a:pt x="86336" y="42944"/>
                    </a:cubicBezTo>
                    <a:cubicBezTo>
                      <a:pt x="110939" y="42944"/>
                      <a:pt x="124807" y="59048"/>
                      <a:pt x="124807" y="85441"/>
                    </a:cubicBezTo>
                    <a:lnTo>
                      <a:pt x="124807" y="120333"/>
                    </a:lnTo>
                    <a:lnTo>
                      <a:pt x="47418" y="120333"/>
                    </a:lnTo>
                    <a:lnTo>
                      <a:pt x="47418" y="84099"/>
                    </a:lnTo>
                    <a:lnTo>
                      <a:pt x="47418" y="84099"/>
                    </a:lnTo>
                    <a:close/>
                    <a:moveTo>
                      <a:pt x="123017" y="214274"/>
                    </a:move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cubicBezTo>
                      <a:pt x="33998" y="0"/>
                      <a:pt x="0" y="34445"/>
                      <a:pt x="0" y="89467"/>
                    </a:cubicBezTo>
                    <a:lnTo>
                      <a:pt x="0" y="189223"/>
                    </a:lnTo>
                    <a:cubicBezTo>
                      <a:pt x="0" y="246035"/>
                      <a:pt x="33103" y="280927"/>
                      <a:pt x="86336" y="280927"/>
                    </a:cubicBezTo>
                    <a:cubicBezTo>
                      <a:pt x="139569" y="280927"/>
                      <a:pt x="165962" y="249166"/>
                      <a:pt x="171330" y="214274"/>
                    </a:cubicBezTo>
                    <a:lnTo>
                      <a:pt x="123017" y="214274"/>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6" name="Freeform: Shape 265">
                <a:extLst>
                  <a:ext uri="{FF2B5EF4-FFF2-40B4-BE49-F238E27FC236}">
                    <a16:creationId xmlns:a16="http://schemas.microsoft.com/office/drawing/2014/main" id="{7F590B4F-2A97-464C-84B5-1451CB4EA98A}"/>
                  </a:ext>
                </a:extLst>
              </p:cNvPr>
              <p:cNvSpPr/>
              <p:nvPr/>
            </p:nvSpPr>
            <p:spPr>
              <a:xfrm>
                <a:off x="6644344" y="5393852"/>
                <a:ext cx="182513" cy="341317"/>
              </a:xfrm>
              <a:custGeom>
                <a:avLst/>
                <a:gdLst>
                  <a:gd name="connsiteX0" fmla="*/ 132859 w 182513"/>
                  <a:gd name="connsiteY0" fmla="*/ 140464 h 341317"/>
                  <a:gd name="connsiteX1" fmla="*/ 82310 w 182513"/>
                  <a:gd name="connsiteY1" fmla="*/ 203091 h 341317"/>
                  <a:gd name="connsiteX2" fmla="*/ 49654 w 182513"/>
                  <a:gd name="connsiteY2" fmla="*/ 203091 h 341317"/>
                  <a:gd name="connsiteX3" fmla="*/ 49654 w 182513"/>
                  <a:gd name="connsiteY3" fmla="*/ 48312 h 341317"/>
                  <a:gd name="connsiteX4" fmla="*/ 82310 w 182513"/>
                  <a:gd name="connsiteY4" fmla="*/ 48312 h 341317"/>
                  <a:gd name="connsiteX5" fmla="*/ 132859 w 182513"/>
                  <a:gd name="connsiteY5" fmla="*/ 111387 h 341317"/>
                  <a:gd name="connsiteX6" fmla="*/ 132859 w 182513"/>
                  <a:gd name="connsiteY6" fmla="*/ 140464 h 341317"/>
                  <a:gd name="connsiteX7" fmla="*/ 132859 w 182513"/>
                  <a:gd name="connsiteY7" fmla="*/ 140464 h 341317"/>
                  <a:gd name="connsiteX8" fmla="*/ 85889 w 182513"/>
                  <a:gd name="connsiteY8" fmla="*/ 0 h 341317"/>
                  <a:gd name="connsiteX9" fmla="*/ 0 w 182513"/>
                  <a:gd name="connsiteY9" fmla="*/ 0 h 341317"/>
                  <a:gd name="connsiteX10" fmla="*/ 0 w 182513"/>
                  <a:gd name="connsiteY10" fmla="*/ 341318 h 341317"/>
                  <a:gd name="connsiteX11" fmla="*/ 49654 w 182513"/>
                  <a:gd name="connsiteY11" fmla="*/ 341318 h 341317"/>
                  <a:gd name="connsiteX12" fmla="*/ 49654 w 182513"/>
                  <a:gd name="connsiteY12" fmla="*/ 251403 h 341317"/>
                  <a:gd name="connsiteX13" fmla="*/ 85889 w 182513"/>
                  <a:gd name="connsiteY13" fmla="*/ 251403 h 341317"/>
                  <a:gd name="connsiteX14" fmla="*/ 182513 w 182513"/>
                  <a:gd name="connsiteY14" fmla="*/ 136885 h 341317"/>
                  <a:gd name="connsiteX15" fmla="*/ 182513 w 182513"/>
                  <a:gd name="connsiteY15" fmla="*/ 115860 h 341317"/>
                  <a:gd name="connsiteX16" fmla="*/ 85889 w 182513"/>
                  <a:gd name="connsiteY16" fmla="*/ 0 h 341317"/>
                  <a:gd name="connsiteX17" fmla="*/ 85889 w 182513"/>
                  <a:gd name="connsiteY17" fmla="*/ 0 h 34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2513" h="341317">
                    <a:moveTo>
                      <a:pt x="132859" y="140464"/>
                    </a:moveTo>
                    <a:cubicBezTo>
                      <a:pt x="132859" y="183855"/>
                      <a:pt x="117202" y="203091"/>
                      <a:pt x="82310" y="203091"/>
                    </a:cubicBezTo>
                    <a:lnTo>
                      <a:pt x="49654" y="203091"/>
                    </a:lnTo>
                    <a:lnTo>
                      <a:pt x="49654" y="48312"/>
                    </a:lnTo>
                    <a:lnTo>
                      <a:pt x="82310" y="48312"/>
                    </a:lnTo>
                    <a:cubicBezTo>
                      <a:pt x="107361" y="48312"/>
                      <a:pt x="132859" y="55917"/>
                      <a:pt x="132859" y="111387"/>
                    </a:cubicBezTo>
                    <a:lnTo>
                      <a:pt x="132859" y="140464"/>
                    </a:lnTo>
                    <a:lnTo>
                      <a:pt x="132859" y="140464"/>
                    </a:lnTo>
                    <a:close/>
                    <a:moveTo>
                      <a:pt x="85889" y="0"/>
                    </a:moveTo>
                    <a:lnTo>
                      <a:pt x="0" y="0"/>
                    </a:lnTo>
                    <a:lnTo>
                      <a:pt x="0" y="341318"/>
                    </a:lnTo>
                    <a:lnTo>
                      <a:pt x="49654" y="341318"/>
                    </a:lnTo>
                    <a:lnTo>
                      <a:pt x="49654" y="251403"/>
                    </a:lnTo>
                    <a:lnTo>
                      <a:pt x="85889" y="251403"/>
                    </a:lnTo>
                    <a:cubicBezTo>
                      <a:pt x="148068" y="251403"/>
                      <a:pt x="182513" y="210695"/>
                      <a:pt x="182513" y="136885"/>
                    </a:cubicBezTo>
                    <a:lnTo>
                      <a:pt x="182513" y="115860"/>
                    </a:lnTo>
                    <a:cubicBezTo>
                      <a:pt x="182513" y="41155"/>
                      <a:pt x="148068" y="0"/>
                      <a:pt x="85889" y="0"/>
                    </a:cubicBezTo>
                    <a:lnTo>
                      <a:pt x="85889"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7" name="Freeform: Shape 266">
                <a:extLst>
                  <a:ext uri="{FF2B5EF4-FFF2-40B4-BE49-F238E27FC236}">
                    <a16:creationId xmlns:a16="http://schemas.microsoft.com/office/drawing/2014/main" id="{C33DD450-ADA1-4EE4-A747-2BF1DC2E0069}"/>
                  </a:ext>
                </a:extLst>
              </p:cNvPr>
              <p:cNvSpPr/>
              <p:nvPr/>
            </p:nvSpPr>
            <p:spPr>
              <a:xfrm>
                <a:off x="7879439" y="5457374"/>
                <a:ext cx="171777" cy="282269"/>
              </a:xfrm>
              <a:custGeom>
                <a:avLst/>
                <a:gdLst>
                  <a:gd name="connsiteX0" fmla="*/ 99309 w 171777"/>
                  <a:gd name="connsiteY0" fmla="*/ 118097 h 282269"/>
                  <a:gd name="connsiteX1" fmla="*/ 51891 w 171777"/>
                  <a:gd name="connsiteY1" fmla="*/ 73363 h 282269"/>
                  <a:gd name="connsiteX2" fmla="*/ 86336 w 171777"/>
                  <a:gd name="connsiteY2" fmla="*/ 43839 h 282269"/>
                  <a:gd name="connsiteX3" fmla="*/ 121228 w 171777"/>
                  <a:gd name="connsiteY3" fmla="*/ 66653 h 282269"/>
                  <a:gd name="connsiteX4" fmla="*/ 168646 w 171777"/>
                  <a:gd name="connsiteY4" fmla="*/ 66653 h 282269"/>
                  <a:gd name="connsiteX5" fmla="*/ 84994 w 171777"/>
                  <a:gd name="connsiteY5" fmla="*/ 0 h 282269"/>
                  <a:gd name="connsiteX6" fmla="*/ 4473 w 171777"/>
                  <a:gd name="connsiteY6" fmla="*/ 73810 h 282269"/>
                  <a:gd name="connsiteX7" fmla="*/ 73363 w 171777"/>
                  <a:gd name="connsiteY7" fmla="*/ 155226 h 282269"/>
                  <a:gd name="connsiteX8" fmla="*/ 124359 w 171777"/>
                  <a:gd name="connsiteY8" fmla="*/ 206222 h 282269"/>
                  <a:gd name="connsiteX9" fmla="*/ 86783 w 171777"/>
                  <a:gd name="connsiteY9" fmla="*/ 239772 h 282269"/>
                  <a:gd name="connsiteX10" fmla="*/ 49207 w 171777"/>
                  <a:gd name="connsiteY10" fmla="*/ 214274 h 282269"/>
                  <a:gd name="connsiteX11" fmla="*/ 0 w 171777"/>
                  <a:gd name="connsiteY11" fmla="*/ 214274 h 282269"/>
                  <a:gd name="connsiteX12" fmla="*/ 86783 w 171777"/>
                  <a:gd name="connsiteY12" fmla="*/ 282269 h 282269"/>
                  <a:gd name="connsiteX13" fmla="*/ 171777 w 171777"/>
                  <a:gd name="connsiteY13" fmla="*/ 204433 h 282269"/>
                  <a:gd name="connsiteX14" fmla="*/ 98861 w 171777"/>
                  <a:gd name="connsiteY14" fmla="*/ 118097 h 282269"/>
                  <a:gd name="connsiteX15" fmla="*/ 98861 w 171777"/>
                  <a:gd name="connsiteY15" fmla="*/ 118097 h 28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777" h="282269">
                    <a:moveTo>
                      <a:pt x="99309" y="118097"/>
                    </a:moveTo>
                    <a:cubicBezTo>
                      <a:pt x="73810" y="106019"/>
                      <a:pt x="51891" y="95730"/>
                      <a:pt x="51891" y="73363"/>
                    </a:cubicBezTo>
                    <a:cubicBezTo>
                      <a:pt x="51891" y="55470"/>
                      <a:pt x="65311" y="43839"/>
                      <a:pt x="86336" y="43839"/>
                    </a:cubicBezTo>
                    <a:cubicBezTo>
                      <a:pt x="105124" y="43839"/>
                      <a:pt x="116755" y="51444"/>
                      <a:pt x="121228" y="66653"/>
                    </a:cubicBezTo>
                    <a:lnTo>
                      <a:pt x="168646" y="66653"/>
                    </a:lnTo>
                    <a:cubicBezTo>
                      <a:pt x="162383" y="24156"/>
                      <a:pt x="132859" y="0"/>
                      <a:pt x="84994" y="0"/>
                    </a:cubicBezTo>
                    <a:cubicBezTo>
                      <a:pt x="37129" y="0"/>
                      <a:pt x="4473" y="29972"/>
                      <a:pt x="4473" y="73810"/>
                    </a:cubicBezTo>
                    <a:cubicBezTo>
                      <a:pt x="4473" y="122123"/>
                      <a:pt x="41155" y="139569"/>
                      <a:pt x="73363" y="155226"/>
                    </a:cubicBezTo>
                    <a:cubicBezTo>
                      <a:pt x="100651" y="168646"/>
                      <a:pt x="124359" y="179829"/>
                      <a:pt x="124359" y="206222"/>
                    </a:cubicBezTo>
                    <a:cubicBezTo>
                      <a:pt x="124359" y="228142"/>
                      <a:pt x="105571" y="239772"/>
                      <a:pt x="86783" y="239772"/>
                    </a:cubicBezTo>
                    <a:cubicBezTo>
                      <a:pt x="67995" y="239772"/>
                      <a:pt x="54128" y="230378"/>
                      <a:pt x="49207" y="214274"/>
                    </a:cubicBezTo>
                    <a:lnTo>
                      <a:pt x="0" y="214274"/>
                    </a:lnTo>
                    <a:cubicBezTo>
                      <a:pt x="6710" y="255876"/>
                      <a:pt x="39366" y="282269"/>
                      <a:pt x="86783" y="282269"/>
                    </a:cubicBezTo>
                    <a:cubicBezTo>
                      <a:pt x="145384" y="282269"/>
                      <a:pt x="171777" y="243351"/>
                      <a:pt x="171777" y="204433"/>
                    </a:cubicBezTo>
                    <a:cubicBezTo>
                      <a:pt x="171777" y="152094"/>
                      <a:pt x="131517" y="133306"/>
                      <a:pt x="98861" y="118097"/>
                    </a:cubicBezTo>
                    <a:lnTo>
                      <a:pt x="98861" y="118097"/>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8" name="Freeform: Shape 267">
                <a:extLst>
                  <a:ext uri="{FF2B5EF4-FFF2-40B4-BE49-F238E27FC236}">
                    <a16:creationId xmlns:a16="http://schemas.microsoft.com/office/drawing/2014/main" id="{7DC96194-46B0-46C4-9C4C-E462F20C9F99}"/>
                  </a:ext>
                </a:extLst>
              </p:cNvPr>
              <p:cNvSpPr/>
              <p:nvPr/>
            </p:nvSpPr>
            <p:spPr>
              <a:xfrm>
                <a:off x="7683953" y="5457374"/>
                <a:ext cx="172224" cy="282269"/>
              </a:xfrm>
              <a:custGeom>
                <a:avLst/>
                <a:gdLst>
                  <a:gd name="connsiteX0" fmla="*/ 172224 w 172224"/>
                  <a:gd name="connsiteY0" fmla="*/ 204433 h 282269"/>
                  <a:gd name="connsiteX1" fmla="*/ 99309 w 172224"/>
                  <a:gd name="connsiteY1" fmla="*/ 118097 h 282269"/>
                  <a:gd name="connsiteX2" fmla="*/ 51891 w 172224"/>
                  <a:gd name="connsiteY2" fmla="*/ 73363 h 282269"/>
                  <a:gd name="connsiteX3" fmla="*/ 86336 w 172224"/>
                  <a:gd name="connsiteY3" fmla="*/ 43839 h 282269"/>
                  <a:gd name="connsiteX4" fmla="*/ 121228 w 172224"/>
                  <a:gd name="connsiteY4" fmla="*/ 66653 h 282269"/>
                  <a:gd name="connsiteX5" fmla="*/ 168646 w 172224"/>
                  <a:gd name="connsiteY5" fmla="*/ 66653 h 282269"/>
                  <a:gd name="connsiteX6" fmla="*/ 84994 w 172224"/>
                  <a:gd name="connsiteY6" fmla="*/ 0 h 282269"/>
                  <a:gd name="connsiteX7" fmla="*/ 4473 w 172224"/>
                  <a:gd name="connsiteY7" fmla="*/ 73810 h 282269"/>
                  <a:gd name="connsiteX8" fmla="*/ 73363 w 172224"/>
                  <a:gd name="connsiteY8" fmla="*/ 155226 h 282269"/>
                  <a:gd name="connsiteX9" fmla="*/ 124360 w 172224"/>
                  <a:gd name="connsiteY9" fmla="*/ 206222 h 282269"/>
                  <a:gd name="connsiteX10" fmla="*/ 86783 w 172224"/>
                  <a:gd name="connsiteY10" fmla="*/ 239772 h 282269"/>
                  <a:gd name="connsiteX11" fmla="*/ 49207 w 172224"/>
                  <a:gd name="connsiteY11" fmla="*/ 214274 h 282269"/>
                  <a:gd name="connsiteX12" fmla="*/ 0 w 172224"/>
                  <a:gd name="connsiteY12" fmla="*/ 214274 h 282269"/>
                  <a:gd name="connsiteX13" fmla="*/ 86783 w 172224"/>
                  <a:gd name="connsiteY13" fmla="*/ 282269 h 282269"/>
                  <a:gd name="connsiteX14" fmla="*/ 171777 w 172224"/>
                  <a:gd name="connsiteY14" fmla="*/ 204433 h 282269"/>
                  <a:gd name="connsiteX15" fmla="*/ 171777 w 172224"/>
                  <a:gd name="connsiteY15" fmla="*/ 204433 h 28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224" h="282269">
                    <a:moveTo>
                      <a:pt x="172224" y="204433"/>
                    </a:moveTo>
                    <a:cubicBezTo>
                      <a:pt x="172224" y="152094"/>
                      <a:pt x="131964" y="133306"/>
                      <a:pt x="99309" y="118097"/>
                    </a:cubicBezTo>
                    <a:cubicBezTo>
                      <a:pt x="73810" y="106019"/>
                      <a:pt x="51891" y="95730"/>
                      <a:pt x="51891" y="73363"/>
                    </a:cubicBezTo>
                    <a:cubicBezTo>
                      <a:pt x="51891" y="55470"/>
                      <a:pt x="65311" y="43839"/>
                      <a:pt x="86336" y="43839"/>
                    </a:cubicBezTo>
                    <a:cubicBezTo>
                      <a:pt x="105124" y="43839"/>
                      <a:pt x="116755" y="51444"/>
                      <a:pt x="121228" y="66653"/>
                    </a:cubicBezTo>
                    <a:lnTo>
                      <a:pt x="168646" y="66653"/>
                    </a:lnTo>
                    <a:cubicBezTo>
                      <a:pt x="162383" y="24156"/>
                      <a:pt x="132859" y="0"/>
                      <a:pt x="84994" y="0"/>
                    </a:cubicBezTo>
                    <a:cubicBezTo>
                      <a:pt x="37129" y="0"/>
                      <a:pt x="4473" y="29972"/>
                      <a:pt x="4473" y="73810"/>
                    </a:cubicBezTo>
                    <a:cubicBezTo>
                      <a:pt x="4473" y="122123"/>
                      <a:pt x="41155" y="139569"/>
                      <a:pt x="73363" y="155226"/>
                    </a:cubicBezTo>
                    <a:cubicBezTo>
                      <a:pt x="100651" y="168646"/>
                      <a:pt x="124360" y="179829"/>
                      <a:pt x="124360" y="206222"/>
                    </a:cubicBezTo>
                    <a:cubicBezTo>
                      <a:pt x="124360" y="228142"/>
                      <a:pt x="105571" y="239772"/>
                      <a:pt x="86783" y="239772"/>
                    </a:cubicBezTo>
                    <a:cubicBezTo>
                      <a:pt x="67995" y="239772"/>
                      <a:pt x="54128" y="230378"/>
                      <a:pt x="49207" y="214274"/>
                    </a:cubicBezTo>
                    <a:lnTo>
                      <a:pt x="0" y="214274"/>
                    </a:lnTo>
                    <a:cubicBezTo>
                      <a:pt x="6710" y="255876"/>
                      <a:pt x="39366" y="282269"/>
                      <a:pt x="86783" y="282269"/>
                    </a:cubicBezTo>
                    <a:cubicBezTo>
                      <a:pt x="145384" y="282269"/>
                      <a:pt x="171777" y="243351"/>
                      <a:pt x="171777" y="204433"/>
                    </a:cubicBezTo>
                    <a:lnTo>
                      <a:pt x="171777" y="204433"/>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69" name="Freeform: Shape 268">
                <a:extLst>
                  <a:ext uri="{FF2B5EF4-FFF2-40B4-BE49-F238E27FC236}">
                    <a16:creationId xmlns:a16="http://schemas.microsoft.com/office/drawing/2014/main" id="{183570AC-BE7D-4168-8ACA-3DA1F567A125}"/>
                  </a:ext>
                </a:extLst>
              </p:cNvPr>
              <p:cNvSpPr/>
              <p:nvPr/>
            </p:nvSpPr>
            <p:spPr>
              <a:xfrm>
                <a:off x="8043164" y="5431876"/>
                <a:ext cx="50996" cy="50996"/>
              </a:xfrm>
              <a:custGeom>
                <a:avLst/>
                <a:gdLst>
                  <a:gd name="connsiteX0" fmla="*/ 43839 w 50996"/>
                  <a:gd name="connsiteY0" fmla="*/ 36234 h 50996"/>
                  <a:gd name="connsiteX1" fmla="*/ 35787 w 50996"/>
                  <a:gd name="connsiteY1" fmla="*/ 43839 h 50996"/>
                  <a:gd name="connsiteX2" fmla="*/ 25051 w 50996"/>
                  <a:gd name="connsiteY2" fmla="*/ 46523 h 50996"/>
                  <a:gd name="connsiteX3" fmla="*/ 14315 w 50996"/>
                  <a:gd name="connsiteY3" fmla="*/ 43839 h 50996"/>
                  <a:gd name="connsiteX4" fmla="*/ 6263 w 50996"/>
                  <a:gd name="connsiteY4" fmla="*/ 36234 h 50996"/>
                  <a:gd name="connsiteX5" fmla="*/ 3131 w 50996"/>
                  <a:gd name="connsiteY5" fmla="*/ 25498 h 50996"/>
                  <a:gd name="connsiteX6" fmla="*/ 5815 w 50996"/>
                  <a:gd name="connsiteY6" fmla="*/ 14762 h 50996"/>
                  <a:gd name="connsiteX7" fmla="*/ 13867 w 50996"/>
                  <a:gd name="connsiteY7" fmla="*/ 6710 h 50996"/>
                  <a:gd name="connsiteX8" fmla="*/ 24603 w 50996"/>
                  <a:gd name="connsiteY8" fmla="*/ 4026 h 50996"/>
                  <a:gd name="connsiteX9" fmla="*/ 35340 w 50996"/>
                  <a:gd name="connsiteY9" fmla="*/ 6710 h 50996"/>
                  <a:gd name="connsiteX10" fmla="*/ 43392 w 50996"/>
                  <a:gd name="connsiteY10" fmla="*/ 14762 h 50996"/>
                  <a:gd name="connsiteX11" fmla="*/ 46076 w 50996"/>
                  <a:gd name="connsiteY11" fmla="*/ 25498 h 50996"/>
                  <a:gd name="connsiteX12" fmla="*/ 42944 w 50996"/>
                  <a:gd name="connsiteY12" fmla="*/ 36234 h 50996"/>
                  <a:gd name="connsiteX13" fmla="*/ 42944 w 50996"/>
                  <a:gd name="connsiteY13" fmla="*/ 36234 h 50996"/>
                  <a:gd name="connsiteX14" fmla="*/ 38024 w 50996"/>
                  <a:gd name="connsiteY14" fmla="*/ 3579 h 50996"/>
                  <a:gd name="connsiteX15" fmla="*/ 25498 w 50996"/>
                  <a:gd name="connsiteY15" fmla="*/ 0 h 50996"/>
                  <a:gd name="connsiteX16" fmla="*/ 12973 w 50996"/>
                  <a:gd name="connsiteY16" fmla="*/ 3579 h 50996"/>
                  <a:gd name="connsiteX17" fmla="*/ 3579 w 50996"/>
                  <a:gd name="connsiteY17" fmla="*/ 12973 h 50996"/>
                  <a:gd name="connsiteX18" fmla="*/ 0 w 50996"/>
                  <a:gd name="connsiteY18" fmla="*/ 25498 h 50996"/>
                  <a:gd name="connsiteX19" fmla="*/ 3579 w 50996"/>
                  <a:gd name="connsiteY19" fmla="*/ 38471 h 50996"/>
                  <a:gd name="connsiteX20" fmla="*/ 12973 w 50996"/>
                  <a:gd name="connsiteY20" fmla="*/ 47865 h 50996"/>
                  <a:gd name="connsiteX21" fmla="*/ 25498 w 50996"/>
                  <a:gd name="connsiteY21" fmla="*/ 50996 h 50996"/>
                  <a:gd name="connsiteX22" fmla="*/ 38024 w 50996"/>
                  <a:gd name="connsiteY22" fmla="*/ 47865 h 50996"/>
                  <a:gd name="connsiteX23" fmla="*/ 47418 w 50996"/>
                  <a:gd name="connsiteY23" fmla="*/ 38471 h 50996"/>
                  <a:gd name="connsiteX24" fmla="*/ 50996 w 50996"/>
                  <a:gd name="connsiteY24" fmla="*/ 25498 h 50996"/>
                  <a:gd name="connsiteX25" fmla="*/ 47418 w 50996"/>
                  <a:gd name="connsiteY25" fmla="*/ 12973 h 50996"/>
                  <a:gd name="connsiteX26" fmla="*/ 38024 w 50996"/>
                  <a:gd name="connsiteY26" fmla="*/ 3579 h 50996"/>
                  <a:gd name="connsiteX27" fmla="*/ 38024 w 50996"/>
                  <a:gd name="connsiteY27" fmla="*/ 3579 h 5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996" h="50996">
                    <a:moveTo>
                      <a:pt x="43839" y="36234"/>
                    </a:moveTo>
                    <a:cubicBezTo>
                      <a:pt x="42050" y="39366"/>
                      <a:pt x="39366" y="42050"/>
                      <a:pt x="35787" y="43839"/>
                    </a:cubicBezTo>
                    <a:cubicBezTo>
                      <a:pt x="32656" y="45628"/>
                      <a:pt x="29077" y="46523"/>
                      <a:pt x="25051" y="46523"/>
                    </a:cubicBezTo>
                    <a:cubicBezTo>
                      <a:pt x="21025" y="46523"/>
                      <a:pt x="17893" y="45628"/>
                      <a:pt x="14315" y="43839"/>
                    </a:cubicBezTo>
                    <a:cubicBezTo>
                      <a:pt x="11183" y="42050"/>
                      <a:pt x="8499" y="39366"/>
                      <a:pt x="6263" y="36234"/>
                    </a:cubicBezTo>
                    <a:cubicBezTo>
                      <a:pt x="4473" y="32656"/>
                      <a:pt x="3131" y="29077"/>
                      <a:pt x="3131" y="25498"/>
                    </a:cubicBezTo>
                    <a:cubicBezTo>
                      <a:pt x="3131" y="21919"/>
                      <a:pt x="4026" y="17893"/>
                      <a:pt x="5815" y="14762"/>
                    </a:cubicBezTo>
                    <a:cubicBezTo>
                      <a:pt x="7605" y="11631"/>
                      <a:pt x="10289" y="8947"/>
                      <a:pt x="13867" y="6710"/>
                    </a:cubicBezTo>
                    <a:cubicBezTo>
                      <a:pt x="16999" y="4921"/>
                      <a:pt x="20577" y="4026"/>
                      <a:pt x="24603" y="4026"/>
                    </a:cubicBezTo>
                    <a:cubicBezTo>
                      <a:pt x="28629" y="4026"/>
                      <a:pt x="31761" y="4921"/>
                      <a:pt x="35340" y="6710"/>
                    </a:cubicBezTo>
                    <a:cubicBezTo>
                      <a:pt x="38471" y="8499"/>
                      <a:pt x="41155" y="11183"/>
                      <a:pt x="43392" y="14762"/>
                    </a:cubicBezTo>
                    <a:cubicBezTo>
                      <a:pt x="45181" y="18341"/>
                      <a:pt x="46076" y="21919"/>
                      <a:pt x="46076" y="25498"/>
                    </a:cubicBezTo>
                    <a:cubicBezTo>
                      <a:pt x="46076" y="29524"/>
                      <a:pt x="45181" y="33103"/>
                      <a:pt x="42944" y="36234"/>
                    </a:cubicBezTo>
                    <a:lnTo>
                      <a:pt x="42944" y="36234"/>
                    </a:lnTo>
                    <a:close/>
                    <a:moveTo>
                      <a:pt x="38024" y="3579"/>
                    </a:moveTo>
                    <a:cubicBezTo>
                      <a:pt x="33997" y="1342"/>
                      <a:pt x="29972" y="0"/>
                      <a:pt x="25498" y="0"/>
                    </a:cubicBezTo>
                    <a:cubicBezTo>
                      <a:pt x="21025" y="0"/>
                      <a:pt x="16999" y="1342"/>
                      <a:pt x="12973" y="3579"/>
                    </a:cubicBezTo>
                    <a:cubicBezTo>
                      <a:pt x="8947" y="5815"/>
                      <a:pt x="5815" y="8947"/>
                      <a:pt x="3579" y="12973"/>
                    </a:cubicBezTo>
                    <a:cubicBezTo>
                      <a:pt x="1342" y="16999"/>
                      <a:pt x="0" y="21025"/>
                      <a:pt x="0" y="25498"/>
                    </a:cubicBezTo>
                    <a:cubicBezTo>
                      <a:pt x="0" y="29972"/>
                      <a:pt x="1342" y="34445"/>
                      <a:pt x="3579" y="38471"/>
                    </a:cubicBezTo>
                    <a:cubicBezTo>
                      <a:pt x="5815" y="42497"/>
                      <a:pt x="8947" y="45628"/>
                      <a:pt x="12973" y="47865"/>
                    </a:cubicBezTo>
                    <a:cubicBezTo>
                      <a:pt x="16999" y="50102"/>
                      <a:pt x="21025" y="50996"/>
                      <a:pt x="25498" y="50996"/>
                    </a:cubicBezTo>
                    <a:cubicBezTo>
                      <a:pt x="29972" y="50996"/>
                      <a:pt x="33997" y="50102"/>
                      <a:pt x="38024" y="47865"/>
                    </a:cubicBezTo>
                    <a:cubicBezTo>
                      <a:pt x="42050" y="45628"/>
                      <a:pt x="45181" y="42497"/>
                      <a:pt x="47418" y="38471"/>
                    </a:cubicBezTo>
                    <a:cubicBezTo>
                      <a:pt x="49654" y="34445"/>
                      <a:pt x="50996" y="30419"/>
                      <a:pt x="50996" y="25498"/>
                    </a:cubicBezTo>
                    <a:cubicBezTo>
                      <a:pt x="50996" y="20577"/>
                      <a:pt x="49654" y="16551"/>
                      <a:pt x="47418" y="12973"/>
                    </a:cubicBezTo>
                    <a:cubicBezTo>
                      <a:pt x="45181" y="8947"/>
                      <a:pt x="42050" y="5815"/>
                      <a:pt x="38024" y="3579"/>
                    </a:cubicBezTo>
                    <a:lnTo>
                      <a:pt x="38024" y="3579"/>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0" name="Freeform: Shape 269">
                <a:extLst>
                  <a:ext uri="{FF2B5EF4-FFF2-40B4-BE49-F238E27FC236}">
                    <a16:creationId xmlns:a16="http://schemas.microsoft.com/office/drawing/2014/main" id="{138B955A-256C-41D9-B034-F91468324952}"/>
                  </a:ext>
                </a:extLst>
              </p:cNvPr>
              <p:cNvSpPr/>
              <p:nvPr/>
            </p:nvSpPr>
            <p:spPr>
              <a:xfrm>
                <a:off x="8060163" y="5443059"/>
                <a:ext cx="19682" cy="28182"/>
              </a:xfrm>
              <a:custGeom>
                <a:avLst/>
                <a:gdLst>
                  <a:gd name="connsiteX0" fmla="*/ 7605 w 19682"/>
                  <a:gd name="connsiteY0" fmla="*/ 12973 h 28182"/>
                  <a:gd name="connsiteX1" fmla="*/ 4473 w 19682"/>
                  <a:gd name="connsiteY1" fmla="*/ 12973 h 28182"/>
                  <a:gd name="connsiteX2" fmla="*/ 4473 w 19682"/>
                  <a:gd name="connsiteY2" fmla="*/ 3579 h 28182"/>
                  <a:gd name="connsiteX3" fmla="*/ 7605 w 19682"/>
                  <a:gd name="connsiteY3" fmla="*/ 3579 h 28182"/>
                  <a:gd name="connsiteX4" fmla="*/ 10736 w 19682"/>
                  <a:gd name="connsiteY4" fmla="*/ 4026 h 28182"/>
                  <a:gd name="connsiteX5" fmla="*/ 12078 w 19682"/>
                  <a:gd name="connsiteY5" fmla="*/ 5815 h 28182"/>
                  <a:gd name="connsiteX6" fmla="*/ 12525 w 19682"/>
                  <a:gd name="connsiteY6" fmla="*/ 8052 h 28182"/>
                  <a:gd name="connsiteX7" fmla="*/ 11183 w 19682"/>
                  <a:gd name="connsiteY7" fmla="*/ 11631 h 28182"/>
                  <a:gd name="connsiteX8" fmla="*/ 7157 w 19682"/>
                  <a:gd name="connsiteY8" fmla="*/ 13420 h 28182"/>
                  <a:gd name="connsiteX9" fmla="*/ 7157 w 19682"/>
                  <a:gd name="connsiteY9" fmla="*/ 13420 h 28182"/>
                  <a:gd name="connsiteX10" fmla="*/ 12078 w 19682"/>
                  <a:gd name="connsiteY10" fmla="*/ 15657 h 28182"/>
                  <a:gd name="connsiteX11" fmla="*/ 16104 w 19682"/>
                  <a:gd name="connsiteY11" fmla="*/ 12078 h 28182"/>
                  <a:gd name="connsiteX12" fmla="*/ 17446 w 19682"/>
                  <a:gd name="connsiteY12" fmla="*/ 7605 h 28182"/>
                  <a:gd name="connsiteX13" fmla="*/ 16551 w 19682"/>
                  <a:gd name="connsiteY13" fmla="*/ 3579 h 28182"/>
                  <a:gd name="connsiteX14" fmla="*/ 13867 w 19682"/>
                  <a:gd name="connsiteY14" fmla="*/ 895 h 28182"/>
                  <a:gd name="connsiteX15" fmla="*/ 8947 w 19682"/>
                  <a:gd name="connsiteY15" fmla="*/ 0 h 28182"/>
                  <a:gd name="connsiteX16" fmla="*/ 0 w 19682"/>
                  <a:gd name="connsiteY16" fmla="*/ 0 h 28182"/>
                  <a:gd name="connsiteX17" fmla="*/ 0 w 19682"/>
                  <a:gd name="connsiteY17" fmla="*/ 28182 h 28182"/>
                  <a:gd name="connsiteX18" fmla="*/ 4473 w 19682"/>
                  <a:gd name="connsiteY18" fmla="*/ 28182 h 28182"/>
                  <a:gd name="connsiteX19" fmla="*/ 4473 w 19682"/>
                  <a:gd name="connsiteY19" fmla="*/ 16551 h 28182"/>
                  <a:gd name="connsiteX20" fmla="*/ 7605 w 19682"/>
                  <a:gd name="connsiteY20" fmla="*/ 16551 h 28182"/>
                  <a:gd name="connsiteX21" fmla="*/ 9841 w 19682"/>
                  <a:gd name="connsiteY21" fmla="*/ 19235 h 28182"/>
                  <a:gd name="connsiteX22" fmla="*/ 10736 w 19682"/>
                  <a:gd name="connsiteY22" fmla="*/ 21025 h 28182"/>
                  <a:gd name="connsiteX23" fmla="*/ 14762 w 19682"/>
                  <a:gd name="connsiteY23" fmla="*/ 28182 h 28182"/>
                  <a:gd name="connsiteX24" fmla="*/ 19683 w 19682"/>
                  <a:gd name="connsiteY24" fmla="*/ 28182 h 28182"/>
                  <a:gd name="connsiteX25" fmla="*/ 15209 w 19682"/>
                  <a:gd name="connsiteY25" fmla="*/ 19683 h 28182"/>
                  <a:gd name="connsiteX26" fmla="*/ 12078 w 19682"/>
                  <a:gd name="connsiteY26" fmla="*/ 15657 h 28182"/>
                  <a:gd name="connsiteX27" fmla="*/ 12078 w 19682"/>
                  <a:gd name="connsiteY27" fmla="*/ 15657 h 2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9682" h="28182">
                    <a:moveTo>
                      <a:pt x="7605" y="12973"/>
                    </a:moveTo>
                    <a:lnTo>
                      <a:pt x="4473" y="12973"/>
                    </a:lnTo>
                    <a:lnTo>
                      <a:pt x="4473" y="3579"/>
                    </a:lnTo>
                    <a:lnTo>
                      <a:pt x="7605" y="3579"/>
                    </a:lnTo>
                    <a:cubicBezTo>
                      <a:pt x="7605" y="3579"/>
                      <a:pt x="10289" y="3579"/>
                      <a:pt x="10736" y="4026"/>
                    </a:cubicBezTo>
                    <a:cubicBezTo>
                      <a:pt x="11183" y="4026"/>
                      <a:pt x="11631" y="4921"/>
                      <a:pt x="12078" y="5815"/>
                    </a:cubicBezTo>
                    <a:cubicBezTo>
                      <a:pt x="12078" y="6263"/>
                      <a:pt x="12525" y="7157"/>
                      <a:pt x="12525" y="8052"/>
                    </a:cubicBezTo>
                    <a:cubicBezTo>
                      <a:pt x="12525" y="9394"/>
                      <a:pt x="12525" y="10736"/>
                      <a:pt x="11183" y="11631"/>
                    </a:cubicBezTo>
                    <a:cubicBezTo>
                      <a:pt x="10289" y="12525"/>
                      <a:pt x="8947" y="13420"/>
                      <a:pt x="7157" y="13420"/>
                    </a:cubicBezTo>
                    <a:lnTo>
                      <a:pt x="7157" y="13420"/>
                    </a:lnTo>
                    <a:close/>
                    <a:moveTo>
                      <a:pt x="12078" y="15657"/>
                    </a:moveTo>
                    <a:cubicBezTo>
                      <a:pt x="12078" y="15657"/>
                      <a:pt x="15209" y="13867"/>
                      <a:pt x="16104" y="12078"/>
                    </a:cubicBezTo>
                    <a:cubicBezTo>
                      <a:pt x="16999" y="10736"/>
                      <a:pt x="17446" y="8947"/>
                      <a:pt x="17446" y="7605"/>
                    </a:cubicBezTo>
                    <a:cubicBezTo>
                      <a:pt x="17446" y="6263"/>
                      <a:pt x="17446" y="4921"/>
                      <a:pt x="16551" y="3579"/>
                    </a:cubicBezTo>
                    <a:cubicBezTo>
                      <a:pt x="16104" y="2237"/>
                      <a:pt x="15209" y="1342"/>
                      <a:pt x="13867" y="895"/>
                    </a:cubicBezTo>
                    <a:cubicBezTo>
                      <a:pt x="12973" y="447"/>
                      <a:pt x="11183" y="0"/>
                      <a:pt x="8947" y="0"/>
                    </a:cubicBezTo>
                    <a:lnTo>
                      <a:pt x="0" y="0"/>
                    </a:lnTo>
                    <a:lnTo>
                      <a:pt x="0" y="28182"/>
                    </a:lnTo>
                    <a:lnTo>
                      <a:pt x="4473" y="28182"/>
                    </a:lnTo>
                    <a:lnTo>
                      <a:pt x="4473" y="16551"/>
                    </a:lnTo>
                    <a:lnTo>
                      <a:pt x="7605" y="16551"/>
                    </a:lnTo>
                    <a:cubicBezTo>
                      <a:pt x="7605" y="16551"/>
                      <a:pt x="8947" y="17446"/>
                      <a:pt x="9841" y="19235"/>
                    </a:cubicBezTo>
                    <a:lnTo>
                      <a:pt x="10736" y="21025"/>
                    </a:lnTo>
                    <a:lnTo>
                      <a:pt x="14762" y="28182"/>
                    </a:lnTo>
                    <a:lnTo>
                      <a:pt x="19683" y="28182"/>
                    </a:lnTo>
                    <a:lnTo>
                      <a:pt x="15209" y="19683"/>
                    </a:lnTo>
                    <a:cubicBezTo>
                      <a:pt x="15209" y="19683"/>
                      <a:pt x="12973" y="16104"/>
                      <a:pt x="12078" y="15657"/>
                    </a:cubicBezTo>
                    <a:lnTo>
                      <a:pt x="12078" y="15657"/>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271" name="Freeform: Shape 270">
                <a:extLst>
                  <a:ext uri="{FF2B5EF4-FFF2-40B4-BE49-F238E27FC236}">
                    <a16:creationId xmlns:a16="http://schemas.microsoft.com/office/drawing/2014/main" id="{350A04EF-0141-46F8-AA28-CCB0DDD09161}"/>
                  </a:ext>
                </a:extLst>
              </p:cNvPr>
              <p:cNvSpPr/>
              <p:nvPr/>
            </p:nvSpPr>
            <p:spPr>
              <a:xfrm>
                <a:off x="7486678" y="5457821"/>
                <a:ext cx="172671" cy="280927"/>
              </a:xfrm>
              <a:custGeom>
                <a:avLst/>
                <a:gdLst>
                  <a:gd name="connsiteX0" fmla="*/ 124807 w 172671"/>
                  <a:gd name="connsiteY0" fmla="*/ 120333 h 280927"/>
                  <a:gd name="connsiteX1" fmla="*/ 47418 w 172671"/>
                  <a:gd name="connsiteY1" fmla="*/ 120333 h 280927"/>
                  <a:gd name="connsiteX2" fmla="*/ 47418 w 172671"/>
                  <a:gd name="connsiteY2" fmla="*/ 84099 h 280927"/>
                  <a:gd name="connsiteX3" fmla="*/ 86336 w 172671"/>
                  <a:gd name="connsiteY3" fmla="*/ 42497 h 280927"/>
                  <a:gd name="connsiteX4" fmla="*/ 124807 w 172671"/>
                  <a:gd name="connsiteY4" fmla="*/ 84994 h 280927"/>
                  <a:gd name="connsiteX5" fmla="*/ 124807 w 172671"/>
                  <a:gd name="connsiteY5" fmla="*/ 119886 h 280927"/>
                  <a:gd name="connsiteX6" fmla="*/ 124807 w 172671"/>
                  <a:gd name="connsiteY6" fmla="*/ 119886 h 280927"/>
                  <a:gd name="connsiteX7" fmla="*/ 86336 w 172671"/>
                  <a:gd name="connsiteY7" fmla="*/ 0 h 280927"/>
                  <a:gd name="connsiteX8" fmla="*/ 0 w 172671"/>
                  <a:gd name="connsiteY8" fmla="*/ 89467 h 280927"/>
                  <a:gd name="connsiteX9" fmla="*/ 0 w 172671"/>
                  <a:gd name="connsiteY9" fmla="*/ 189223 h 280927"/>
                  <a:gd name="connsiteX10" fmla="*/ 86336 w 172671"/>
                  <a:gd name="connsiteY10" fmla="*/ 280927 h 280927"/>
                  <a:gd name="connsiteX11" fmla="*/ 171330 w 172671"/>
                  <a:gd name="connsiteY11" fmla="*/ 214274 h 280927"/>
                  <a:gd name="connsiteX12" fmla="*/ 123017 w 172671"/>
                  <a:gd name="connsiteY12" fmla="*/ 214274 h 280927"/>
                  <a:gd name="connsiteX13" fmla="*/ 86336 w 172671"/>
                  <a:gd name="connsiteY13" fmla="*/ 238878 h 280927"/>
                  <a:gd name="connsiteX14" fmla="*/ 47418 w 172671"/>
                  <a:gd name="connsiteY14" fmla="*/ 188329 h 280927"/>
                  <a:gd name="connsiteX15" fmla="*/ 47418 w 172671"/>
                  <a:gd name="connsiteY15" fmla="*/ 157910 h 280927"/>
                  <a:gd name="connsiteX16" fmla="*/ 172672 w 172671"/>
                  <a:gd name="connsiteY16" fmla="*/ 157910 h 280927"/>
                  <a:gd name="connsiteX17" fmla="*/ 172672 w 172671"/>
                  <a:gd name="connsiteY17" fmla="*/ 89467 h 280927"/>
                  <a:gd name="connsiteX18" fmla="*/ 86336 w 172671"/>
                  <a:gd name="connsiteY18" fmla="*/ 0 h 280927"/>
                  <a:gd name="connsiteX19" fmla="*/ 86336 w 172671"/>
                  <a:gd name="connsiteY19" fmla="*/ 0 h 28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671" h="280927">
                    <a:moveTo>
                      <a:pt x="124807" y="120333"/>
                    </a:moveTo>
                    <a:lnTo>
                      <a:pt x="47418" y="120333"/>
                    </a:lnTo>
                    <a:lnTo>
                      <a:pt x="47418" y="84099"/>
                    </a:lnTo>
                    <a:cubicBezTo>
                      <a:pt x="47418" y="58154"/>
                      <a:pt x="61732" y="42497"/>
                      <a:pt x="86336" y="42497"/>
                    </a:cubicBezTo>
                    <a:cubicBezTo>
                      <a:pt x="110939" y="42497"/>
                      <a:pt x="124807" y="58601"/>
                      <a:pt x="124807" y="84994"/>
                    </a:cubicBezTo>
                    <a:lnTo>
                      <a:pt x="124807" y="119886"/>
                    </a:lnTo>
                    <a:lnTo>
                      <a:pt x="124807" y="119886"/>
                    </a:lnTo>
                    <a:close/>
                    <a:moveTo>
                      <a:pt x="86336" y="0"/>
                    </a:moveTo>
                    <a:cubicBezTo>
                      <a:pt x="33103" y="0"/>
                      <a:pt x="0" y="34445"/>
                      <a:pt x="0" y="89467"/>
                    </a:cubicBezTo>
                    <a:lnTo>
                      <a:pt x="0" y="189223"/>
                    </a:lnTo>
                    <a:cubicBezTo>
                      <a:pt x="0" y="246035"/>
                      <a:pt x="33103" y="280927"/>
                      <a:pt x="86336" y="280927"/>
                    </a:cubicBezTo>
                    <a:cubicBezTo>
                      <a:pt x="139569" y="280927"/>
                      <a:pt x="165962" y="249166"/>
                      <a:pt x="171330" y="214274"/>
                    </a:cubicBezTo>
                    <a:lnTo>
                      <a:pt x="123017" y="214274"/>
                    </a:lnTo>
                    <a:cubicBezTo>
                      <a:pt x="118991" y="229036"/>
                      <a:pt x="105124" y="238878"/>
                      <a:pt x="86336" y="238878"/>
                    </a:cubicBezTo>
                    <a:cubicBezTo>
                      <a:pt x="52338" y="238878"/>
                      <a:pt x="47418" y="207117"/>
                      <a:pt x="47418" y="188329"/>
                    </a:cubicBezTo>
                    <a:lnTo>
                      <a:pt x="47418" y="157910"/>
                    </a:lnTo>
                    <a:lnTo>
                      <a:pt x="172672" y="157910"/>
                    </a:lnTo>
                    <a:lnTo>
                      <a:pt x="172672" y="89467"/>
                    </a:lnTo>
                    <a:cubicBezTo>
                      <a:pt x="172672" y="34892"/>
                      <a:pt x="138674" y="0"/>
                      <a:pt x="86336" y="0"/>
                    </a:cubicBezTo>
                    <a:lnTo>
                      <a:pt x="86336" y="0"/>
                    </a:lnTo>
                    <a:close/>
                  </a:path>
                </a:pathLst>
              </a:custGeom>
              <a:solidFill>
                <a:srgbClr val="A1ABB2"/>
              </a:solidFill>
              <a:ln w="4464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306" name="Group 305">
            <a:extLst>
              <a:ext uri="{FF2B5EF4-FFF2-40B4-BE49-F238E27FC236}">
                <a16:creationId xmlns:a16="http://schemas.microsoft.com/office/drawing/2014/main" id="{115DD45B-AF02-4BCA-859D-1BDB5C7E6CD8}"/>
              </a:ext>
            </a:extLst>
          </p:cNvPr>
          <p:cNvGrpSpPr/>
          <p:nvPr userDrawn="1"/>
        </p:nvGrpSpPr>
        <p:grpSpPr>
          <a:xfrm>
            <a:off x="3339353" y="4381540"/>
            <a:ext cx="1064292" cy="202474"/>
            <a:chOff x="9880708" y="5395253"/>
            <a:chExt cx="1673256" cy="318325"/>
          </a:xfrm>
        </p:grpSpPr>
        <p:sp>
          <p:nvSpPr>
            <p:cNvPr id="307" name="Freeform: Shape 306">
              <a:extLst>
                <a:ext uri="{FF2B5EF4-FFF2-40B4-BE49-F238E27FC236}">
                  <a16:creationId xmlns:a16="http://schemas.microsoft.com/office/drawing/2014/main" id="{582846A2-7360-4B90-BBD6-A5846278D13C}"/>
                </a:ext>
              </a:extLst>
            </p:cNvPr>
            <p:cNvSpPr/>
            <p:nvPr/>
          </p:nvSpPr>
          <p:spPr>
            <a:xfrm>
              <a:off x="9880708" y="5476406"/>
              <a:ext cx="208978" cy="237172"/>
            </a:xfrm>
            <a:custGeom>
              <a:avLst/>
              <a:gdLst>
                <a:gd name="connsiteX0" fmla="*/ 168021 w 208978"/>
                <a:gd name="connsiteY0" fmla="*/ 158782 h 237172"/>
                <a:gd name="connsiteX1" fmla="*/ 207645 w 208978"/>
                <a:gd name="connsiteY1" fmla="*/ 163925 h 237172"/>
                <a:gd name="connsiteX2" fmla="*/ 172879 w 208978"/>
                <a:gd name="connsiteY2" fmla="*/ 217932 h 237172"/>
                <a:gd name="connsiteX3" fmla="*/ 108014 w 208978"/>
                <a:gd name="connsiteY3" fmla="*/ 237172 h 237172"/>
                <a:gd name="connsiteX4" fmla="*/ 29147 w 208978"/>
                <a:gd name="connsiteY4" fmla="*/ 206502 h 237172"/>
                <a:gd name="connsiteX5" fmla="*/ 0 w 208978"/>
                <a:gd name="connsiteY5" fmla="*/ 120491 h 237172"/>
                <a:gd name="connsiteX6" fmla="*/ 29432 w 208978"/>
                <a:gd name="connsiteY6" fmla="*/ 31623 h 237172"/>
                <a:gd name="connsiteX7" fmla="*/ 105823 w 208978"/>
                <a:gd name="connsiteY7" fmla="*/ 0 h 237172"/>
                <a:gd name="connsiteX8" fmla="*/ 180118 w 208978"/>
                <a:gd name="connsiteY8" fmla="*/ 30956 h 237172"/>
                <a:gd name="connsiteX9" fmla="*/ 208979 w 208978"/>
                <a:gd name="connsiteY9" fmla="*/ 118110 h 237172"/>
                <a:gd name="connsiteX10" fmla="*/ 208788 w 208978"/>
                <a:gd name="connsiteY10" fmla="*/ 128397 h 237172"/>
                <a:gd name="connsiteX11" fmla="*/ 39529 w 208978"/>
                <a:gd name="connsiteY11" fmla="*/ 128397 h 237172"/>
                <a:gd name="connsiteX12" fmla="*/ 60674 w 208978"/>
                <a:gd name="connsiteY12" fmla="*/ 185833 h 237172"/>
                <a:gd name="connsiteX13" fmla="*/ 108109 w 208978"/>
                <a:gd name="connsiteY13" fmla="*/ 205740 h 237172"/>
                <a:gd name="connsiteX14" fmla="*/ 144209 w 208978"/>
                <a:gd name="connsiteY14" fmla="*/ 194596 h 237172"/>
                <a:gd name="connsiteX15" fmla="*/ 167926 w 208978"/>
                <a:gd name="connsiteY15" fmla="*/ 158972 h 237172"/>
                <a:gd name="connsiteX16" fmla="*/ 41624 w 208978"/>
                <a:gd name="connsiteY16" fmla="*/ 96679 h 237172"/>
                <a:gd name="connsiteX17" fmla="*/ 168497 w 208978"/>
                <a:gd name="connsiteY17" fmla="*/ 96679 h 237172"/>
                <a:gd name="connsiteX18" fmla="*/ 153924 w 208978"/>
                <a:gd name="connsiteY18" fmla="*/ 53626 h 237172"/>
                <a:gd name="connsiteX19" fmla="*/ 106204 w 208978"/>
                <a:gd name="connsiteY19" fmla="*/ 31337 h 237172"/>
                <a:gd name="connsiteX20" fmla="*/ 61627 w 208978"/>
                <a:gd name="connsiteY20" fmla="*/ 49149 h 237172"/>
                <a:gd name="connsiteX21" fmla="*/ 41624 w 208978"/>
                <a:gd name="connsiteY21" fmla="*/ 96774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978" h="237172">
                  <a:moveTo>
                    <a:pt x="168021" y="158782"/>
                  </a:moveTo>
                  <a:lnTo>
                    <a:pt x="207645" y="163925"/>
                  </a:lnTo>
                  <a:cubicBezTo>
                    <a:pt x="201359" y="187071"/>
                    <a:pt x="189738" y="205073"/>
                    <a:pt x="172879" y="217932"/>
                  </a:cubicBezTo>
                  <a:cubicBezTo>
                    <a:pt x="155924" y="230696"/>
                    <a:pt x="134303" y="237172"/>
                    <a:pt x="108014" y="237172"/>
                  </a:cubicBezTo>
                  <a:cubicBezTo>
                    <a:pt x="74867" y="237172"/>
                    <a:pt x="48578" y="226981"/>
                    <a:pt x="29147" y="206502"/>
                  </a:cubicBezTo>
                  <a:cubicBezTo>
                    <a:pt x="9716" y="186023"/>
                    <a:pt x="0" y="157353"/>
                    <a:pt x="0" y="120491"/>
                  </a:cubicBezTo>
                  <a:cubicBezTo>
                    <a:pt x="0" y="83629"/>
                    <a:pt x="9811" y="52673"/>
                    <a:pt x="29432" y="31623"/>
                  </a:cubicBezTo>
                  <a:cubicBezTo>
                    <a:pt x="49054" y="10573"/>
                    <a:pt x="74581" y="0"/>
                    <a:pt x="105823" y="0"/>
                  </a:cubicBezTo>
                  <a:cubicBezTo>
                    <a:pt x="137065" y="0"/>
                    <a:pt x="160877" y="10287"/>
                    <a:pt x="180118" y="30956"/>
                  </a:cubicBezTo>
                  <a:cubicBezTo>
                    <a:pt x="199358" y="51625"/>
                    <a:pt x="208979" y="80677"/>
                    <a:pt x="208979" y="118110"/>
                  </a:cubicBezTo>
                  <a:cubicBezTo>
                    <a:pt x="208979" y="120396"/>
                    <a:pt x="208979" y="123825"/>
                    <a:pt x="208788" y="128397"/>
                  </a:cubicBezTo>
                  <a:lnTo>
                    <a:pt x="39529" y="128397"/>
                  </a:lnTo>
                  <a:cubicBezTo>
                    <a:pt x="40958" y="153353"/>
                    <a:pt x="48006" y="172498"/>
                    <a:pt x="60674" y="185833"/>
                  </a:cubicBezTo>
                  <a:cubicBezTo>
                    <a:pt x="73343" y="199073"/>
                    <a:pt x="89154" y="205740"/>
                    <a:pt x="108109" y="205740"/>
                  </a:cubicBezTo>
                  <a:cubicBezTo>
                    <a:pt x="122206" y="205740"/>
                    <a:pt x="134303" y="202025"/>
                    <a:pt x="144209" y="194596"/>
                  </a:cubicBezTo>
                  <a:cubicBezTo>
                    <a:pt x="154210" y="187166"/>
                    <a:pt x="162116" y="175260"/>
                    <a:pt x="167926" y="158972"/>
                  </a:cubicBezTo>
                  <a:close/>
                  <a:moveTo>
                    <a:pt x="41624" y="96679"/>
                  </a:moveTo>
                  <a:lnTo>
                    <a:pt x="168497" y="96679"/>
                  </a:lnTo>
                  <a:cubicBezTo>
                    <a:pt x="166783" y="77533"/>
                    <a:pt x="161925" y="63151"/>
                    <a:pt x="153924" y="53626"/>
                  </a:cubicBezTo>
                  <a:cubicBezTo>
                    <a:pt x="141637" y="38767"/>
                    <a:pt x="125730" y="31337"/>
                    <a:pt x="106204" y="31337"/>
                  </a:cubicBezTo>
                  <a:cubicBezTo>
                    <a:pt x="88487" y="31337"/>
                    <a:pt x="73628" y="37243"/>
                    <a:pt x="61627" y="49149"/>
                  </a:cubicBezTo>
                  <a:cubicBezTo>
                    <a:pt x="49625" y="61055"/>
                    <a:pt x="42958" y="76867"/>
                    <a:pt x="41624" y="96774"/>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8" name="Freeform: Shape 307">
              <a:extLst>
                <a:ext uri="{FF2B5EF4-FFF2-40B4-BE49-F238E27FC236}">
                  <a16:creationId xmlns:a16="http://schemas.microsoft.com/office/drawing/2014/main" id="{8488ADE6-9DC3-4102-A108-1D0B16700B9A}"/>
                </a:ext>
              </a:extLst>
            </p:cNvPr>
            <p:cNvSpPr/>
            <p:nvPr/>
          </p:nvSpPr>
          <p:spPr>
            <a:xfrm>
              <a:off x="10135692" y="5395253"/>
              <a:ext cx="38385" cy="313086"/>
            </a:xfrm>
            <a:custGeom>
              <a:avLst/>
              <a:gdLst>
                <a:gd name="connsiteX0" fmla="*/ 0 w 38385"/>
                <a:gd name="connsiteY0" fmla="*/ 313087 h 313086"/>
                <a:gd name="connsiteX1" fmla="*/ 0 w 38385"/>
                <a:gd name="connsiteY1" fmla="*/ 0 h 313086"/>
                <a:gd name="connsiteX2" fmla="*/ 38386 w 38385"/>
                <a:gd name="connsiteY2" fmla="*/ 0 h 313086"/>
                <a:gd name="connsiteX3" fmla="*/ 38386 w 38385"/>
                <a:gd name="connsiteY3" fmla="*/ 313087 h 313086"/>
                <a:gd name="connsiteX4" fmla="*/ 0 w 38385"/>
                <a:gd name="connsiteY4" fmla="*/ 313087 h 3130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85" h="313086">
                  <a:moveTo>
                    <a:pt x="0" y="313087"/>
                  </a:moveTo>
                  <a:lnTo>
                    <a:pt x="0" y="0"/>
                  </a:lnTo>
                  <a:lnTo>
                    <a:pt x="38386" y="0"/>
                  </a:lnTo>
                  <a:lnTo>
                    <a:pt x="38386"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09" name="Freeform: Shape 308">
              <a:extLst>
                <a:ext uri="{FF2B5EF4-FFF2-40B4-BE49-F238E27FC236}">
                  <a16:creationId xmlns:a16="http://schemas.microsoft.com/office/drawing/2014/main" id="{8B8C24B8-8BC0-4B3A-B29B-1A1D6D1DE687}"/>
                </a:ext>
              </a:extLst>
            </p:cNvPr>
            <p:cNvSpPr/>
            <p:nvPr/>
          </p:nvSpPr>
          <p:spPr>
            <a:xfrm>
              <a:off x="10219607" y="5395253"/>
              <a:ext cx="196691" cy="318230"/>
            </a:xfrm>
            <a:custGeom>
              <a:avLst/>
              <a:gdLst>
                <a:gd name="connsiteX0" fmla="*/ 161068 w 196691"/>
                <a:gd name="connsiteY0" fmla="*/ 313087 h 318230"/>
                <a:gd name="connsiteX1" fmla="*/ 161068 w 196691"/>
                <a:gd name="connsiteY1" fmla="*/ 284607 h 318230"/>
                <a:gd name="connsiteX2" fmla="*/ 97631 w 196691"/>
                <a:gd name="connsiteY2" fmla="*/ 318230 h 318230"/>
                <a:gd name="connsiteX3" fmla="*/ 47720 w 196691"/>
                <a:gd name="connsiteY3" fmla="*/ 303276 h 318230"/>
                <a:gd name="connsiteX4" fmla="*/ 12478 w 196691"/>
                <a:gd name="connsiteY4" fmla="*/ 261461 h 318230"/>
                <a:gd name="connsiteX5" fmla="*/ 0 w 196691"/>
                <a:gd name="connsiteY5" fmla="*/ 199835 h 318230"/>
                <a:gd name="connsiteX6" fmla="*/ 11335 w 196691"/>
                <a:gd name="connsiteY6" fmla="*/ 138208 h 318230"/>
                <a:gd name="connsiteX7" fmla="*/ 45244 w 196691"/>
                <a:gd name="connsiteY7" fmla="*/ 95822 h 318230"/>
                <a:gd name="connsiteX8" fmla="*/ 95822 w 196691"/>
                <a:gd name="connsiteY8" fmla="*/ 81058 h 318230"/>
                <a:gd name="connsiteX9" fmla="*/ 132302 w 196691"/>
                <a:gd name="connsiteY9" fmla="*/ 89726 h 318230"/>
                <a:gd name="connsiteX10" fmla="*/ 158305 w 196691"/>
                <a:gd name="connsiteY10" fmla="*/ 112205 h 318230"/>
                <a:gd name="connsiteX11" fmla="*/ 158305 w 196691"/>
                <a:gd name="connsiteY11" fmla="*/ 0 h 318230"/>
                <a:gd name="connsiteX12" fmla="*/ 196691 w 196691"/>
                <a:gd name="connsiteY12" fmla="*/ 0 h 318230"/>
                <a:gd name="connsiteX13" fmla="*/ 196691 w 196691"/>
                <a:gd name="connsiteY13" fmla="*/ 313087 h 318230"/>
                <a:gd name="connsiteX14" fmla="*/ 160973 w 196691"/>
                <a:gd name="connsiteY14" fmla="*/ 313087 h 318230"/>
                <a:gd name="connsiteX15" fmla="*/ 39624 w 196691"/>
                <a:gd name="connsiteY15" fmla="*/ 199835 h 318230"/>
                <a:gd name="connsiteX16" fmla="*/ 58007 w 196691"/>
                <a:gd name="connsiteY16" fmla="*/ 265081 h 318230"/>
                <a:gd name="connsiteX17" fmla="*/ 101346 w 196691"/>
                <a:gd name="connsiteY17" fmla="*/ 286703 h 318230"/>
                <a:gd name="connsiteX18" fmla="*/ 144113 w 196691"/>
                <a:gd name="connsiteY18" fmla="*/ 266033 h 318230"/>
                <a:gd name="connsiteX19" fmla="*/ 161735 w 196691"/>
                <a:gd name="connsiteY19" fmla="*/ 203073 h 318230"/>
                <a:gd name="connsiteX20" fmla="*/ 143827 w 196691"/>
                <a:gd name="connsiteY20" fmla="*/ 134588 h 318230"/>
                <a:gd name="connsiteX21" fmla="*/ 99631 w 196691"/>
                <a:gd name="connsiteY21" fmla="*/ 112776 h 318230"/>
                <a:gd name="connsiteX22" fmla="*/ 56864 w 196691"/>
                <a:gd name="connsiteY22" fmla="*/ 133731 h 318230"/>
                <a:gd name="connsiteX23" fmla="*/ 39719 w 196691"/>
                <a:gd name="connsiteY23" fmla="*/ 199835 h 318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6691" h="318230">
                  <a:moveTo>
                    <a:pt x="161068" y="313087"/>
                  </a:moveTo>
                  <a:lnTo>
                    <a:pt x="161068" y="284607"/>
                  </a:lnTo>
                  <a:cubicBezTo>
                    <a:pt x="146685" y="306991"/>
                    <a:pt x="125540" y="318230"/>
                    <a:pt x="97631" y="318230"/>
                  </a:cubicBezTo>
                  <a:cubicBezTo>
                    <a:pt x="79534" y="318230"/>
                    <a:pt x="62960" y="313277"/>
                    <a:pt x="47720" y="303276"/>
                  </a:cubicBezTo>
                  <a:cubicBezTo>
                    <a:pt x="32575" y="293275"/>
                    <a:pt x="20765" y="279368"/>
                    <a:pt x="12478" y="261461"/>
                  </a:cubicBezTo>
                  <a:cubicBezTo>
                    <a:pt x="4191" y="243554"/>
                    <a:pt x="0" y="223076"/>
                    <a:pt x="0" y="199835"/>
                  </a:cubicBezTo>
                  <a:cubicBezTo>
                    <a:pt x="0" y="176594"/>
                    <a:pt x="3810" y="156591"/>
                    <a:pt x="11335" y="138208"/>
                  </a:cubicBezTo>
                  <a:cubicBezTo>
                    <a:pt x="18859" y="119729"/>
                    <a:pt x="30194" y="105632"/>
                    <a:pt x="45244" y="95822"/>
                  </a:cubicBezTo>
                  <a:cubicBezTo>
                    <a:pt x="60293" y="86011"/>
                    <a:pt x="77152" y="81058"/>
                    <a:pt x="95822" y="81058"/>
                  </a:cubicBezTo>
                  <a:cubicBezTo>
                    <a:pt x="109442" y="81058"/>
                    <a:pt x="121634" y="83915"/>
                    <a:pt x="132302" y="89726"/>
                  </a:cubicBezTo>
                  <a:cubicBezTo>
                    <a:pt x="142970" y="95441"/>
                    <a:pt x="151638" y="102965"/>
                    <a:pt x="158305" y="112205"/>
                  </a:cubicBezTo>
                  <a:lnTo>
                    <a:pt x="158305" y="0"/>
                  </a:lnTo>
                  <a:lnTo>
                    <a:pt x="196691" y="0"/>
                  </a:lnTo>
                  <a:lnTo>
                    <a:pt x="196691" y="313087"/>
                  </a:lnTo>
                  <a:lnTo>
                    <a:pt x="160973" y="313087"/>
                  </a:lnTo>
                  <a:close/>
                  <a:moveTo>
                    <a:pt x="39624" y="199835"/>
                  </a:moveTo>
                  <a:cubicBezTo>
                    <a:pt x="39624" y="228886"/>
                    <a:pt x="45720" y="250698"/>
                    <a:pt x="58007" y="265081"/>
                  </a:cubicBezTo>
                  <a:cubicBezTo>
                    <a:pt x="70199" y="279464"/>
                    <a:pt x="84677" y="286703"/>
                    <a:pt x="101346" y="286703"/>
                  </a:cubicBezTo>
                  <a:cubicBezTo>
                    <a:pt x="118015" y="286703"/>
                    <a:pt x="132398" y="279845"/>
                    <a:pt x="144113" y="266033"/>
                  </a:cubicBezTo>
                  <a:cubicBezTo>
                    <a:pt x="155829" y="252222"/>
                    <a:pt x="161735" y="231267"/>
                    <a:pt x="161735" y="203073"/>
                  </a:cubicBezTo>
                  <a:cubicBezTo>
                    <a:pt x="161735" y="172022"/>
                    <a:pt x="155734" y="149162"/>
                    <a:pt x="143827" y="134588"/>
                  </a:cubicBezTo>
                  <a:cubicBezTo>
                    <a:pt x="131921" y="120015"/>
                    <a:pt x="117157" y="112776"/>
                    <a:pt x="99631" y="112776"/>
                  </a:cubicBezTo>
                  <a:cubicBezTo>
                    <a:pt x="82105" y="112776"/>
                    <a:pt x="68294" y="119729"/>
                    <a:pt x="56864" y="133731"/>
                  </a:cubicBezTo>
                  <a:cubicBezTo>
                    <a:pt x="45434" y="147733"/>
                    <a:pt x="39719" y="169736"/>
                    <a:pt x="39719" y="199835"/>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0" name="Freeform: Shape 309">
              <a:extLst>
                <a:ext uri="{FF2B5EF4-FFF2-40B4-BE49-F238E27FC236}">
                  <a16:creationId xmlns:a16="http://schemas.microsoft.com/office/drawing/2014/main" id="{609BDCD9-4DAA-440D-B936-A45CE4955021}"/>
                </a:ext>
              </a:extLst>
            </p:cNvPr>
            <p:cNvSpPr/>
            <p:nvPr/>
          </p:nvSpPr>
          <p:spPr>
            <a:xfrm>
              <a:off x="10462400" y="5476215"/>
              <a:ext cx="212597" cy="237172"/>
            </a:xfrm>
            <a:custGeom>
              <a:avLst/>
              <a:gdLst>
                <a:gd name="connsiteX0" fmla="*/ 0 w 212597"/>
                <a:gd name="connsiteY0" fmla="*/ 118586 h 237172"/>
                <a:gd name="connsiteX1" fmla="*/ 35052 w 212597"/>
                <a:gd name="connsiteY1" fmla="*/ 25241 h 237172"/>
                <a:gd name="connsiteX2" fmla="*/ 106394 w 212597"/>
                <a:gd name="connsiteY2" fmla="*/ 0 h 237172"/>
                <a:gd name="connsiteX3" fmla="*/ 182880 w 212597"/>
                <a:gd name="connsiteY3" fmla="*/ 30671 h 237172"/>
                <a:gd name="connsiteX4" fmla="*/ 212598 w 212597"/>
                <a:gd name="connsiteY4" fmla="*/ 115348 h 237172"/>
                <a:gd name="connsiteX5" fmla="*/ 199453 w 212597"/>
                <a:gd name="connsiteY5" fmla="*/ 184309 h 237172"/>
                <a:gd name="connsiteX6" fmla="*/ 161163 w 212597"/>
                <a:gd name="connsiteY6" fmla="*/ 223266 h 237172"/>
                <a:gd name="connsiteX7" fmla="*/ 106394 w 212597"/>
                <a:gd name="connsiteY7" fmla="*/ 237173 h 237172"/>
                <a:gd name="connsiteX8" fmla="*/ 29337 w 212597"/>
                <a:gd name="connsiteY8" fmla="*/ 206597 h 237172"/>
                <a:gd name="connsiteX9" fmla="*/ 0 w 212597"/>
                <a:gd name="connsiteY9" fmla="*/ 118586 h 237172"/>
                <a:gd name="connsiteX10" fmla="*/ 39624 w 212597"/>
                <a:gd name="connsiteY10" fmla="*/ 118586 h 237172"/>
                <a:gd name="connsiteX11" fmla="*/ 58674 w 212597"/>
                <a:gd name="connsiteY11" fmla="*/ 183928 h 237172"/>
                <a:gd name="connsiteX12" fmla="*/ 106490 w 212597"/>
                <a:gd name="connsiteY12" fmla="*/ 205645 h 237172"/>
                <a:gd name="connsiteX13" fmla="*/ 154115 w 212597"/>
                <a:gd name="connsiteY13" fmla="*/ 183833 h 237172"/>
                <a:gd name="connsiteX14" fmla="*/ 173165 w 212597"/>
                <a:gd name="connsiteY14" fmla="*/ 117253 h 237172"/>
                <a:gd name="connsiteX15" fmla="*/ 154019 w 212597"/>
                <a:gd name="connsiteY15" fmla="*/ 53435 h 237172"/>
                <a:gd name="connsiteX16" fmla="*/ 106490 w 212597"/>
                <a:gd name="connsiteY16" fmla="*/ 31718 h 237172"/>
                <a:gd name="connsiteX17" fmla="*/ 58674 w 212597"/>
                <a:gd name="connsiteY17" fmla="*/ 53340 h 237172"/>
                <a:gd name="connsiteX18" fmla="*/ 39624 w 212597"/>
                <a:gd name="connsiteY18" fmla="*/ 118586 h 237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597" h="237172">
                  <a:moveTo>
                    <a:pt x="0" y="118586"/>
                  </a:moveTo>
                  <a:cubicBezTo>
                    <a:pt x="0" y="76581"/>
                    <a:pt x="11716" y="45434"/>
                    <a:pt x="35052" y="25241"/>
                  </a:cubicBezTo>
                  <a:cubicBezTo>
                    <a:pt x="54578" y="8382"/>
                    <a:pt x="78391" y="0"/>
                    <a:pt x="106394" y="0"/>
                  </a:cubicBezTo>
                  <a:cubicBezTo>
                    <a:pt x="137636" y="0"/>
                    <a:pt x="163068" y="10192"/>
                    <a:pt x="182880" y="30671"/>
                  </a:cubicBezTo>
                  <a:cubicBezTo>
                    <a:pt x="202692" y="51149"/>
                    <a:pt x="212598" y="79343"/>
                    <a:pt x="212598" y="115348"/>
                  </a:cubicBezTo>
                  <a:cubicBezTo>
                    <a:pt x="212598" y="144590"/>
                    <a:pt x="208217" y="167545"/>
                    <a:pt x="199453" y="184309"/>
                  </a:cubicBezTo>
                  <a:cubicBezTo>
                    <a:pt x="190690" y="201073"/>
                    <a:pt x="177927" y="214027"/>
                    <a:pt x="161163" y="223266"/>
                  </a:cubicBezTo>
                  <a:cubicBezTo>
                    <a:pt x="144399" y="232505"/>
                    <a:pt x="126111" y="237173"/>
                    <a:pt x="106394" y="237173"/>
                  </a:cubicBezTo>
                  <a:cubicBezTo>
                    <a:pt x="74676" y="237173"/>
                    <a:pt x="48958" y="226981"/>
                    <a:pt x="29337" y="206597"/>
                  </a:cubicBezTo>
                  <a:cubicBezTo>
                    <a:pt x="9715" y="186214"/>
                    <a:pt x="0" y="156877"/>
                    <a:pt x="0" y="118586"/>
                  </a:cubicBezTo>
                  <a:close/>
                  <a:moveTo>
                    <a:pt x="39624" y="118586"/>
                  </a:moveTo>
                  <a:cubicBezTo>
                    <a:pt x="39624" y="147733"/>
                    <a:pt x="45910" y="169450"/>
                    <a:pt x="58674" y="183928"/>
                  </a:cubicBezTo>
                  <a:cubicBezTo>
                    <a:pt x="71342" y="198406"/>
                    <a:pt x="87249" y="205645"/>
                    <a:pt x="106490" y="205645"/>
                  </a:cubicBezTo>
                  <a:cubicBezTo>
                    <a:pt x="125730" y="205645"/>
                    <a:pt x="141446" y="198406"/>
                    <a:pt x="154115" y="183833"/>
                  </a:cubicBezTo>
                  <a:cubicBezTo>
                    <a:pt x="166783" y="169259"/>
                    <a:pt x="173165" y="147066"/>
                    <a:pt x="173165" y="117253"/>
                  </a:cubicBezTo>
                  <a:cubicBezTo>
                    <a:pt x="173165" y="89154"/>
                    <a:pt x="166783" y="67913"/>
                    <a:pt x="154019" y="53435"/>
                  </a:cubicBezTo>
                  <a:cubicBezTo>
                    <a:pt x="141256" y="38957"/>
                    <a:pt x="125444" y="31718"/>
                    <a:pt x="106490" y="31718"/>
                  </a:cubicBezTo>
                  <a:cubicBezTo>
                    <a:pt x="87535" y="31718"/>
                    <a:pt x="71342" y="38957"/>
                    <a:pt x="58674" y="53340"/>
                  </a:cubicBezTo>
                  <a:cubicBezTo>
                    <a:pt x="46006" y="67723"/>
                    <a:pt x="39624" y="89535"/>
                    <a:pt x="39624" y="118586"/>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1" name="Freeform: Shape 310">
              <a:extLst>
                <a:ext uri="{FF2B5EF4-FFF2-40B4-BE49-F238E27FC236}">
                  <a16:creationId xmlns:a16="http://schemas.microsoft.com/office/drawing/2014/main" id="{3175A663-7223-4EDC-A00E-D0811F5738BC}"/>
                </a:ext>
              </a:extLst>
            </p:cNvPr>
            <p:cNvSpPr/>
            <p:nvPr/>
          </p:nvSpPr>
          <p:spPr>
            <a:xfrm>
              <a:off x="10723099" y="5395253"/>
              <a:ext cx="195548" cy="313086"/>
            </a:xfrm>
            <a:custGeom>
              <a:avLst/>
              <a:gdLst>
                <a:gd name="connsiteX0" fmla="*/ 95 w 195548"/>
                <a:gd name="connsiteY0" fmla="*/ 313087 h 313086"/>
                <a:gd name="connsiteX1" fmla="*/ 95 w 195548"/>
                <a:gd name="connsiteY1" fmla="*/ 0 h 313086"/>
                <a:gd name="connsiteX2" fmla="*/ 41434 w 195548"/>
                <a:gd name="connsiteY2" fmla="*/ 0 h 313086"/>
                <a:gd name="connsiteX3" fmla="*/ 41434 w 195548"/>
                <a:gd name="connsiteY3" fmla="*/ 276225 h 313086"/>
                <a:gd name="connsiteX4" fmla="*/ 195548 w 195548"/>
                <a:gd name="connsiteY4" fmla="*/ 276225 h 313086"/>
                <a:gd name="connsiteX5" fmla="*/ 195548 w 195548"/>
                <a:gd name="connsiteY5" fmla="*/ 313087 h 313086"/>
                <a:gd name="connsiteX6" fmla="*/ 0 w 195548"/>
                <a:gd name="connsiteY6" fmla="*/ 313087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548" h="313086">
                  <a:moveTo>
                    <a:pt x="95" y="313087"/>
                  </a:moveTo>
                  <a:lnTo>
                    <a:pt x="95" y="0"/>
                  </a:lnTo>
                  <a:lnTo>
                    <a:pt x="41434" y="0"/>
                  </a:lnTo>
                  <a:lnTo>
                    <a:pt x="41434" y="276225"/>
                  </a:lnTo>
                  <a:lnTo>
                    <a:pt x="195548" y="276225"/>
                  </a:lnTo>
                  <a:lnTo>
                    <a:pt x="195548"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2" name="Freeform: Shape 311">
              <a:extLst>
                <a:ext uri="{FF2B5EF4-FFF2-40B4-BE49-F238E27FC236}">
                  <a16:creationId xmlns:a16="http://schemas.microsoft.com/office/drawing/2014/main" id="{78806C7C-FD1D-4C9E-B409-C748BB9AE0E1}"/>
                </a:ext>
              </a:extLst>
            </p:cNvPr>
            <p:cNvSpPr/>
            <p:nvPr/>
          </p:nvSpPr>
          <p:spPr>
            <a:xfrm>
              <a:off x="10968748" y="5395253"/>
              <a:ext cx="233648" cy="313086"/>
            </a:xfrm>
            <a:custGeom>
              <a:avLst/>
              <a:gdLst>
                <a:gd name="connsiteX0" fmla="*/ 0 w 233648"/>
                <a:gd name="connsiteY0" fmla="*/ 313087 h 313086"/>
                <a:gd name="connsiteX1" fmla="*/ 0 w 233648"/>
                <a:gd name="connsiteY1" fmla="*/ 0 h 313086"/>
                <a:gd name="connsiteX2" fmla="*/ 226409 w 233648"/>
                <a:gd name="connsiteY2" fmla="*/ 0 h 313086"/>
                <a:gd name="connsiteX3" fmla="*/ 226409 w 233648"/>
                <a:gd name="connsiteY3" fmla="*/ 36862 h 313086"/>
                <a:gd name="connsiteX4" fmla="*/ 41434 w 233648"/>
                <a:gd name="connsiteY4" fmla="*/ 36862 h 313086"/>
                <a:gd name="connsiteX5" fmla="*/ 41434 w 233648"/>
                <a:gd name="connsiteY5" fmla="*/ 132588 h 313086"/>
                <a:gd name="connsiteX6" fmla="*/ 214789 w 233648"/>
                <a:gd name="connsiteY6" fmla="*/ 132588 h 313086"/>
                <a:gd name="connsiteX7" fmla="*/ 214789 w 233648"/>
                <a:gd name="connsiteY7" fmla="*/ 169450 h 313086"/>
                <a:gd name="connsiteX8" fmla="*/ 41434 w 233648"/>
                <a:gd name="connsiteY8" fmla="*/ 169450 h 313086"/>
                <a:gd name="connsiteX9" fmla="*/ 41434 w 233648"/>
                <a:gd name="connsiteY9" fmla="*/ 276225 h 313086"/>
                <a:gd name="connsiteX10" fmla="*/ 233648 w 233648"/>
                <a:gd name="connsiteY10" fmla="*/ 276225 h 313086"/>
                <a:gd name="connsiteX11" fmla="*/ 233648 w 233648"/>
                <a:gd name="connsiteY11" fmla="*/ 313087 h 313086"/>
                <a:gd name="connsiteX12" fmla="*/ 0 w 233648"/>
                <a:gd name="connsiteY12" fmla="*/ 313087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3648" h="313086">
                  <a:moveTo>
                    <a:pt x="0" y="313087"/>
                  </a:moveTo>
                  <a:lnTo>
                    <a:pt x="0" y="0"/>
                  </a:lnTo>
                  <a:lnTo>
                    <a:pt x="226409" y="0"/>
                  </a:lnTo>
                  <a:lnTo>
                    <a:pt x="226409" y="36862"/>
                  </a:lnTo>
                  <a:lnTo>
                    <a:pt x="41434" y="36862"/>
                  </a:lnTo>
                  <a:lnTo>
                    <a:pt x="41434" y="132588"/>
                  </a:lnTo>
                  <a:lnTo>
                    <a:pt x="214789" y="132588"/>
                  </a:lnTo>
                  <a:lnTo>
                    <a:pt x="214789" y="169450"/>
                  </a:lnTo>
                  <a:lnTo>
                    <a:pt x="41434" y="169450"/>
                  </a:lnTo>
                  <a:lnTo>
                    <a:pt x="41434" y="276225"/>
                  </a:lnTo>
                  <a:lnTo>
                    <a:pt x="233648" y="276225"/>
                  </a:lnTo>
                  <a:lnTo>
                    <a:pt x="233648" y="313087"/>
                  </a:lnTo>
                  <a:lnTo>
                    <a:pt x="0" y="31308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3" name="Freeform: Shape 312">
              <a:extLst>
                <a:ext uri="{FF2B5EF4-FFF2-40B4-BE49-F238E27FC236}">
                  <a16:creationId xmlns:a16="http://schemas.microsoft.com/office/drawing/2014/main" id="{ABF7DA0F-DA30-4465-97CC-6E42D8E06646}"/>
                </a:ext>
              </a:extLst>
            </p:cNvPr>
            <p:cNvSpPr/>
            <p:nvPr/>
          </p:nvSpPr>
          <p:spPr>
            <a:xfrm>
              <a:off x="11259356" y="5395253"/>
              <a:ext cx="258794" cy="313086"/>
            </a:xfrm>
            <a:custGeom>
              <a:avLst/>
              <a:gdLst>
                <a:gd name="connsiteX0" fmla="*/ 0 w 258794"/>
                <a:gd name="connsiteY0" fmla="*/ 313087 h 313086"/>
                <a:gd name="connsiteX1" fmla="*/ 0 w 258794"/>
                <a:gd name="connsiteY1" fmla="*/ 0 h 313086"/>
                <a:gd name="connsiteX2" fmla="*/ 107823 w 258794"/>
                <a:gd name="connsiteY2" fmla="*/ 0 h 313086"/>
                <a:gd name="connsiteX3" fmla="*/ 163544 w 258794"/>
                <a:gd name="connsiteY3" fmla="*/ 4477 h 313086"/>
                <a:gd name="connsiteX4" fmla="*/ 209455 w 258794"/>
                <a:gd name="connsiteY4" fmla="*/ 26861 h 313086"/>
                <a:gd name="connsiteX5" fmla="*/ 246507 w 258794"/>
                <a:gd name="connsiteY5" fmla="*/ 80391 h 313086"/>
                <a:gd name="connsiteX6" fmla="*/ 258794 w 258794"/>
                <a:gd name="connsiteY6" fmla="*/ 154781 h 313086"/>
                <a:gd name="connsiteX7" fmla="*/ 250508 w 258794"/>
                <a:gd name="connsiteY7" fmla="*/ 218027 h 313086"/>
                <a:gd name="connsiteX8" fmla="*/ 229171 w 258794"/>
                <a:gd name="connsiteY8" fmla="*/ 263652 h 313086"/>
                <a:gd name="connsiteX9" fmla="*/ 200692 w 258794"/>
                <a:gd name="connsiteY9" fmla="*/ 292037 h 313086"/>
                <a:gd name="connsiteX10" fmla="*/ 163354 w 258794"/>
                <a:gd name="connsiteY10" fmla="*/ 307753 h 313086"/>
                <a:gd name="connsiteX11" fmla="*/ 113062 w 258794"/>
                <a:gd name="connsiteY11" fmla="*/ 313087 h 313086"/>
                <a:gd name="connsiteX12" fmla="*/ 95 w 258794"/>
                <a:gd name="connsiteY12" fmla="*/ 313087 h 313086"/>
                <a:gd name="connsiteX13" fmla="*/ 41434 w 258794"/>
                <a:gd name="connsiteY13" fmla="*/ 276225 h 313086"/>
                <a:gd name="connsiteX14" fmla="*/ 108299 w 258794"/>
                <a:gd name="connsiteY14" fmla="*/ 276225 h 313086"/>
                <a:gd name="connsiteX15" fmla="*/ 156877 w 258794"/>
                <a:gd name="connsiteY15" fmla="*/ 270415 h 313086"/>
                <a:gd name="connsiteX16" fmla="*/ 184975 w 258794"/>
                <a:gd name="connsiteY16" fmla="*/ 254222 h 313086"/>
                <a:gd name="connsiteX17" fmla="*/ 207931 w 258794"/>
                <a:gd name="connsiteY17" fmla="*/ 214598 h 313086"/>
                <a:gd name="connsiteX18" fmla="*/ 216122 w 258794"/>
                <a:gd name="connsiteY18" fmla="*/ 154210 h 313086"/>
                <a:gd name="connsiteX19" fmla="*/ 200025 w 258794"/>
                <a:gd name="connsiteY19" fmla="*/ 78677 h 313086"/>
                <a:gd name="connsiteX20" fmla="*/ 160782 w 258794"/>
                <a:gd name="connsiteY20" fmla="*/ 43339 h 313086"/>
                <a:gd name="connsiteX21" fmla="*/ 107156 w 258794"/>
                <a:gd name="connsiteY21" fmla="*/ 36957 h 313086"/>
                <a:gd name="connsiteX22" fmla="*/ 41338 w 258794"/>
                <a:gd name="connsiteY22" fmla="*/ 36957 h 313086"/>
                <a:gd name="connsiteX23" fmla="*/ 41338 w 258794"/>
                <a:gd name="connsiteY23" fmla="*/ 276225 h 3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8794" h="313086">
                  <a:moveTo>
                    <a:pt x="0" y="313087"/>
                  </a:moveTo>
                  <a:lnTo>
                    <a:pt x="0" y="0"/>
                  </a:lnTo>
                  <a:lnTo>
                    <a:pt x="107823" y="0"/>
                  </a:lnTo>
                  <a:cubicBezTo>
                    <a:pt x="132207" y="0"/>
                    <a:pt x="150781" y="1524"/>
                    <a:pt x="163544" y="4477"/>
                  </a:cubicBezTo>
                  <a:cubicBezTo>
                    <a:pt x="181451" y="8573"/>
                    <a:pt x="196787" y="16097"/>
                    <a:pt x="209455" y="26861"/>
                  </a:cubicBezTo>
                  <a:cubicBezTo>
                    <a:pt x="225933" y="40767"/>
                    <a:pt x="238316" y="58674"/>
                    <a:pt x="246507" y="80391"/>
                  </a:cubicBezTo>
                  <a:cubicBezTo>
                    <a:pt x="254699" y="102108"/>
                    <a:pt x="258794" y="126873"/>
                    <a:pt x="258794" y="154781"/>
                  </a:cubicBezTo>
                  <a:cubicBezTo>
                    <a:pt x="258794" y="178594"/>
                    <a:pt x="256032" y="199644"/>
                    <a:pt x="250508" y="218027"/>
                  </a:cubicBezTo>
                  <a:cubicBezTo>
                    <a:pt x="244983" y="236411"/>
                    <a:pt x="237839" y="251555"/>
                    <a:pt x="229171" y="263652"/>
                  </a:cubicBezTo>
                  <a:cubicBezTo>
                    <a:pt x="220504" y="275654"/>
                    <a:pt x="210979" y="285179"/>
                    <a:pt x="200692" y="292037"/>
                  </a:cubicBezTo>
                  <a:cubicBezTo>
                    <a:pt x="190405" y="298895"/>
                    <a:pt x="177927" y="304133"/>
                    <a:pt x="163354" y="307753"/>
                  </a:cubicBezTo>
                  <a:cubicBezTo>
                    <a:pt x="148780" y="311277"/>
                    <a:pt x="132017" y="313087"/>
                    <a:pt x="113062" y="313087"/>
                  </a:cubicBezTo>
                  <a:lnTo>
                    <a:pt x="95" y="313087"/>
                  </a:lnTo>
                  <a:close/>
                  <a:moveTo>
                    <a:pt x="41434" y="276225"/>
                  </a:moveTo>
                  <a:lnTo>
                    <a:pt x="108299" y="276225"/>
                  </a:lnTo>
                  <a:cubicBezTo>
                    <a:pt x="128968" y="276225"/>
                    <a:pt x="145161" y="274320"/>
                    <a:pt x="156877" y="270415"/>
                  </a:cubicBezTo>
                  <a:cubicBezTo>
                    <a:pt x="168592" y="266605"/>
                    <a:pt x="178022" y="261176"/>
                    <a:pt x="184975" y="254222"/>
                  </a:cubicBezTo>
                  <a:cubicBezTo>
                    <a:pt x="194786" y="244412"/>
                    <a:pt x="202501" y="231172"/>
                    <a:pt x="207931" y="214598"/>
                  </a:cubicBezTo>
                  <a:cubicBezTo>
                    <a:pt x="213455" y="198025"/>
                    <a:pt x="216122" y="177927"/>
                    <a:pt x="216122" y="154210"/>
                  </a:cubicBezTo>
                  <a:cubicBezTo>
                    <a:pt x="216122" y="121444"/>
                    <a:pt x="210788" y="96298"/>
                    <a:pt x="200025" y="78677"/>
                  </a:cubicBezTo>
                  <a:cubicBezTo>
                    <a:pt x="189262" y="61055"/>
                    <a:pt x="176213" y="49340"/>
                    <a:pt x="160782" y="43339"/>
                  </a:cubicBezTo>
                  <a:cubicBezTo>
                    <a:pt x="149638" y="39053"/>
                    <a:pt x="131826" y="36957"/>
                    <a:pt x="107156" y="36957"/>
                  </a:cubicBezTo>
                  <a:lnTo>
                    <a:pt x="41338" y="36957"/>
                  </a:lnTo>
                  <a:lnTo>
                    <a:pt x="41338" y="27622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14" name="Freeform: Shape 313">
              <a:extLst>
                <a:ext uri="{FF2B5EF4-FFF2-40B4-BE49-F238E27FC236}">
                  <a16:creationId xmlns:a16="http://schemas.microsoft.com/office/drawing/2014/main" id="{0100361B-A297-4048-B649-B8A43D5B6F53}"/>
                </a:ext>
              </a:extLst>
            </p:cNvPr>
            <p:cNvSpPr/>
            <p:nvPr/>
          </p:nvSpPr>
          <p:spPr>
            <a:xfrm>
              <a:off x="11505673" y="5398205"/>
              <a:ext cx="48291" cy="47339"/>
            </a:xfrm>
            <a:custGeom>
              <a:avLst/>
              <a:gdLst>
                <a:gd name="connsiteX0" fmla="*/ 48292 w 48291"/>
                <a:gd name="connsiteY0" fmla="*/ 23527 h 47339"/>
                <a:gd name="connsiteX1" fmla="*/ 24193 w 48291"/>
                <a:gd name="connsiteY1" fmla="*/ 47339 h 47339"/>
                <a:gd name="connsiteX2" fmla="*/ 0 w 48291"/>
                <a:gd name="connsiteY2" fmla="*/ 23527 h 47339"/>
                <a:gd name="connsiteX3" fmla="*/ 24193 w 48291"/>
                <a:gd name="connsiteY3" fmla="*/ 0 h 47339"/>
                <a:gd name="connsiteX4" fmla="*/ 48292 w 48291"/>
                <a:gd name="connsiteY4" fmla="*/ 23527 h 47339"/>
                <a:gd name="connsiteX5" fmla="*/ 6096 w 48291"/>
                <a:gd name="connsiteY5" fmla="*/ 23527 h 47339"/>
                <a:gd name="connsiteX6" fmla="*/ 24384 w 48291"/>
                <a:gd name="connsiteY6" fmla="*/ 42291 h 47339"/>
                <a:gd name="connsiteX7" fmla="*/ 42291 w 48291"/>
                <a:gd name="connsiteY7" fmla="*/ 23622 h 47339"/>
                <a:gd name="connsiteX8" fmla="*/ 24289 w 48291"/>
                <a:gd name="connsiteY8" fmla="*/ 4763 h 47339"/>
                <a:gd name="connsiteX9" fmla="*/ 6096 w 48291"/>
                <a:gd name="connsiteY9" fmla="*/ 23527 h 47339"/>
                <a:gd name="connsiteX10" fmla="*/ 20574 w 48291"/>
                <a:gd name="connsiteY10" fmla="*/ 35814 h 47339"/>
                <a:gd name="connsiteX11" fmla="*/ 15145 w 48291"/>
                <a:gd name="connsiteY11" fmla="*/ 35814 h 47339"/>
                <a:gd name="connsiteX12" fmla="*/ 15145 w 48291"/>
                <a:gd name="connsiteY12" fmla="*/ 12287 h 47339"/>
                <a:gd name="connsiteX13" fmla="*/ 24193 w 48291"/>
                <a:gd name="connsiteY13" fmla="*/ 11525 h 47339"/>
                <a:gd name="connsiteX14" fmla="*/ 32385 w 48291"/>
                <a:gd name="connsiteY14" fmla="*/ 13240 h 47339"/>
                <a:gd name="connsiteX15" fmla="*/ 34671 w 48291"/>
                <a:gd name="connsiteY15" fmla="*/ 18383 h 47339"/>
                <a:gd name="connsiteX16" fmla="*/ 29813 w 48291"/>
                <a:gd name="connsiteY16" fmla="*/ 23813 h 47339"/>
                <a:gd name="connsiteX17" fmla="*/ 29813 w 48291"/>
                <a:gd name="connsiteY17" fmla="*/ 24098 h 47339"/>
                <a:gd name="connsiteX18" fmla="*/ 34100 w 48291"/>
                <a:gd name="connsiteY18" fmla="*/ 29813 h 47339"/>
                <a:gd name="connsiteX19" fmla="*/ 35814 w 48291"/>
                <a:gd name="connsiteY19" fmla="*/ 35719 h 47339"/>
                <a:gd name="connsiteX20" fmla="*/ 29908 w 48291"/>
                <a:gd name="connsiteY20" fmla="*/ 35719 h 47339"/>
                <a:gd name="connsiteX21" fmla="*/ 28004 w 48291"/>
                <a:gd name="connsiteY21" fmla="*/ 30004 h 47339"/>
                <a:gd name="connsiteX22" fmla="*/ 23146 w 48291"/>
                <a:gd name="connsiteY22" fmla="*/ 26289 h 47339"/>
                <a:gd name="connsiteX23" fmla="*/ 20574 w 48291"/>
                <a:gd name="connsiteY23" fmla="*/ 26289 h 47339"/>
                <a:gd name="connsiteX24" fmla="*/ 20574 w 48291"/>
                <a:gd name="connsiteY24" fmla="*/ 35719 h 47339"/>
                <a:gd name="connsiteX25" fmla="*/ 20669 w 48291"/>
                <a:gd name="connsiteY25" fmla="*/ 22479 h 47339"/>
                <a:gd name="connsiteX26" fmla="*/ 23241 w 48291"/>
                <a:gd name="connsiteY26" fmla="*/ 22479 h 47339"/>
                <a:gd name="connsiteX27" fmla="*/ 28670 w 48291"/>
                <a:gd name="connsiteY27" fmla="*/ 19050 h 47339"/>
                <a:gd name="connsiteX28" fmla="*/ 23622 w 48291"/>
                <a:gd name="connsiteY28" fmla="*/ 15430 h 47339"/>
                <a:gd name="connsiteX29" fmla="*/ 20574 w 48291"/>
                <a:gd name="connsiteY29" fmla="*/ 15716 h 47339"/>
                <a:gd name="connsiteX30" fmla="*/ 20574 w 48291"/>
                <a:gd name="connsiteY30" fmla="*/ 22479 h 47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8291" h="47339">
                  <a:moveTo>
                    <a:pt x="48292" y="23527"/>
                  </a:moveTo>
                  <a:cubicBezTo>
                    <a:pt x="48292" y="36862"/>
                    <a:pt x="37814" y="47339"/>
                    <a:pt x="24193" y="47339"/>
                  </a:cubicBezTo>
                  <a:cubicBezTo>
                    <a:pt x="10573" y="47339"/>
                    <a:pt x="0" y="36862"/>
                    <a:pt x="0" y="23527"/>
                  </a:cubicBezTo>
                  <a:cubicBezTo>
                    <a:pt x="0" y="10192"/>
                    <a:pt x="10763" y="0"/>
                    <a:pt x="24193" y="0"/>
                  </a:cubicBezTo>
                  <a:cubicBezTo>
                    <a:pt x="37624" y="0"/>
                    <a:pt x="48292" y="10478"/>
                    <a:pt x="48292" y="23527"/>
                  </a:cubicBezTo>
                  <a:close/>
                  <a:moveTo>
                    <a:pt x="6096" y="23527"/>
                  </a:moveTo>
                  <a:cubicBezTo>
                    <a:pt x="6096" y="34004"/>
                    <a:pt x="13811" y="42291"/>
                    <a:pt x="24384" y="42291"/>
                  </a:cubicBezTo>
                  <a:cubicBezTo>
                    <a:pt x="34957" y="42291"/>
                    <a:pt x="42291" y="34004"/>
                    <a:pt x="42291" y="23622"/>
                  </a:cubicBezTo>
                  <a:cubicBezTo>
                    <a:pt x="42291" y="13240"/>
                    <a:pt x="34766" y="4763"/>
                    <a:pt x="24289" y="4763"/>
                  </a:cubicBezTo>
                  <a:cubicBezTo>
                    <a:pt x="13811" y="4763"/>
                    <a:pt x="6096" y="13240"/>
                    <a:pt x="6096" y="23527"/>
                  </a:cubicBezTo>
                  <a:close/>
                  <a:moveTo>
                    <a:pt x="20574" y="35814"/>
                  </a:moveTo>
                  <a:lnTo>
                    <a:pt x="15145" y="35814"/>
                  </a:lnTo>
                  <a:lnTo>
                    <a:pt x="15145" y="12287"/>
                  </a:lnTo>
                  <a:cubicBezTo>
                    <a:pt x="17240" y="11811"/>
                    <a:pt x="20288" y="11525"/>
                    <a:pt x="24193" y="11525"/>
                  </a:cubicBezTo>
                  <a:cubicBezTo>
                    <a:pt x="28670" y="11525"/>
                    <a:pt x="30671" y="12287"/>
                    <a:pt x="32385" y="13240"/>
                  </a:cubicBezTo>
                  <a:cubicBezTo>
                    <a:pt x="33623" y="14287"/>
                    <a:pt x="34671" y="16097"/>
                    <a:pt x="34671" y="18383"/>
                  </a:cubicBezTo>
                  <a:cubicBezTo>
                    <a:pt x="34671" y="20955"/>
                    <a:pt x="32671" y="22955"/>
                    <a:pt x="29813" y="23813"/>
                  </a:cubicBezTo>
                  <a:lnTo>
                    <a:pt x="29813" y="24098"/>
                  </a:lnTo>
                  <a:cubicBezTo>
                    <a:pt x="32099" y="24956"/>
                    <a:pt x="33433" y="26670"/>
                    <a:pt x="34100" y="29813"/>
                  </a:cubicBezTo>
                  <a:cubicBezTo>
                    <a:pt x="34862" y="33433"/>
                    <a:pt x="35242" y="34862"/>
                    <a:pt x="35814" y="35719"/>
                  </a:cubicBezTo>
                  <a:lnTo>
                    <a:pt x="29908" y="35719"/>
                  </a:lnTo>
                  <a:cubicBezTo>
                    <a:pt x="29146" y="34862"/>
                    <a:pt x="28766" y="32671"/>
                    <a:pt x="28004" y="30004"/>
                  </a:cubicBezTo>
                  <a:cubicBezTo>
                    <a:pt x="27622" y="27432"/>
                    <a:pt x="26194" y="26289"/>
                    <a:pt x="23146" y="26289"/>
                  </a:cubicBezTo>
                  <a:lnTo>
                    <a:pt x="20574" y="26289"/>
                  </a:lnTo>
                  <a:lnTo>
                    <a:pt x="20574" y="35719"/>
                  </a:lnTo>
                  <a:close/>
                  <a:moveTo>
                    <a:pt x="20669" y="22479"/>
                  </a:moveTo>
                  <a:lnTo>
                    <a:pt x="23241" y="22479"/>
                  </a:lnTo>
                  <a:cubicBezTo>
                    <a:pt x="26289" y="22479"/>
                    <a:pt x="28670" y="21431"/>
                    <a:pt x="28670" y="19050"/>
                  </a:cubicBezTo>
                  <a:cubicBezTo>
                    <a:pt x="28670" y="16859"/>
                    <a:pt x="27051" y="15430"/>
                    <a:pt x="23622" y="15430"/>
                  </a:cubicBezTo>
                  <a:cubicBezTo>
                    <a:pt x="22193" y="15430"/>
                    <a:pt x="21146" y="15621"/>
                    <a:pt x="20574" y="15716"/>
                  </a:cubicBezTo>
                  <a:lnTo>
                    <a:pt x="20574" y="2247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pic>
        <p:nvPicPr>
          <p:cNvPr id="352" name="Graphic 351">
            <a:extLst>
              <a:ext uri="{FF2B5EF4-FFF2-40B4-BE49-F238E27FC236}">
                <a16:creationId xmlns:a16="http://schemas.microsoft.com/office/drawing/2014/main" id="{9DF0F865-4E7F-4062-8B84-26FB6B6FE28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39353" y="5154588"/>
            <a:ext cx="1197148" cy="177043"/>
          </a:xfrm>
          <a:prstGeom prst="rect">
            <a:avLst/>
          </a:prstGeom>
        </p:spPr>
      </p:pic>
      <p:grpSp>
        <p:nvGrpSpPr>
          <p:cNvPr id="353" name="Group 352">
            <a:extLst>
              <a:ext uri="{FF2B5EF4-FFF2-40B4-BE49-F238E27FC236}">
                <a16:creationId xmlns:a16="http://schemas.microsoft.com/office/drawing/2014/main" id="{7A8B5B46-1666-4121-93E9-2EFB08C7F48E}"/>
              </a:ext>
            </a:extLst>
          </p:cNvPr>
          <p:cNvGrpSpPr/>
          <p:nvPr userDrawn="1"/>
        </p:nvGrpSpPr>
        <p:grpSpPr>
          <a:xfrm>
            <a:off x="4989824" y="4335777"/>
            <a:ext cx="430701" cy="293999"/>
            <a:chOff x="813175" y="2258166"/>
            <a:chExt cx="1764886" cy="1204722"/>
          </a:xfrm>
        </p:grpSpPr>
        <p:sp>
          <p:nvSpPr>
            <p:cNvPr id="354" name="Freeform: Shape 353">
              <a:extLst>
                <a:ext uri="{FF2B5EF4-FFF2-40B4-BE49-F238E27FC236}">
                  <a16:creationId xmlns:a16="http://schemas.microsoft.com/office/drawing/2014/main" id="{9A53902A-86B8-4228-8E57-F5DF6E2834DB}"/>
                </a:ext>
              </a:extLst>
            </p:cNvPr>
            <p:cNvSpPr/>
            <p:nvPr/>
          </p:nvSpPr>
          <p:spPr>
            <a:xfrm>
              <a:off x="813175" y="2269501"/>
              <a:ext cx="111537" cy="631221"/>
            </a:xfrm>
            <a:custGeom>
              <a:avLst/>
              <a:gdLst>
                <a:gd name="connsiteX0" fmla="*/ 0 w 111537"/>
                <a:gd name="connsiteY0" fmla="*/ 0 h 631221"/>
                <a:gd name="connsiteX1" fmla="*/ 111538 w 111537"/>
                <a:gd name="connsiteY1" fmla="*/ 0 h 631221"/>
                <a:gd name="connsiteX2" fmla="*/ 111538 w 111537"/>
                <a:gd name="connsiteY2" fmla="*/ 631222 h 631221"/>
                <a:gd name="connsiteX3" fmla="*/ 0 w 111537"/>
                <a:gd name="connsiteY3" fmla="*/ 631222 h 631221"/>
              </a:gdLst>
              <a:ahLst/>
              <a:cxnLst>
                <a:cxn ang="0">
                  <a:pos x="connsiteX0" y="connsiteY0"/>
                </a:cxn>
                <a:cxn ang="0">
                  <a:pos x="connsiteX1" y="connsiteY1"/>
                </a:cxn>
                <a:cxn ang="0">
                  <a:pos x="connsiteX2" y="connsiteY2"/>
                </a:cxn>
                <a:cxn ang="0">
                  <a:pos x="connsiteX3" y="connsiteY3"/>
                </a:cxn>
              </a:cxnLst>
              <a:rect l="l" t="t" r="r" b="b"/>
              <a:pathLst>
                <a:path w="111537" h="631221">
                  <a:moveTo>
                    <a:pt x="0" y="0"/>
                  </a:moveTo>
                  <a:lnTo>
                    <a:pt x="111538" y="0"/>
                  </a:lnTo>
                  <a:lnTo>
                    <a:pt x="111538" y="631222"/>
                  </a:lnTo>
                  <a:lnTo>
                    <a:pt x="0" y="63122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5" name="Freeform: Shape 354">
              <a:extLst>
                <a:ext uri="{FF2B5EF4-FFF2-40B4-BE49-F238E27FC236}">
                  <a16:creationId xmlns:a16="http://schemas.microsoft.com/office/drawing/2014/main" id="{AE2D5F63-5ADA-4802-8BC0-59E53C9C8D95}"/>
                </a:ext>
              </a:extLst>
            </p:cNvPr>
            <p:cNvSpPr/>
            <p:nvPr/>
          </p:nvSpPr>
          <p:spPr>
            <a:xfrm>
              <a:off x="998341" y="2258166"/>
              <a:ext cx="643604" cy="654272"/>
            </a:xfrm>
            <a:custGeom>
              <a:avLst/>
              <a:gdLst>
                <a:gd name="connsiteX0" fmla="*/ 320326 w 643604"/>
                <a:gd name="connsiteY0" fmla="*/ 654082 h 654272"/>
                <a:gd name="connsiteX1" fmla="*/ 92012 w 643604"/>
                <a:gd name="connsiteY1" fmla="*/ 558451 h 654272"/>
                <a:gd name="connsiteX2" fmla="*/ 0 w 643604"/>
                <a:gd name="connsiteY2" fmla="*/ 323469 h 654272"/>
                <a:gd name="connsiteX3" fmla="*/ 25336 w 643604"/>
                <a:gd name="connsiteY3" fmla="*/ 197930 h 654272"/>
                <a:gd name="connsiteX4" fmla="*/ 98489 w 643604"/>
                <a:gd name="connsiteY4" fmla="*/ 91345 h 654272"/>
                <a:gd name="connsiteX5" fmla="*/ 200501 w 643604"/>
                <a:gd name="connsiteY5" fmla="*/ 23051 h 654272"/>
                <a:gd name="connsiteX6" fmla="*/ 321278 w 643604"/>
                <a:gd name="connsiteY6" fmla="*/ 0 h 654272"/>
                <a:gd name="connsiteX7" fmla="*/ 443865 w 643604"/>
                <a:gd name="connsiteY7" fmla="*/ 23241 h 654272"/>
                <a:gd name="connsiteX8" fmla="*/ 547116 w 643604"/>
                <a:gd name="connsiteY8" fmla="*/ 92202 h 654272"/>
                <a:gd name="connsiteX9" fmla="*/ 619316 w 643604"/>
                <a:gd name="connsiteY9" fmla="*/ 197834 h 654272"/>
                <a:gd name="connsiteX10" fmla="*/ 643604 w 643604"/>
                <a:gd name="connsiteY10" fmla="*/ 323564 h 654272"/>
                <a:gd name="connsiteX11" fmla="*/ 622840 w 643604"/>
                <a:gd name="connsiteY11" fmla="*/ 445770 h 654272"/>
                <a:gd name="connsiteX12" fmla="*/ 560451 w 643604"/>
                <a:gd name="connsiteY12" fmla="*/ 547878 h 654272"/>
                <a:gd name="connsiteX13" fmla="*/ 451866 w 643604"/>
                <a:gd name="connsiteY13" fmla="*/ 627412 h 654272"/>
                <a:gd name="connsiteX14" fmla="*/ 320421 w 643604"/>
                <a:gd name="connsiteY14" fmla="*/ 654272 h 654272"/>
                <a:gd name="connsiteX15" fmla="*/ 320326 w 643604"/>
                <a:gd name="connsiteY15" fmla="*/ 109823 h 654272"/>
                <a:gd name="connsiteX16" fmla="*/ 252889 w 643604"/>
                <a:gd name="connsiteY16" fmla="*/ 121825 h 654272"/>
                <a:gd name="connsiteX17" fmla="*/ 192881 w 643604"/>
                <a:gd name="connsiteY17" fmla="*/ 157163 h 654272"/>
                <a:gd name="connsiteX18" fmla="*/ 135255 w 643604"/>
                <a:gd name="connsiteY18" fmla="*/ 232982 h 654272"/>
                <a:gd name="connsiteX19" fmla="*/ 114300 w 643604"/>
                <a:gd name="connsiteY19" fmla="*/ 324231 h 654272"/>
                <a:gd name="connsiteX20" fmla="*/ 175069 w 643604"/>
                <a:gd name="connsiteY20" fmla="*/ 481775 h 654272"/>
                <a:gd name="connsiteX21" fmla="*/ 324326 w 643604"/>
                <a:gd name="connsiteY21" fmla="*/ 544544 h 654272"/>
                <a:gd name="connsiteX22" fmla="*/ 470154 w 643604"/>
                <a:gd name="connsiteY22" fmla="*/ 481203 h 654272"/>
                <a:gd name="connsiteX23" fmla="*/ 530352 w 643604"/>
                <a:gd name="connsiteY23" fmla="*/ 322707 h 654272"/>
                <a:gd name="connsiteX24" fmla="*/ 468535 w 643604"/>
                <a:gd name="connsiteY24" fmla="*/ 172784 h 654272"/>
                <a:gd name="connsiteX25" fmla="*/ 320326 w 643604"/>
                <a:gd name="connsiteY25" fmla="*/ 109919 h 65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43604" h="654272">
                  <a:moveTo>
                    <a:pt x="320326" y="654082"/>
                  </a:moveTo>
                  <a:cubicBezTo>
                    <a:pt x="230124" y="654082"/>
                    <a:pt x="153257" y="621887"/>
                    <a:pt x="92012" y="558451"/>
                  </a:cubicBezTo>
                  <a:cubicBezTo>
                    <a:pt x="30956" y="495205"/>
                    <a:pt x="0" y="416147"/>
                    <a:pt x="0" y="323469"/>
                  </a:cubicBezTo>
                  <a:cubicBezTo>
                    <a:pt x="0" y="279845"/>
                    <a:pt x="8572" y="237649"/>
                    <a:pt x="25336" y="197930"/>
                  </a:cubicBezTo>
                  <a:cubicBezTo>
                    <a:pt x="42101" y="158401"/>
                    <a:pt x="66675" y="122492"/>
                    <a:pt x="98489" y="91345"/>
                  </a:cubicBezTo>
                  <a:cubicBezTo>
                    <a:pt x="129159" y="61246"/>
                    <a:pt x="163449" y="38291"/>
                    <a:pt x="200501" y="23051"/>
                  </a:cubicBezTo>
                  <a:cubicBezTo>
                    <a:pt x="237649" y="7715"/>
                    <a:pt x="278225" y="0"/>
                    <a:pt x="321278" y="0"/>
                  </a:cubicBezTo>
                  <a:cubicBezTo>
                    <a:pt x="364331" y="0"/>
                    <a:pt x="406241" y="7811"/>
                    <a:pt x="443865" y="23241"/>
                  </a:cubicBezTo>
                  <a:cubicBezTo>
                    <a:pt x="481489" y="38672"/>
                    <a:pt x="516160" y="61913"/>
                    <a:pt x="547116" y="92202"/>
                  </a:cubicBezTo>
                  <a:cubicBezTo>
                    <a:pt x="578930" y="123444"/>
                    <a:pt x="603218" y="158972"/>
                    <a:pt x="619316" y="197834"/>
                  </a:cubicBezTo>
                  <a:cubicBezTo>
                    <a:pt x="635413" y="236696"/>
                    <a:pt x="643604" y="278987"/>
                    <a:pt x="643604" y="323564"/>
                  </a:cubicBezTo>
                  <a:cubicBezTo>
                    <a:pt x="643604" y="368141"/>
                    <a:pt x="636651" y="408623"/>
                    <a:pt x="622840" y="445770"/>
                  </a:cubicBezTo>
                  <a:cubicBezTo>
                    <a:pt x="609029" y="483013"/>
                    <a:pt x="588074" y="517398"/>
                    <a:pt x="560451" y="547878"/>
                  </a:cubicBezTo>
                  <a:cubicBezTo>
                    <a:pt x="528733" y="582740"/>
                    <a:pt x="492157" y="609505"/>
                    <a:pt x="451866" y="627412"/>
                  </a:cubicBezTo>
                  <a:cubicBezTo>
                    <a:pt x="411575" y="645224"/>
                    <a:pt x="367379" y="654272"/>
                    <a:pt x="320421" y="654272"/>
                  </a:cubicBezTo>
                  <a:close/>
                  <a:moveTo>
                    <a:pt x="320326" y="109823"/>
                  </a:moveTo>
                  <a:cubicBezTo>
                    <a:pt x="297085" y="109823"/>
                    <a:pt x="274320" y="113824"/>
                    <a:pt x="252889" y="121825"/>
                  </a:cubicBezTo>
                  <a:cubicBezTo>
                    <a:pt x="231362" y="129731"/>
                    <a:pt x="211169" y="141637"/>
                    <a:pt x="192881" y="157163"/>
                  </a:cubicBezTo>
                  <a:cubicBezTo>
                    <a:pt x="168592" y="177737"/>
                    <a:pt x="149161" y="203264"/>
                    <a:pt x="135255" y="232982"/>
                  </a:cubicBezTo>
                  <a:cubicBezTo>
                    <a:pt x="121349" y="262700"/>
                    <a:pt x="114300" y="293370"/>
                    <a:pt x="114300" y="324231"/>
                  </a:cubicBezTo>
                  <a:cubicBezTo>
                    <a:pt x="114300" y="387668"/>
                    <a:pt x="134207" y="439198"/>
                    <a:pt x="175069" y="481775"/>
                  </a:cubicBezTo>
                  <a:cubicBezTo>
                    <a:pt x="215646" y="524066"/>
                    <a:pt x="264509" y="544544"/>
                    <a:pt x="324326" y="544544"/>
                  </a:cubicBezTo>
                  <a:cubicBezTo>
                    <a:pt x="384143" y="544544"/>
                    <a:pt x="430054" y="523780"/>
                    <a:pt x="470154" y="481203"/>
                  </a:cubicBezTo>
                  <a:cubicBezTo>
                    <a:pt x="510730" y="438055"/>
                    <a:pt x="530352" y="386144"/>
                    <a:pt x="530352" y="322707"/>
                  </a:cubicBezTo>
                  <a:cubicBezTo>
                    <a:pt x="530352" y="264224"/>
                    <a:pt x="510159" y="215170"/>
                    <a:pt x="468535" y="172784"/>
                  </a:cubicBezTo>
                  <a:cubicBezTo>
                    <a:pt x="427101" y="130493"/>
                    <a:pt x="378619" y="109919"/>
                    <a:pt x="320326" y="109919"/>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6" name="Freeform: Shape 355">
              <a:extLst>
                <a:ext uri="{FF2B5EF4-FFF2-40B4-BE49-F238E27FC236}">
                  <a16:creationId xmlns:a16="http://schemas.microsoft.com/office/drawing/2014/main" id="{38C1A520-4DFF-4A8D-91DC-DE75D12DFD74}"/>
                </a:ext>
              </a:extLst>
            </p:cNvPr>
            <p:cNvSpPr/>
            <p:nvPr/>
          </p:nvSpPr>
          <p:spPr>
            <a:xfrm>
              <a:off x="1912360" y="2269501"/>
              <a:ext cx="594836" cy="631317"/>
            </a:xfrm>
            <a:custGeom>
              <a:avLst/>
              <a:gdLst>
                <a:gd name="connsiteX0" fmla="*/ 475202 w 594836"/>
                <a:gd name="connsiteY0" fmla="*/ 631317 h 631317"/>
                <a:gd name="connsiteX1" fmla="*/ 296418 w 594836"/>
                <a:gd name="connsiteY1" fmla="*/ 159544 h 631317"/>
                <a:gd name="connsiteX2" fmla="*/ 118967 w 594836"/>
                <a:gd name="connsiteY2" fmla="*/ 631317 h 631317"/>
                <a:gd name="connsiteX3" fmla="*/ 0 w 594836"/>
                <a:gd name="connsiteY3" fmla="*/ 631317 h 631317"/>
                <a:gd name="connsiteX4" fmla="*/ 244983 w 594836"/>
                <a:gd name="connsiteY4" fmla="*/ 0 h 631317"/>
                <a:gd name="connsiteX5" fmla="*/ 350711 w 594836"/>
                <a:gd name="connsiteY5" fmla="*/ 0 h 631317"/>
                <a:gd name="connsiteX6" fmla="*/ 594836 w 594836"/>
                <a:gd name="connsiteY6" fmla="*/ 631317 h 631317"/>
                <a:gd name="connsiteX7" fmla="*/ 475202 w 594836"/>
                <a:gd name="connsiteY7" fmla="*/ 631317 h 63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836" h="631317">
                  <a:moveTo>
                    <a:pt x="475202" y="631317"/>
                  </a:moveTo>
                  <a:lnTo>
                    <a:pt x="296418" y="159544"/>
                  </a:lnTo>
                  <a:lnTo>
                    <a:pt x="118967" y="631317"/>
                  </a:lnTo>
                  <a:lnTo>
                    <a:pt x="0" y="631317"/>
                  </a:lnTo>
                  <a:lnTo>
                    <a:pt x="244983" y="0"/>
                  </a:lnTo>
                  <a:lnTo>
                    <a:pt x="350711" y="0"/>
                  </a:lnTo>
                  <a:lnTo>
                    <a:pt x="594836" y="631317"/>
                  </a:lnTo>
                  <a:lnTo>
                    <a:pt x="475202" y="63131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57" name="Graphic 644">
              <a:extLst>
                <a:ext uri="{FF2B5EF4-FFF2-40B4-BE49-F238E27FC236}">
                  <a16:creationId xmlns:a16="http://schemas.microsoft.com/office/drawing/2014/main" id="{1BC2E009-49E6-41CD-BE40-DC979E9ECD52}"/>
                </a:ext>
              </a:extLst>
            </p:cNvPr>
            <p:cNvGrpSpPr/>
            <p:nvPr/>
          </p:nvGrpSpPr>
          <p:grpSpPr>
            <a:xfrm>
              <a:off x="813175" y="2973303"/>
              <a:ext cx="1753838" cy="111537"/>
              <a:chOff x="813175" y="2973303"/>
              <a:chExt cx="1753838" cy="111537"/>
            </a:xfrm>
            <a:solidFill>
              <a:srgbClr val="A1ABB2"/>
            </a:solidFill>
          </p:grpSpPr>
          <p:sp>
            <p:nvSpPr>
              <p:cNvPr id="364" name="Freeform: Shape 363">
                <a:extLst>
                  <a:ext uri="{FF2B5EF4-FFF2-40B4-BE49-F238E27FC236}">
                    <a16:creationId xmlns:a16="http://schemas.microsoft.com/office/drawing/2014/main" id="{2E938860-3C1E-44BC-9A55-75988DCC1B3B}"/>
                  </a:ext>
                </a:extLst>
              </p:cNvPr>
              <p:cNvSpPr/>
              <p:nvPr/>
            </p:nvSpPr>
            <p:spPr>
              <a:xfrm>
                <a:off x="2418804" y="2973303"/>
                <a:ext cx="148208" cy="111537"/>
              </a:xfrm>
              <a:custGeom>
                <a:avLst/>
                <a:gdLst>
                  <a:gd name="connsiteX0" fmla="*/ 43148 w 148208"/>
                  <a:gd name="connsiteY0" fmla="*/ 111538 h 111537"/>
                  <a:gd name="connsiteX1" fmla="*/ 148209 w 148208"/>
                  <a:gd name="connsiteY1" fmla="*/ 111538 h 111537"/>
                  <a:gd name="connsiteX2" fmla="*/ 109252 w 148208"/>
                  <a:gd name="connsiteY2" fmla="*/ 0 h 111537"/>
                  <a:gd name="connsiteX3" fmla="*/ 0 w 148208"/>
                  <a:gd name="connsiteY3" fmla="*/ 0 h 111537"/>
                  <a:gd name="connsiteX4" fmla="*/ 43148 w 148208"/>
                  <a:gd name="connsiteY4" fmla="*/ 111538 h 11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208" h="111537">
                    <a:moveTo>
                      <a:pt x="43148" y="111538"/>
                    </a:moveTo>
                    <a:lnTo>
                      <a:pt x="148209" y="111538"/>
                    </a:lnTo>
                    <a:lnTo>
                      <a:pt x="109252" y="0"/>
                    </a:lnTo>
                    <a:lnTo>
                      <a:pt x="0" y="0"/>
                    </a:lnTo>
                    <a:lnTo>
                      <a:pt x="43148" y="1115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5" name="Freeform: Shape 364">
                <a:extLst>
                  <a:ext uri="{FF2B5EF4-FFF2-40B4-BE49-F238E27FC236}">
                    <a16:creationId xmlns:a16="http://schemas.microsoft.com/office/drawing/2014/main" id="{827603D8-09CC-4E5D-91E6-29A6F9923F23}"/>
                  </a:ext>
                </a:extLst>
              </p:cNvPr>
              <p:cNvSpPr/>
              <p:nvPr/>
            </p:nvSpPr>
            <p:spPr>
              <a:xfrm>
                <a:off x="813175" y="2973303"/>
                <a:ext cx="1187767" cy="111537"/>
              </a:xfrm>
              <a:custGeom>
                <a:avLst/>
                <a:gdLst>
                  <a:gd name="connsiteX0" fmla="*/ 1187768 w 1187767"/>
                  <a:gd name="connsiteY0" fmla="*/ 0 h 111537"/>
                  <a:gd name="connsiteX1" fmla="*/ 0 w 1187767"/>
                  <a:gd name="connsiteY1" fmla="*/ 0 h 111537"/>
                  <a:gd name="connsiteX2" fmla="*/ 0 w 1187767"/>
                  <a:gd name="connsiteY2" fmla="*/ 111538 h 111537"/>
                  <a:gd name="connsiteX3" fmla="*/ 1144524 w 1187767"/>
                  <a:gd name="connsiteY3" fmla="*/ 111538 h 111537"/>
                  <a:gd name="connsiteX4" fmla="*/ 1187768 w 1187767"/>
                  <a:gd name="connsiteY4" fmla="*/ 0 h 111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7767" h="111537">
                    <a:moveTo>
                      <a:pt x="1187768" y="0"/>
                    </a:moveTo>
                    <a:lnTo>
                      <a:pt x="0" y="0"/>
                    </a:lnTo>
                    <a:lnTo>
                      <a:pt x="0" y="111538"/>
                    </a:lnTo>
                    <a:lnTo>
                      <a:pt x="1144524" y="111538"/>
                    </a:lnTo>
                    <a:lnTo>
                      <a:pt x="118776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58" name="Freeform: Shape 357">
              <a:extLst>
                <a:ext uri="{FF2B5EF4-FFF2-40B4-BE49-F238E27FC236}">
                  <a16:creationId xmlns:a16="http://schemas.microsoft.com/office/drawing/2014/main" id="{B7A1AD8E-1DDD-4793-ADAC-4849BB246E92}"/>
                </a:ext>
              </a:extLst>
            </p:cNvPr>
            <p:cNvSpPr/>
            <p:nvPr/>
          </p:nvSpPr>
          <p:spPr>
            <a:xfrm>
              <a:off x="2423852" y="2745751"/>
              <a:ext cx="95" cy="9525"/>
            </a:xfrm>
            <a:custGeom>
              <a:avLst/>
              <a:gdLst>
                <a:gd name="connsiteX0" fmla="*/ 95 w 95"/>
                <a:gd name="connsiteY0" fmla="*/ 0 h 9525"/>
                <a:gd name="connsiteX1" fmla="*/ 0 w 95"/>
                <a:gd name="connsiteY1" fmla="*/ 0 h 9525"/>
                <a:gd name="connsiteX2" fmla="*/ 0 w 95"/>
                <a:gd name="connsiteY2" fmla="*/ 0 h 9525"/>
                <a:gd name="connsiteX3" fmla="*/ 95 w 95"/>
                <a:gd name="connsiteY3" fmla="*/ 0 h 9525"/>
              </a:gdLst>
              <a:ahLst/>
              <a:cxnLst>
                <a:cxn ang="0">
                  <a:pos x="connsiteX0" y="connsiteY0"/>
                </a:cxn>
                <a:cxn ang="0">
                  <a:pos x="connsiteX1" y="connsiteY1"/>
                </a:cxn>
                <a:cxn ang="0">
                  <a:pos x="connsiteX2" y="connsiteY2"/>
                </a:cxn>
                <a:cxn ang="0">
                  <a:pos x="connsiteX3" y="connsiteY3"/>
                </a:cxn>
              </a:cxnLst>
              <a:rect l="l" t="t" r="r" b="b"/>
              <a:pathLst>
                <a:path w="95" h="9525">
                  <a:moveTo>
                    <a:pt x="95" y="0"/>
                  </a:moveTo>
                  <a:lnTo>
                    <a:pt x="0" y="0"/>
                  </a:lnTo>
                  <a:lnTo>
                    <a:pt x="0" y="0"/>
                  </a:lnTo>
                  <a:lnTo>
                    <a:pt x="9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59" name="Freeform: Shape 358">
              <a:extLst>
                <a:ext uri="{FF2B5EF4-FFF2-40B4-BE49-F238E27FC236}">
                  <a16:creationId xmlns:a16="http://schemas.microsoft.com/office/drawing/2014/main" id="{29779736-AE9F-4A3A-96A9-7BB72F058F83}"/>
                </a:ext>
              </a:extLst>
            </p:cNvPr>
            <p:cNvSpPr/>
            <p:nvPr/>
          </p:nvSpPr>
          <p:spPr>
            <a:xfrm>
              <a:off x="2039042" y="2595256"/>
              <a:ext cx="341471" cy="867632"/>
            </a:xfrm>
            <a:custGeom>
              <a:avLst/>
              <a:gdLst>
                <a:gd name="connsiteX0" fmla="*/ 341471 w 341471"/>
                <a:gd name="connsiteY0" fmla="*/ 378047 h 867632"/>
                <a:gd name="connsiteX1" fmla="*/ 170688 w 341471"/>
                <a:gd name="connsiteY1" fmla="*/ 378047 h 867632"/>
                <a:gd name="connsiteX2" fmla="*/ 170688 w 341471"/>
                <a:gd name="connsiteY2" fmla="*/ 0 h 867632"/>
                <a:gd name="connsiteX3" fmla="*/ 0 w 341471"/>
                <a:gd name="connsiteY3" fmla="*/ 489585 h 867632"/>
                <a:gd name="connsiteX4" fmla="*/ 170688 w 341471"/>
                <a:gd name="connsiteY4" fmla="*/ 489585 h 867632"/>
                <a:gd name="connsiteX5" fmla="*/ 170688 w 341471"/>
                <a:gd name="connsiteY5" fmla="*/ 867632 h 867632"/>
                <a:gd name="connsiteX6" fmla="*/ 341471 w 341471"/>
                <a:gd name="connsiteY6" fmla="*/ 378047 h 867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471" h="867632">
                  <a:moveTo>
                    <a:pt x="341471" y="378047"/>
                  </a:moveTo>
                  <a:lnTo>
                    <a:pt x="170688" y="378047"/>
                  </a:lnTo>
                  <a:lnTo>
                    <a:pt x="170688" y="0"/>
                  </a:lnTo>
                  <a:lnTo>
                    <a:pt x="0" y="489585"/>
                  </a:lnTo>
                  <a:lnTo>
                    <a:pt x="170688" y="489585"/>
                  </a:lnTo>
                  <a:lnTo>
                    <a:pt x="170688" y="867632"/>
                  </a:lnTo>
                  <a:lnTo>
                    <a:pt x="341471" y="3780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0" name="Freeform: Shape 359">
              <a:extLst>
                <a:ext uri="{FF2B5EF4-FFF2-40B4-BE49-F238E27FC236}">
                  <a16:creationId xmlns:a16="http://schemas.microsoft.com/office/drawing/2014/main" id="{66DF89F6-5249-4E05-989B-D5C278FF9200}"/>
                </a:ext>
              </a:extLst>
            </p:cNvPr>
            <p:cNvSpPr/>
            <p:nvPr/>
          </p:nvSpPr>
          <p:spPr>
            <a:xfrm>
              <a:off x="1617942" y="2269501"/>
              <a:ext cx="353568" cy="631317"/>
            </a:xfrm>
            <a:custGeom>
              <a:avLst/>
              <a:gdLst>
                <a:gd name="connsiteX0" fmla="*/ 353568 w 353568"/>
                <a:gd name="connsiteY0" fmla="*/ 0 h 631317"/>
                <a:gd name="connsiteX1" fmla="*/ 232601 w 353568"/>
                <a:gd name="connsiteY1" fmla="*/ 0 h 631317"/>
                <a:gd name="connsiteX2" fmla="*/ 121063 w 353568"/>
                <a:gd name="connsiteY2" fmla="*/ 0 h 631317"/>
                <a:gd name="connsiteX3" fmla="*/ 0 w 353568"/>
                <a:gd name="connsiteY3" fmla="*/ 0 h 631317"/>
                <a:gd name="connsiteX4" fmla="*/ 0 w 353568"/>
                <a:gd name="connsiteY4" fmla="*/ 111633 h 631317"/>
                <a:gd name="connsiteX5" fmla="*/ 121063 w 353568"/>
                <a:gd name="connsiteY5" fmla="*/ 111633 h 631317"/>
                <a:gd name="connsiteX6" fmla="*/ 121063 w 353568"/>
                <a:gd name="connsiteY6" fmla="*/ 631317 h 631317"/>
                <a:gd name="connsiteX7" fmla="*/ 232601 w 353568"/>
                <a:gd name="connsiteY7" fmla="*/ 631317 h 631317"/>
                <a:gd name="connsiteX8" fmla="*/ 232601 w 353568"/>
                <a:gd name="connsiteY8" fmla="*/ 111633 h 631317"/>
                <a:gd name="connsiteX9" fmla="*/ 353568 w 353568"/>
                <a:gd name="connsiteY9" fmla="*/ 111633 h 631317"/>
                <a:gd name="connsiteX10" fmla="*/ 353568 w 353568"/>
                <a:gd name="connsiteY10" fmla="*/ 0 h 63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568" h="631317">
                  <a:moveTo>
                    <a:pt x="353568" y="0"/>
                  </a:moveTo>
                  <a:lnTo>
                    <a:pt x="232601" y="0"/>
                  </a:lnTo>
                  <a:lnTo>
                    <a:pt x="121063" y="0"/>
                  </a:lnTo>
                  <a:lnTo>
                    <a:pt x="0" y="0"/>
                  </a:lnTo>
                  <a:lnTo>
                    <a:pt x="0" y="111633"/>
                  </a:lnTo>
                  <a:lnTo>
                    <a:pt x="121063" y="111633"/>
                  </a:lnTo>
                  <a:lnTo>
                    <a:pt x="121063" y="631317"/>
                  </a:lnTo>
                  <a:lnTo>
                    <a:pt x="232601" y="631317"/>
                  </a:lnTo>
                  <a:lnTo>
                    <a:pt x="232601" y="111633"/>
                  </a:lnTo>
                  <a:lnTo>
                    <a:pt x="353568" y="111633"/>
                  </a:lnTo>
                  <a:lnTo>
                    <a:pt x="35356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61" name="Graphic 644">
              <a:extLst>
                <a:ext uri="{FF2B5EF4-FFF2-40B4-BE49-F238E27FC236}">
                  <a16:creationId xmlns:a16="http://schemas.microsoft.com/office/drawing/2014/main" id="{B1F4625E-94C8-42D9-8B56-6E3FA4ADB7E5}"/>
                </a:ext>
              </a:extLst>
            </p:cNvPr>
            <p:cNvGrpSpPr/>
            <p:nvPr/>
          </p:nvGrpSpPr>
          <p:grpSpPr>
            <a:xfrm>
              <a:off x="2506434" y="3155992"/>
              <a:ext cx="71627" cy="71628"/>
              <a:chOff x="2506434" y="3155992"/>
              <a:chExt cx="71627" cy="71628"/>
            </a:xfrm>
            <a:solidFill>
              <a:srgbClr val="A1ABB2"/>
            </a:solidFill>
          </p:grpSpPr>
          <p:sp>
            <p:nvSpPr>
              <p:cNvPr id="362" name="Freeform: Shape 361">
                <a:extLst>
                  <a:ext uri="{FF2B5EF4-FFF2-40B4-BE49-F238E27FC236}">
                    <a16:creationId xmlns:a16="http://schemas.microsoft.com/office/drawing/2014/main" id="{D707D5E4-22E9-4CBF-A155-AC1DF8B58446}"/>
                  </a:ext>
                </a:extLst>
              </p:cNvPr>
              <p:cNvSpPr/>
              <p:nvPr/>
            </p:nvSpPr>
            <p:spPr>
              <a:xfrm>
                <a:off x="2506434" y="3155992"/>
                <a:ext cx="71627" cy="71628"/>
              </a:xfrm>
              <a:custGeom>
                <a:avLst/>
                <a:gdLst>
                  <a:gd name="connsiteX0" fmla="*/ 35814 w 71627"/>
                  <a:gd name="connsiteY0" fmla="*/ 71628 h 71628"/>
                  <a:gd name="connsiteX1" fmla="*/ 0 w 71627"/>
                  <a:gd name="connsiteY1" fmla="*/ 35814 h 71628"/>
                  <a:gd name="connsiteX2" fmla="*/ 35814 w 71627"/>
                  <a:gd name="connsiteY2" fmla="*/ 0 h 71628"/>
                  <a:gd name="connsiteX3" fmla="*/ 71628 w 71627"/>
                  <a:gd name="connsiteY3" fmla="*/ 35814 h 71628"/>
                  <a:gd name="connsiteX4" fmla="*/ 35814 w 71627"/>
                  <a:gd name="connsiteY4" fmla="*/ 71628 h 71628"/>
                  <a:gd name="connsiteX5" fmla="*/ 35814 w 71627"/>
                  <a:gd name="connsiteY5" fmla="*/ 4763 h 71628"/>
                  <a:gd name="connsiteX6" fmla="*/ 4763 w 71627"/>
                  <a:gd name="connsiteY6" fmla="*/ 35814 h 71628"/>
                  <a:gd name="connsiteX7" fmla="*/ 35814 w 71627"/>
                  <a:gd name="connsiteY7" fmla="*/ 66866 h 71628"/>
                  <a:gd name="connsiteX8" fmla="*/ 66865 w 71627"/>
                  <a:gd name="connsiteY8" fmla="*/ 35814 h 71628"/>
                  <a:gd name="connsiteX9" fmla="*/ 35814 w 71627"/>
                  <a:gd name="connsiteY9" fmla="*/ 4763 h 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627" h="71628">
                    <a:moveTo>
                      <a:pt x="35814" y="71628"/>
                    </a:moveTo>
                    <a:cubicBezTo>
                      <a:pt x="16097" y="71628"/>
                      <a:pt x="0" y="55531"/>
                      <a:pt x="0" y="35814"/>
                    </a:cubicBezTo>
                    <a:cubicBezTo>
                      <a:pt x="0" y="16097"/>
                      <a:pt x="16097" y="0"/>
                      <a:pt x="35814" y="0"/>
                    </a:cubicBezTo>
                    <a:cubicBezTo>
                      <a:pt x="55531" y="0"/>
                      <a:pt x="71628" y="16097"/>
                      <a:pt x="71628" y="35814"/>
                    </a:cubicBezTo>
                    <a:cubicBezTo>
                      <a:pt x="71628" y="55531"/>
                      <a:pt x="55531" y="71628"/>
                      <a:pt x="35814" y="71628"/>
                    </a:cubicBezTo>
                    <a:close/>
                    <a:moveTo>
                      <a:pt x="35814" y="4763"/>
                    </a:moveTo>
                    <a:cubicBezTo>
                      <a:pt x="18669" y="4763"/>
                      <a:pt x="4763" y="18669"/>
                      <a:pt x="4763" y="35814"/>
                    </a:cubicBezTo>
                    <a:cubicBezTo>
                      <a:pt x="4763" y="52959"/>
                      <a:pt x="18669" y="66866"/>
                      <a:pt x="35814" y="66866"/>
                    </a:cubicBezTo>
                    <a:cubicBezTo>
                      <a:pt x="52959" y="66866"/>
                      <a:pt x="66865" y="52959"/>
                      <a:pt x="66865" y="35814"/>
                    </a:cubicBezTo>
                    <a:cubicBezTo>
                      <a:pt x="66865" y="18669"/>
                      <a:pt x="52959" y="4763"/>
                      <a:pt x="35814" y="4763"/>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63" name="Freeform: Shape 362">
                <a:extLst>
                  <a:ext uri="{FF2B5EF4-FFF2-40B4-BE49-F238E27FC236}">
                    <a16:creationId xmlns:a16="http://schemas.microsoft.com/office/drawing/2014/main" id="{BAB1B0C8-21A7-4A64-87DE-2E63CA8F7E21}"/>
                  </a:ext>
                </a:extLst>
              </p:cNvPr>
              <p:cNvSpPr/>
              <p:nvPr/>
            </p:nvSpPr>
            <p:spPr>
              <a:xfrm>
                <a:off x="2531104" y="3171423"/>
                <a:ext cx="25050" cy="38862"/>
              </a:xfrm>
              <a:custGeom>
                <a:avLst/>
                <a:gdLst>
                  <a:gd name="connsiteX0" fmla="*/ 0 w 25050"/>
                  <a:gd name="connsiteY0" fmla="*/ 762 h 38862"/>
                  <a:gd name="connsiteX1" fmla="*/ 9525 w 25050"/>
                  <a:gd name="connsiteY1" fmla="*/ 0 h 38862"/>
                  <a:gd name="connsiteX2" fmla="*/ 20669 w 25050"/>
                  <a:gd name="connsiteY2" fmla="*/ 3143 h 38862"/>
                  <a:gd name="connsiteX3" fmla="*/ 23717 w 25050"/>
                  <a:gd name="connsiteY3" fmla="*/ 10477 h 38862"/>
                  <a:gd name="connsiteX4" fmla="*/ 16478 w 25050"/>
                  <a:gd name="connsiteY4" fmla="*/ 20288 h 38862"/>
                  <a:gd name="connsiteX5" fmla="*/ 16478 w 25050"/>
                  <a:gd name="connsiteY5" fmla="*/ 20479 h 38862"/>
                  <a:gd name="connsiteX6" fmla="*/ 22098 w 25050"/>
                  <a:gd name="connsiteY6" fmla="*/ 28289 h 38862"/>
                  <a:gd name="connsiteX7" fmla="*/ 25051 w 25050"/>
                  <a:gd name="connsiteY7" fmla="*/ 38862 h 38862"/>
                  <a:gd name="connsiteX8" fmla="*/ 19907 w 25050"/>
                  <a:gd name="connsiteY8" fmla="*/ 38862 h 38862"/>
                  <a:gd name="connsiteX9" fmla="*/ 17335 w 25050"/>
                  <a:gd name="connsiteY9" fmla="*/ 29623 h 38862"/>
                  <a:gd name="connsiteX10" fmla="*/ 9620 w 25050"/>
                  <a:gd name="connsiteY10" fmla="*/ 22098 h 38862"/>
                  <a:gd name="connsiteX11" fmla="*/ 4953 w 25050"/>
                  <a:gd name="connsiteY11" fmla="*/ 22098 h 38862"/>
                  <a:gd name="connsiteX12" fmla="*/ 4953 w 25050"/>
                  <a:gd name="connsiteY12" fmla="*/ 38767 h 38862"/>
                  <a:gd name="connsiteX13" fmla="*/ 0 w 25050"/>
                  <a:gd name="connsiteY13" fmla="*/ 38767 h 38862"/>
                  <a:gd name="connsiteX14" fmla="*/ 0 w 25050"/>
                  <a:gd name="connsiteY14" fmla="*/ 762 h 38862"/>
                  <a:gd name="connsiteX15" fmla="*/ 4953 w 25050"/>
                  <a:gd name="connsiteY15" fmla="*/ 18288 h 38862"/>
                  <a:gd name="connsiteX16" fmla="*/ 10001 w 25050"/>
                  <a:gd name="connsiteY16" fmla="*/ 18288 h 38862"/>
                  <a:gd name="connsiteX17" fmla="*/ 18669 w 25050"/>
                  <a:gd name="connsiteY17" fmla="*/ 10954 h 38862"/>
                  <a:gd name="connsiteX18" fmla="*/ 9811 w 25050"/>
                  <a:gd name="connsiteY18" fmla="*/ 3715 h 38862"/>
                  <a:gd name="connsiteX19" fmla="*/ 4858 w 25050"/>
                  <a:gd name="connsiteY19" fmla="*/ 4191 h 38862"/>
                  <a:gd name="connsiteX20" fmla="*/ 4858 w 25050"/>
                  <a:gd name="connsiteY20" fmla="*/ 18288 h 3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050" h="38862">
                    <a:moveTo>
                      <a:pt x="0" y="762"/>
                    </a:moveTo>
                    <a:cubicBezTo>
                      <a:pt x="2476" y="286"/>
                      <a:pt x="6096" y="0"/>
                      <a:pt x="9525" y="0"/>
                    </a:cubicBezTo>
                    <a:cubicBezTo>
                      <a:pt x="14859" y="0"/>
                      <a:pt x="18288" y="952"/>
                      <a:pt x="20669" y="3143"/>
                    </a:cubicBezTo>
                    <a:cubicBezTo>
                      <a:pt x="22574" y="4858"/>
                      <a:pt x="23717" y="7525"/>
                      <a:pt x="23717" y="10477"/>
                    </a:cubicBezTo>
                    <a:cubicBezTo>
                      <a:pt x="23717" y="15526"/>
                      <a:pt x="20479" y="18955"/>
                      <a:pt x="16478" y="20288"/>
                    </a:cubicBezTo>
                    <a:lnTo>
                      <a:pt x="16478" y="20479"/>
                    </a:lnTo>
                    <a:cubicBezTo>
                      <a:pt x="19431" y="21527"/>
                      <a:pt x="21241" y="24289"/>
                      <a:pt x="22098" y="28289"/>
                    </a:cubicBezTo>
                    <a:cubicBezTo>
                      <a:pt x="23336" y="33623"/>
                      <a:pt x="24289" y="37338"/>
                      <a:pt x="25051" y="38862"/>
                    </a:cubicBezTo>
                    <a:lnTo>
                      <a:pt x="19907" y="38862"/>
                    </a:lnTo>
                    <a:cubicBezTo>
                      <a:pt x="19241" y="37814"/>
                      <a:pt x="18383" y="34481"/>
                      <a:pt x="17335" y="29623"/>
                    </a:cubicBezTo>
                    <a:cubicBezTo>
                      <a:pt x="16192" y="24289"/>
                      <a:pt x="14192" y="22289"/>
                      <a:pt x="9620" y="22098"/>
                    </a:cubicBezTo>
                    <a:lnTo>
                      <a:pt x="4953" y="22098"/>
                    </a:lnTo>
                    <a:lnTo>
                      <a:pt x="4953" y="38767"/>
                    </a:lnTo>
                    <a:lnTo>
                      <a:pt x="0" y="38767"/>
                    </a:lnTo>
                    <a:lnTo>
                      <a:pt x="0" y="762"/>
                    </a:lnTo>
                    <a:close/>
                    <a:moveTo>
                      <a:pt x="4953" y="18288"/>
                    </a:moveTo>
                    <a:lnTo>
                      <a:pt x="10001" y="18288"/>
                    </a:lnTo>
                    <a:cubicBezTo>
                      <a:pt x="15335" y="18288"/>
                      <a:pt x="18669" y="15335"/>
                      <a:pt x="18669" y="10954"/>
                    </a:cubicBezTo>
                    <a:cubicBezTo>
                      <a:pt x="18669" y="6001"/>
                      <a:pt x="15050" y="3810"/>
                      <a:pt x="9811" y="3715"/>
                    </a:cubicBezTo>
                    <a:cubicBezTo>
                      <a:pt x="7429" y="3715"/>
                      <a:pt x="5715" y="3905"/>
                      <a:pt x="4858" y="4191"/>
                    </a:cubicBezTo>
                    <a:lnTo>
                      <a:pt x="4858" y="1828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366" name="Group 365">
            <a:extLst>
              <a:ext uri="{FF2B5EF4-FFF2-40B4-BE49-F238E27FC236}">
                <a16:creationId xmlns:a16="http://schemas.microsoft.com/office/drawing/2014/main" id="{1BF99F8C-BBE2-40EE-83CF-7CB7EA67820F}"/>
              </a:ext>
            </a:extLst>
          </p:cNvPr>
          <p:cNvGrpSpPr/>
          <p:nvPr userDrawn="1"/>
        </p:nvGrpSpPr>
        <p:grpSpPr>
          <a:xfrm>
            <a:off x="7970555" y="4361409"/>
            <a:ext cx="1247542" cy="242736"/>
            <a:chOff x="2981977" y="6196095"/>
            <a:chExt cx="2723291" cy="529875"/>
          </a:xfrm>
        </p:grpSpPr>
        <p:grpSp>
          <p:nvGrpSpPr>
            <p:cNvPr id="367" name="Graphic 660">
              <a:extLst>
                <a:ext uri="{FF2B5EF4-FFF2-40B4-BE49-F238E27FC236}">
                  <a16:creationId xmlns:a16="http://schemas.microsoft.com/office/drawing/2014/main" id="{316EC686-F05F-459F-9EE7-78BABB3612A5}"/>
                </a:ext>
              </a:extLst>
            </p:cNvPr>
            <p:cNvGrpSpPr/>
            <p:nvPr/>
          </p:nvGrpSpPr>
          <p:grpSpPr>
            <a:xfrm>
              <a:off x="2981977" y="6196095"/>
              <a:ext cx="2650712" cy="529875"/>
              <a:chOff x="2981977" y="6196095"/>
              <a:chExt cx="2650712" cy="529875"/>
            </a:xfrm>
            <a:solidFill>
              <a:srgbClr val="A1ABB2"/>
            </a:solidFill>
          </p:grpSpPr>
          <p:grpSp>
            <p:nvGrpSpPr>
              <p:cNvPr id="369" name="Graphic 660">
                <a:extLst>
                  <a:ext uri="{FF2B5EF4-FFF2-40B4-BE49-F238E27FC236}">
                    <a16:creationId xmlns:a16="http://schemas.microsoft.com/office/drawing/2014/main" id="{094A11F1-DAC5-4B15-A4F1-641A154F74EF}"/>
                  </a:ext>
                </a:extLst>
              </p:cNvPr>
              <p:cNvGrpSpPr/>
              <p:nvPr/>
            </p:nvGrpSpPr>
            <p:grpSpPr>
              <a:xfrm>
                <a:off x="3557001" y="6238862"/>
                <a:ext cx="2075688" cy="480726"/>
                <a:chOff x="3557001" y="6238862"/>
                <a:chExt cx="2075688" cy="480726"/>
              </a:xfrm>
              <a:solidFill>
                <a:srgbClr val="A1ABB2"/>
              </a:solidFill>
            </p:grpSpPr>
            <p:sp>
              <p:nvSpPr>
                <p:cNvPr id="372" name="Freeform: Shape 371">
                  <a:extLst>
                    <a:ext uri="{FF2B5EF4-FFF2-40B4-BE49-F238E27FC236}">
                      <a16:creationId xmlns:a16="http://schemas.microsoft.com/office/drawing/2014/main" id="{24E01293-7398-41F4-8B31-8094FF14A549}"/>
                    </a:ext>
                  </a:extLst>
                </p:cNvPr>
                <p:cNvSpPr/>
                <p:nvPr/>
              </p:nvSpPr>
              <p:spPr>
                <a:xfrm>
                  <a:off x="3563573" y="6242481"/>
                  <a:ext cx="400240" cy="326612"/>
                </a:xfrm>
                <a:custGeom>
                  <a:avLst/>
                  <a:gdLst>
                    <a:gd name="connsiteX0" fmla="*/ 0 w 400240"/>
                    <a:gd name="connsiteY0" fmla="*/ 0 h 326612"/>
                    <a:gd name="connsiteX1" fmla="*/ 302324 w 400240"/>
                    <a:gd name="connsiteY1" fmla="*/ 0 h 326612"/>
                    <a:gd name="connsiteX2" fmla="*/ 400241 w 400240"/>
                    <a:gd name="connsiteY2" fmla="*/ 97060 h 326612"/>
                    <a:gd name="connsiteX3" fmla="*/ 400241 w 400240"/>
                    <a:gd name="connsiteY3" fmla="*/ 117824 h 326612"/>
                    <a:gd name="connsiteX4" fmla="*/ 344233 w 400240"/>
                    <a:gd name="connsiteY4" fmla="*/ 198120 h 326612"/>
                    <a:gd name="connsiteX5" fmla="*/ 344233 w 400240"/>
                    <a:gd name="connsiteY5" fmla="*/ 198977 h 326612"/>
                    <a:gd name="connsiteX6" fmla="*/ 398812 w 400240"/>
                    <a:gd name="connsiteY6" fmla="*/ 271177 h 326612"/>
                    <a:gd name="connsiteX7" fmla="*/ 398812 w 400240"/>
                    <a:gd name="connsiteY7" fmla="*/ 326612 h 326612"/>
                    <a:gd name="connsiteX8" fmla="*/ 298704 w 400240"/>
                    <a:gd name="connsiteY8" fmla="*/ 326612 h 326612"/>
                    <a:gd name="connsiteX9" fmla="*/ 298704 w 400240"/>
                    <a:gd name="connsiteY9" fmla="*/ 287369 h 326612"/>
                    <a:gd name="connsiteX10" fmla="*/ 257651 w 400240"/>
                    <a:gd name="connsiteY10" fmla="*/ 241840 h 326612"/>
                    <a:gd name="connsiteX11" fmla="*/ 100203 w 400240"/>
                    <a:gd name="connsiteY11" fmla="*/ 241840 h 326612"/>
                    <a:gd name="connsiteX12" fmla="*/ 100203 w 400240"/>
                    <a:gd name="connsiteY12" fmla="*/ 326612 h 326612"/>
                    <a:gd name="connsiteX13" fmla="*/ 0 w 400240"/>
                    <a:gd name="connsiteY13" fmla="*/ 326612 h 326612"/>
                    <a:gd name="connsiteX14" fmla="*/ 0 w 400240"/>
                    <a:gd name="connsiteY14" fmla="*/ 0 h 326612"/>
                    <a:gd name="connsiteX15" fmla="*/ 100203 w 400240"/>
                    <a:gd name="connsiteY15" fmla="*/ 160687 h 326612"/>
                    <a:gd name="connsiteX16" fmla="*/ 265843 w 400240"/>
                    <a:gd name="connsiteY16" fmla="*/ 160687 h 326612"/>
                    <a:gd name="connsiteX17" fmla="*/ 302800 w 400240"/>
                    <a:gd name="connsiteY17" fmla="*/ 126397 h 326612"/>
                    <a:gd name="connsiteX18" fmla="*/ 302800 w 400240"/>
                    <a:gd name="connsiteY18" fmla="*/ 115538 h 326612"/>
                    <a:gd name="connsiteX19" fmla="*/ 256794 w 400240"/>
                    <a:gd name="connsiteY19" fmla="*/ 81248 h 326612"/>
                    <a:gd name="connsiteX20" fmla="*/ 100203 w 400240"/>
                    <a:gd name="connsiteY20" fmla="*/ 81248 h 326612"/>
                    <a:gd name="connsiteX21" fmla="*/ 100203 w 400240"/>
                    <a:gd name="connsiteY21" fmla="*/ 160592 h 32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0240" h="326612">
                      <a:moveTo>
                        <a:pt x="0" y="0"/>
                      </a:moveTo>
                      <a:lnTo>
                        <a:pt x="302324" y="0"/>
                      </a:lnTo>
                      <a:cubicBezTo>
                        <a:pt x="379476" y="0"/>
                        <a:pt x="400241" y="38386"/>
                        <a:pt x="400241" y="97060"/>
                      </a:cubicBezTo>
                      <a:lnTo>
                        <a:pt x="400241" y="117824"/>
                      </a:lnTo>
                      <a:cubicBezTo>
                        <a:pt x="400241" y="161544"/>
                        <a:pt x="390335" y="187357"/>
                        <a:pt x="344233" y="198120"/>
                      </a:cubicBezTo>
                      <a:lnTo>
                        <a:pt x="344233" y="198977"/>
                      </a:lnTo>
                      <a:cubicBezTo>
                        <a:pt x="374047" y="204407"/>
                        <a:pt x="398812" y="217456"/>
                        <a:pt x="398812" y="271177"/>
                      </a:cubicBezTo>
                      <a:lnTo>
                        <a:pt x="398812" y="326612"/>
                      </a:lnTo>
                      <a:lnTo>
                        <a:pt x="298704" y="326612"/>
                      </a:lnTo>
                      <a:lnTo>
                        <a:pt x="298704" y="287369"/>
                      </a:lnTo>
                      <a:cubicBezTo>
                        <a:pt x="298704" y="253079"/>
                        <a:pt x="288703" y="241840"/>
                        <a:pt x="257651" y="241840"/>
                      </a:cubicBezTo>
                      <a:lnTo>
                        <a:pt x="100203" y="241840"/>
                      </a:lnTo>
                      <a:lnTo>
                        <a:pt x="100203" y="326612"/>
                      </a:lnTo>
                      <a:lnTo>
                        <a:pt x="0" y="326612"/>
                      </a:lnTo>
                      <a:lnTo>
                        <a:pt x="0" y="0"/>
                      </a:lnTo>
                      <a:close/>
                      <a:moveTo>
                        <a:pt x="100203" y="160687"/>
                      </a:moveTo>
                      <a:lnTo>
                        <a:pt x="265843" y="160687"/>
                      </a:lnTo>
                      <a:cubicBezTo>
                        <a:pt x="292894" y="160687"/>
                        <a:pt x="302800" y="149828"/>
                        <a:pt x="302800" y="126397"/>
                      </a:cubicBezTo>
                      <a:lnTo>
                        <a:pt x="302800" y="115538"/>
                      </a:lnTo>
                      <a:cubicBezTo>
                        <a:pt x="302800" y="86678"/>
                        <a:pt x="288322" y="81248"/>
                        <a:pt x="256794" y="81248"/>
                      </a:cubicBezTo>
                      <a:lnTo>
                        <a:pt x="100203" y="81248"/>
                      </a:lnTo>
                      <a:lnTo>
                        <a:pt x="100203" y="16059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3" name="Freeform: Shape 372">
                  <a:extLst>
                    <a:ext uri="{FF2B5EF4-FFF2-40B4-BE49-F238E27FC236}">
                      <a16:creationId xmlns:a16="http://schemas.microsoft.com/office/drawing/2014/main" id="{A54589AC-88F1-433B-A263-9A32509CF1D0}"/>
                    </a:ext>
                  </a:extLst>
                </p:cNvPr>
                <p:cNvSpPr/>
                <p:nvPr/>
              </p:nvSpPr>
              <p:spPr>
                <a:xfrm>
                  <a:off x="3987435" y="6242481"/>
                  <a:ext cx="363283" cy="326802"/>
                </a:xfrm>
                <a:custGeom>
                  <a:avLst/>
                  <a:gdLst>
                    <a:gd name="connsiteX0" fmla="*/ 0 w 363283"/>
                    <a:gd name="connsiteY0" fmla="*/ 0 h 326802"/>
                    <a:gd name="connsiteX1" fmla="*/ 357378 w 363283"/>
                    <a:gd name="connsiteY1" fmla="*/ 0 h 326802"/>
                    <a:gd name="connsiteX2" fmla="*/ 357378 w 363283"/>
                    <a:gd name="connsiteY2" fmla="*/ 75819 h 326802"/>
                    <a:gd name="connsiteX3" fmla="*/ 100203 w 363283"/>
                    <a:gd name="connsiteY3" fmla="*/ 75819 h 326802"/>
                    <a:gd name="connsiteX4" fmla="*/ 100203 w 363283"/>
                    <a:gd name="connsiteY4" fmla="*/ 128207 h 326802"/>
                    <a:gd name="connsiteX5" fmla="*/ 343853 w 363283"/>
                    <a:gd name="connsiteY5" fmla="*/ 128207 h 326802"/>
                    <a:gd name="connsiteX6" fmla="*/ 343853 w 363283"/>
                    <a:gd name="connsiteY6" fmla="*/ 195929 h 326802"/>
                    <a:gd name="connsiteX7" fmla="*/ 100203 w 363283"/>
                    <a:gd name="connsiteY7" fmla="*/ 195929 h 326802"/>
                    <a:gd name="connsiteX8" fmla="*/ 100203 w 363283"/>
                    <a:gd name="connsiteY8" fmla="*/ 248317 h 326802"/>
                    <a:gd name="connsiteX9" fmla="*/ 363284 w 363283"/>
                    <a:gd name="connsiteY9" fmla="*/ 248317 h 326802"/>
                    <a:gd name="connsiteX10" fmla="*/ 363284 w 363283"/>
                    <a:gd name="connsiteY10" fmla="*/ 326803 h 326802"/>
                    <a:gd name="connsiteX11" fmla="*/ 0 w 363283"/>
                    <a:gd name="connsiteY11" fmla="*/ 326803 h 326802"/>
                    <a:gd name="connsiteX12" fmla="*/ 0 w 363283"/>
                    <a:gd name="connsiteY12" fmla="*/ 0 h 326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3283" h="326802">
                      <a:moveTo>
                        <a:pt x="0" y="0"/>
                      </a:moveTo>
                      <a:lnTo>
                        <a:pt x="357378" y="0"/>
                      </a:lnTo>
                      <a:lnTo>
                        <a:pt x="357378" y="75819"/>
                      </a:lnTo>
                      <a:lnTo>
                        <a:pt x="100203" y="75819"/>
                      </a:lnTo>
                      <a:lnTo>
                        <a:pt x="100203" y="128207"/>
                      </a:lnTo>
                      <a:lnTo>
                        <a:pt x="343853" y="128207"/>
                      </a:lnTo>
                      <a:lnTo>
                        <a:pt x="343853" y="195929"/>
                      </a:lnTo>
                      <a:lnTo>
                        <a:pt x="100203" y="195929"/>
                      </a:lnTo>
                      <a:lnTo>
                        <a:pt x="100203" y="248317"/>
                      </a:lnTo>
                      <a:lnTo>
                        <a:pt x="363284" y="248317"/>
                      </a:lnTo>
                      <a:lnTo>
                        <a:pt x="363284" y="326803"/>
                      </a:lnTo>
                      <a:lnTo>
                        <a:pt x="0" y="32680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4" name="Freeform: Shape 373">
                  <a:extLst>
                    <a:ext uri="{FF2B5EF4-FFF2-40B4-BE49-F238E27FC236}">
                      <a16:creationId xmlns:a16="http://schemas.microsoft.com/office/drawing/2014/main" id="{64B9FE9F-D34D-43CB-AF78-1D2729466FE3}"/>
                    </a:ext>
                  </a:extLst>
                </p:cNvPr>
                <p:cNvSpPr/>
                <p:nvPr/>
              </p:nvSpPr>
              <p:spPr>
                <a:xfrm>
                  <a:off x="4384723" y="6242481"/>
                  <a:ext cx="325373" cy="326707"/>
                </a:xfrm>
                <a:custGeom>
                  <a:avLst/>
                  <a:gdLst>
                    <a:gd name="connsiteX0" fmla="*/ 0 w 325373"/>
                    <a:gd name="connsiteY0" fmla="*/ 0 h 326707"/>
                    <a:gd name="connsiteX1" fmla="*/ 100203 w 325373"/>
                    <a:gd name="connsiteY1" fmla="*/ 0 h 326707"/>
                    <a:gd name="connsiteX2" fmla="*/ 100203 w 325373"/>
                    <a:gd name="connsiteY2" fmla="*/ 242792 h 326707"/>
                    <a:gd name="connsiteX3" fmla="*/ 325374 w 325373"/>
                    <a:gd name="connsiteY3" fmla="*/ 242792 h 326707"/>
                    <a:gd name="connsiteX4" fmla="*/ 325374 w 325373"/>
                    <a:gd name="connsiteY4" fmla="*/ 326707 h 326707"/>
                    <a:gd name="connsiteX5" fmla="*/ 0 w 325373"/>
                    <a:gd name="connsiteY5" fmla="*/ 326707 h 326707"/>
                    <a:gd name="connsiteX6" fmla="*/ 0 w 325373"/>
                    <a:gd name="connsiteY6" fmla="*/ 0 h 32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373" h="326707">
                      <a:moveTo>
                        <a:pt x="0" y="0"/>
                      </a:moveTo>
                      <a:lnTo>
                        <a:pt x="100203" y="0"/>
                      </a:lnTo>
                      <a:lnTo>
                        <a:pt x="100203" y="242792"/>
                      </a:lnTo>
                      <a:lnTo>
                        <a:pt x="325374" y="242792"/>
                      </a:lnTo>
                      <a:lnTo>
                        <a:pt x="325374" y="326707"/>
                      </a:lnTo>
                      <a:lnTo>
                        <a:pt x="0" y="326707"/>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5" name="Freeform: Shape 374">
                  <a:extLst>
                    <a:ext uri="{FF2B5EF4-FFF2-40B4-BE49-F238E27FC236}">
                      <a16:creationId xmlns:a16="http://schemas.microsoft.com/office/drawing/2014/main" id="{C974CD0D-6350-4D77-9E0B-AA2F2B2786D4}"/>
                    </a:ext>
                  </a:extLst>
                </p:cNvPr>
                <p:cNvSpPr/>
                <p:nvPr/>
              </p:nvSpPr>
              <p:spPr>
                <a:xfrm>
                  <a:off x="4724671" y="6238862"/>
                  <a:ext cx="448532" cy="333851"/>
                </a:xfrm>
                <a:custGeom>
                  <a:avLst/>
                  <a:gdLst>
                    <a:gd name="connsiteX0" fmla="*/ 0 w 448532"/>
                    <a:gd name="connsiteY0" fmla="*/ 118205 h 333851"/>
                    <a:gd name="connsiteX1" fmla="*/ 143923 w 448532"/>
                    <a:gd name="connsiteY1" fmla="*/ 0 h 333851"/>
                    <a:gd name="connsiteX2" fmla="*/ 304609 w 448532"/>
                    <a:gd name="connsiteY2" fmla="*/ 0 h 333851"/>
                    <a:gd name="connsiteX3" fmla="*/ 448532 w 448532"/>
                    <a:gd name="connsiteY3" fmla="*/ 118205 h 333851"/>
                    <a:gd name="connsiteX4" fmla="*/ 448532 w 448532"/>
                    <a:gd name="connsiteY4" fmla="*/ 215646 h 333851"/>
                    <a:gd name="connsiteX5" fmla="*/ 304609 w 448532"/>
                    <a:gd name="connsiteY5" fmla="*/ 333851 h 333851"/>
                    <a:gd name="connsiteX6" fmla="*/ 143923 w 448532"/>
                    <a:gd name="connsiteY6" fmla="*/ 333851 h 333851"/>
                    <a:gd name="connsiteX7" fmla="*/ 0 w 448532"/>
                    <a:gd name="connsiteY7" fmla="*/ 215646 h 333851"/>
                    <a:gd name="connsiteX8" fmla="*/ 0 w 448532"/>
                    <a:gd name="connsiteY8" fmla="*/ 118205 h 333851"/>
                    <a:gd name="connsiteX9" fmla="*/ 102870 w 448532"/>
                    <a:gd name="connsiteY9" fmla="*/ 184499 h 333851"/>
                    <a:gd name="connsiteX10" fmla="*/ 160115 w 448532"/>
                    <a:gd name="connsiteY10" fmla="*/ 249936 h 333851"/>
                    <a:gd name="connsiteX11" fmla="*/ 288226 w 448532"/>
                    <a:gd name="connsiteY11" fmla="*/ 249936 h 333851"/>
                    <a:gd name="connsiteX12" fmla="*/ 345567 w 448532"/>
                    <a:gd name="connsiteY12" fmla="*/ 184499 h 333851"/>
                    <a:gd name="connsiteX13" fmla="*/ 345567 w 448532"/>
                    <a:gd name="connsiteY13" fmla="*/ 149257 h 333851"/>
                    <a:gd name="connsiteX14" fmla="*/ 282797 w 448532"/>
                    <a:gd name="connsiteY14" fmla="*/ 83820 h 333851"/>
                    <a:gd name="connsiteX15" fmla="*/ 165449 w 448532"/>
                    <a:gd name="connsiteY15" fmla="*/ 83820 h 333851"/>
                    <a:gd name="connsiteX16" fmla="*/ 102775 w 448532"/>
                    <a:gd name="connsiteY16" fmla="*/ 149257 h 333851"/>
                    <a:gd name="connsiteX17" fmla="*/ 102775 w 448532"/>
                    <a:gd name="connsiteY17" fmla="*/ 184499 h 333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532" h="333851">
                      <a:moveTo>
                        <a:pt x="0" y="118205"/>
                      </a:moveTo>
                      <a:cubicBezTo>
                        <a:pt x="0" y="22574"/>
                        <a:pt x="53721" y="0"/>
                        <a:pt x="143923" y="0"/>
                      </a:cubicBezTo>
                      <a:lnTo>
                        <a:pt x="304609" y="0"/>
                      </a:lnTo>
                      <a:cubicBezTo>
                        <a:pt x="394906" y="0"/>
                        <a:pt x="448532" y="22574"/>
                        <a:pt x="448532" y="118205"/>
                      </a:cubicBezTo>
                      <a:lnTo>
                        <a:pt x="448532" y="215646"/>
                      </a:lnTo>
                      <a:cubicBezTo>
                        <a:pt x="448532" y="311277"/>
                        <a:pt x="394811" y="333851"/>
                        <a:pt x="304609" y="333851"/>
                      </a:cubicBezTo>
                      <a:lnTo>
                        <a:pt x="143923" y="333851"/>
                      </a:lnTo>
                      <a:cubicBezTo>
                        <a:pt x="53721" y="333851"/>
                        <a:pt x="0" y="311277"/>
                        <a:pt x="0" y="215646"/>
                      </a:cubicBezTo>
                      <a:lnTo>
                        <a:pt x="0" y="118205"/>
                      </a:lnTo>
                      <a:close/>
                      <a:moveTo>
                        <a:pt x="102870" y="184499"/>
                      </a:moveTo>
                      <a:cubicBezTo>
                        <a:pt x="102870" y="231934"/>
                        <a:pt x="112776" y="249936"/>
                        <a:pt x="160115" y="249936"/>
                      </a:cubicBezTo>
                      <a:lnTo>
                        <a:pt x="288226" y="249936"/>
                      </a:lnTo>
                      <a:cubicBezTo>
                        <a:pt x="335566" y="249936"/>
                        <a:pt x="345567" y="231839"/>
                        <a:pt x="345567" y="184499"/>
                      </a:cubicBezTo>
                      <a:lnTo>
                        <a:pt x="345567" y="149257"/>
                      </a:lnTo>
                      <a:cubicBezTo>
                        <a:pt x="345567" y="108680"/>
                        <a:pt x="335661" y="83820"/>
                        <a:pt x="282797" y="83820"/>
                      </a:cubicBezTo>
                      <a:lnTo>
                        <a:pt x="165449" y="83820"/>
                      </a:lnTo>
                      <a:cubicBezTo>
                        <a:pt x="112681" y="83820"/>
                        <a:pt x="102775" y="108680"/>
                        <a:pt x="102775" y="149257"/>
                      </a:cubicBezTo>
                      <a:lnTo>
                        <a:pt x="102775" y="18449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6" name="Freeform: Shape 375">
                  <a:extLst>
                    <a:ext uri="{FF2B5EF4-FFF2-40B4-BE49-F238E27FC236}">
                      <a16:creationId xmlns:a16="http://schemas.microsoft.com/office/drawing/2014/main" id="{87D5DEDE-69EE-4B43-A884-FFAEA6E33409}"/>
                    </a:ext>
                  </a:extLst>
                </p:cNvPr>
                <p:cNvSpPr/>
                <p:nvPr/>
              </p:nvSpPr>
              <p:spPr>
                <a:xfrm>
                  <a:off x="5191110" y="6238862"/>
                  <a:ext cx="426148" cy="334041"/>
                </a:xfrm>
                <a:custGeom>
                  <a:avLst/>
                  <a:gdLst>
                    <a:gd name="connsiteX0" fmla="*/ 0 w 426148"/>
                    <a:gd name="connsiteY0" fmla="*/ 118205 h 334041"/>
                    <a:gd name="connsiteX1" fmla="*/ 143923 w 426148"/>
                    <a:gd name="connsiteY1" fmla="*/ 0 h 334041"/>
                    <a:gd name="connsiteX2" fmla="*/ 261747 w 426148"/>
                    <a:gd name="connsiteY2" fmla="*/ 0 h 334041"/>
                    <a:gd name="connsiteX3" fmla="*/ 421958 w 426148"/>
                    <a:gd name="connsiteY3" fmla="*/ 123254 h 334041"/>
                    <a:gd name="connsiteX4" fmla="*/ 321850 w 426148"/>
                    <a:gd name="connsiteY4" fmla="*/ 123254 h 334041"/>
                    <a:gd name="connsiteX5" fmla="*/ 321850 w 426148"/>
                    <a:gd name="connsiteY5" fmla="*/ 114205 h 334041"/>
                    <a:gd name="connsiteX6" fmla="*/ 274892 w 426148"/>
                    <a:gd name="connsiteY6" fmla="*/ 84011 h 334041"/>
                    <a:gd name="connsiteX7" fmla="*/ 165640 w 426148"/>
                    <a:gd name="connsiteY7" fmla="*/ 84011 h 334041"/>
                    <a:gd name="connsiteX8" fmla="*/ 102965 w 426148"/>
                    <a:gd name="connsiteY8" fmla="*/ 149447 h 334041"/>
                    <a:gd name="connsiteX9" fmla="*/ 102965 w 426148"/>
                    <a:gd name="connsiteY9" fmla="*/ 184690 h 334041"/>
                    <a:gd name="connsiteX10" fmla="*/ 160306 w 426148"/>
                    <a:gd name="connsiteY10" fmla="*/ 250127 h 334041"/>
                    <a:gd name="connsiteX11" fmla="*/ 267271 w 426148"/>
                    <a:gd name="connsiteY11" fmla="*/ 250127 h 334041"/>
                    <a:gd name="connsiteX12" fmla="*/ 325946 w 426148"/>
                    <a:gd name="connsiteY12" fmla="*/ 204978 h 334041"/>
                    <a:gd name="connsiteX13" fmla="*/ 426149 w 426148"/>
                    <a:gd name="connsiteY13" fmla="*/ 204978 h 334041"/>
                    <a:gd name="connsiteX14" fmla="*/ 426149 w 426148"/>
                    <a:gd name="connsiteY14" fmla="*/ 235649 h 334041"/>
                    <a:gd name="connsiteX15" fmla="*/ 305657 w 426148"/>
                    <a:gd name="connsiteY15" fmla="*/ 334042 h 334041"/>
                    <a:gd name="connsiteX16" fmla="*/ 144113 w 426148"/>
                    <a:gd name="connsiteY16" fmla="*/ 334042 h 334041"/>
                    <a:gd name="connsiteX17" fmla="*/ 191 w 426148"/>
                    <a:gd name="connsiteY17" fmla="*/ 215837 h 334041"/>
                    <a:gd name="connsiteX18" fmla="*/ 191 w 426148"/>
                    <a:gd name="connsiteY18" fmla="*/ 118396 h 3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148" h="334041">
                      <a:moveTo>
                        <a:pt x="0" y="118205"/>
                      </a:moveTo>
                      <a:cubicBezTo>
                        <a:pt x="0" y="22574"/>
                        <a:pt x="53626" y="0"/>
                        <a:pt x="143923" y="0"/>
                      </a:cubicBezTo>
                      <a:lnTo>
                        <a:pt x="261747" y="0"/>
                      </a:lnTo>
                      <a:cubicBezTo>
                        <a:pt x="404336" y="0"/>
                        <a:pt x="422815" y="30671"/>
                        <a:pt x="421958" y="123254"/>
                      </a:cubicBezTo>
                      <a:lnTo>
                        <a:pt x="321850" y="123254"/>
                      </a:lnTo>
                      <a:lnTo>
                        <a:pt x="321850" y="114205"/>
                      </a:lnTo>
                      <a:cubicBezTo>
                        <a:pt x="321850" y="90773"/>
                        <a:pt x="304705" y="84011"/>
                        <a:pt x="274892" y="84011"/>
                      </a:cubicBezTo>
                      <a:lnTo>
                        <a:pt x="165640" y="84011"/>
                      </a:lnTo>
                      <a:cubicBezTo>
                        <a:pt x="112871" y="84011"/>
                        <a:pt x="102965" y="108871"/>
                        <a:pt x="102965" y="149447"/>
                      </a:cubicBezTo>
                      <a:lnTo>
                        <a:pt x="102965" y="184690"/>
                      </a:lnTo>
                      <a:cubicBezTo>
                        <a:pt x="102965" y="232124"/>
                        <a:pt x="112871" y="250127"/>
                        <a:pt x="160306" y="250127"/>
                      </a:cubicBezTo>
                      <a:lnTo>
                        <a:pt x="267271" y="250127"/>
                      </a:lnTo>
                      <a:cubicBezTo>
                        <a:pt x="312420" y="250127"/>
                        <a:pt x="325946" y="245650"/>
                        <a:pt x="325946" y="204978"/>
                      </a:cubicBezTo>
                      <a:lnTo>
                        <a:pt x="426149" y="204978"/>
                      </a:lnTo>
                      <a:lnTo>
                        <a:pt x="426149" y="235649"/>
                      </a:lnTo>
                      <a:cubicBezTo>
                        <a:pt x="426149" y="290703"/>
                        <a:pt x="406337" y="334042"/>
                        <a:pt x="305657" y="334042"/>
                      </a:cubicBezTo>
                      <a:lnTo>
                        <a:pt x="144113" y="334042"/>
                      </a:lnTo>
                      <a:cubicBezTo>
                        <a:pt x="53912" y="334042"/>
                        <a:pt x="191" y="311468"/>
                        <a:pt x="191" y="215837"/>
                      </a:cubicBezTo>
                      <a:lnTo>
                        <a:pt x="191" y="11839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377" name="Graphic 660">
                  <a:extLst>
                    <a:ext uri="{FF2B5EF4-FFF2-40B4-BE49-F238E27FC236}">
                      <a16:creationId xmlns:a16="http://schemas.microsoft.com/office/drawing/2014/main" id="{17DD1C38-760C-43E2-9F10-10CCFA03A3B1}"/>
                    </a:ext>
                  </a:extLst>
                </p:cNvPr>
                <p:cNvGrpSpPr/>
                <p:nvPr/>
              </p:nvGrpSpPr>
              <p:grpSpPr>
                <a:xfrm>
                  <a:off x="3557001" y="6617100"/>
                  <a:ext cx="2075688" cy="102488"/>
                  <a:chOff x="3557001" y="6617100"/>
                  <a:chExt cx="2075688" cy="102488"/>
                </a:xfrm>
                <a:solidFill>
                  <a:srgbClr val="A1ABB2"/>
                </a:solidFill>
              </p:grpSpPr>
              <p:sp>
                <p:nvSpPr>
                  <p:cNvPr id="378" name="Freeform: Shape 377">
                    <a:extLst>
                      <a:ext uri="{FF2B5EF4-FFF2-40B4-BE49-F238E27FC236}">
                        <a16:creationId xmlns:a16="http://schemas.microsoft.com/office/drawing/2014/main" id="{D1777062-59F0-477C-B44D-D239FE7A1906}"/>
                      </a:ext>
                    </a:extLst>
                  </p:cNvPr>
                  <p:cNvSpPr/>
                  <p:nvPr/>
                </p:nvSpPr>
                <p:spPr>
                  <a:xfrm>
                    <a:off x="3557001" y="6618147"/>
                    <a:ext cx="180784" cy="100012"/>
                  </a:xfrm>
                  <a:custGeom>
                    <a:avLst/>
                    <a:gdLst>
                      <a:gd name="connsiteX0" fmla="*/ 0 w 180784"/>
                      <a:gd name="connsiteY0" fmla="*/ 0 h 100012"/>
                      <a:gd name="connsiteX1" fmla="*/ 13145 w 180784"/>
                      <a:gd name="connsiteY1" fmla="*/ 0 h 100012"/>
                      <a:gd name="connsiteX2" fmla="*/ 47816 w 180784"/>
                      <a:gd name="connsiteY2" fmla="*/ 87440 h 100012"/>
                      <a:gd name="connsiteX3" fmla="*/ 81820 w 180784"/>
                      <a:gd name="connsiteY3" fmla="*/ 0 h 100012"/>
                      <a:gd name="connsiteX4" fmla="*/ 99060 w 180784"/>
                      <a:gd name="connsiteY4" fmla="*/ 0 h 100012"/>
                      <a:gd name="connsiteX5" fmla="*/ 132588 w 180784"/>
                      <a:gd name="connsiteY5" fmla="*/ 87820 h 100012"/>
                      <a:gd name="connsiteX6" fmla="*/ 167640 w 180784"/>
                      <a:gd name="connsiteY6" fmla="*/ 0 h 100012"/>
                      <a:gd name="connsiteX7" fmla="*/ 180785 w 180784"/>
                      <a:gd name="connsiteY7" fmla="*/ 0 h 100012"/>
                      <a:gd name="connsiteX8" fmla="*/ 141351 w 180784"/>
                      <a:gd name="connsiteY8" fmla="*/ 100013 h 100012"/>
                      <a:gd name="connsiteX9" fmla="*/ 124111 w 180784"/>
                      <a:gd name="connsiteY9" fmla="*/ 100013 h 100012"/>
                      <a:gd name="connsiteX10" fmla="*/ 90392 w 180784"/>
                      <a:gd name="connsiteY10" fmla="*/ 12192 h 100012"/>
                      <a:gd name="connsiteX11" fmla="*/ 56674 w 180784"/>
                      <a:gd name="connsiteY11" fmla="*/ 100013 h 100012"/>
                      <a:gd name="connsiteX12" fmla="*/ 39434 w 180784"/>
                      <a:gd name="connsiteY12" fmla="*/ 100013 h 100012"/>
                      <a:gd name="connsiteX13" fmla="*/ 0 w 180784"/>
                      <a:gd name="connsiteY13"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784" h="100012">
                        <a:moveTo>
                          <a:pt x="0" y="0"/>
                        </a:moveTo>
                        <a:lnTo>
                          <a:pt x="13145" y="0"/>
                        </a:lnTo>
                        <a:lnTo>
                          <a:pt x="47816" y="87440"/>
                        </a:lnTo>
                        <a:lnTo>
                          <a:pt x="81820" y="0"/>
                        </a:lnTo>
                        <a:lnTo>
                          <a:pt x="99060" y="0"/>
                        </a:lnTo>
                        <a:lnTo>
                          <a:pt x="132588" y="87820"/>
                        </a:lnTo>
                        <a:lnTo>
                          <a:pt x="167640" y="0"/>
                        </a:lnTo>
                        <a:lnTo>
                          <a:pt x="180785" y="0"/>
                        </a:lnTo>
                        <a:lnTo>
                          <a:pt x="141351" y="100013"/>
                        </a:lnTo>
                        <a:lnTo>
                          <a:pt x="124111" y="100013"/>
                        </a:lnTo>
                        <a:lnTo>
                          <a:pt x="90392" y="12192"/>
                        </a:lnTo>
                        <a:lnTo>
                          <a:pt x="56674" y="100013"/>
                        </a:lnTo>
                        <a:lnTo>
                          <a:pt x="39434"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9" name="Freeform: Shape 378">
                    <a:extLst>
                      <a:ext uri="{FF2B5EF4-FFF2-40B4-BE49-F238E27FC236}">
                        <a16:creationId xmlns:a16="http://schemas.microsoft.com/office/drawing/2014/main" id="{B59DFDDE-1D76-4EB0-9B3E-79B3182748D9}"/>
                      </a:ext>
                    </a:extLst>
                  </p:cNvPr>
                  <p:cNvSpPr/>
                  <p:nvPr/>
                </p:nvSpPr>
                <p:spPr>
                  <a:xfrm>
                    <a:off x="3765789"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0" name="Freeform: Shape 379">
                    <a:extLst>
                      <a:ext uri="{FF2B5EF4-FFF2-40B4-BE49-F238E27FC236}">
                        <a16:creationId xmlns:a16="http://schemas.microsoft.com/office/drawing/2014/main" id="{2549D00E-E0D3-43B2-83E7-AF7A290349C8}"/>
                      </a:ext>
                    </a:extLst>
                  </p:cNvPr>
                  <p:cNvSpPr/>
                  <p:nvPr/>
                </p:nvSpPr>
                <p:spPr>
                  <a:xfrm>
                    <a:off x="3818748" y="6618147"/>
                    <a:ext cx="112490" cy="100012"/>
                  </a:xfrm>
                  <a:custGeom>
                    <a:avLst/>
                    <a:gdLst>
                      <a:gd name="connsiteX0" fmla="*/ 0 w 112490"/>
                      <a:gd name="connsiteY0" fmla="*/ 0 h 100012"/>
                      <a:gd name="connsiteX1" fmla="*/ 79343 w 112490"/>
                      <a:gd name="connsiteY1" fmla="*/ 0 h 100012"/>
                      <a:gd name="connsiteX2" fmla="*/ 112490 w 112490"/>
                      <a:gd name="connsiteY2" fmla="*/ 28289 h 100012"/>
                      <a:gd name="connsiteX3" fmla="*/ 112490 w 112490"/>
                      <a:gd name="connsiteY3" fmla="*/ 36481 h 100012"/>
                      <a:gd name="connsiteX4" fmla="*/ 94298 w 112490"/>
                      <a:gd name="connsiteY4" fmla="*/ 55435 h 100012"/>
                      <a:gd name="connsiteX5" fmla="*/ 94298 w 112490"/>
                      <a:gd name="connsiteY5" fmla="*/ 55721 h 100012"/>
                      <a:gd name="connsiteX6" fmla="*/ 111252 w 112490"/>
                      <a:gd name="connsiteY6" fmla="*/ 74486 h 100012"/>
                      <a:gd name="connsiteX7" fmla="*/ 111252 w 112490"/>
                      <a:gd name="connsiteY7" fmla="*/ 100013 h 100012"/>
                      <a:gd name="connsiteX8" fmla="*/ 98679 w 112490"/>
                      <a:gd name="connsiteY8" fmla="*/ 100013 h 100012"/>
                      <a:gd name="connsiteX9" fmla="*/ 98679 w 112490"/>
                      <a:gd name="connsiteY9" fmla="*/ 78010 h 100012"/>
                      <a:gd name="connsiteX10" fmla="*/ 78962 w 112490"/>
                      <a:gd name="connsiteY10" fmla="*/ 60484 h 100012"/>
                      <a:gd name="connsiteX11" fmla="*/ 13430 w 112490"/>
                      <a:gd name="connsiteY11" fmla="*/ 60484 h 100012"/>
                      <a:gd name="connsiteX12" fmla="*/ 13430 w 112490"/>
                      <a:gd name="connsiteY12" fmla="*/ 100013 h 100012"/>
                      <a:gd name="connsiteX13" fmla="*/ 0 w 112490"/>
                      <a:gd name="connsiteY13" fmla="*/ 100013 h 100012"/>
                      <a:gd name="connsiteX14" fmla="*/ 0 w 112490"/>
                      <a:gd name="connsiteY14" fmla="*/ 0 h 100012"/>
                      <a:gd name="connsiteX15" fmla="*/ 77819 w 112490"/>
                      <a:gd name="connsiteY15" fmla="*/ 49435 h 100012"/>
                      <a:gd name="connsiteX16" fmla="*/ 99060 w 112490"/>
                      <a:gd name="connsiteY16" fmla="*/ 34957 h 100012"/>
                      <a:gd name="connsiteX17" fmla="*/ 99060 w 112490"/>
                      <a:gd name="connsiteY17" fmla="*/ 25813 h 100012"/>
                      <a:gd name="connsiteX18" fmla="*/ 74486 w 112490"/>
                      <a:gd name="connsiteY18" fmla="*/ 11049 h 100012"/>
                      <a:gd name="connsiteX19" fmla="*/ 13335 w 112490"/>
                      <a:gd name="connsiteY19" fmla="*/ 11049 h 100012"/>
                      <a:gd name="connsiteX20" fmla="*/ 13335 w 112490"/>
                      <a:gd name="connsiteY20" fmla="*/ 49435 h 100012"/>
                      <a:gd name="connsiteX21" fmla="*/ 77724 w 112490"/>
                      <a:gd name="connsiteY21" fmla="*/ 49435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490" h="100012">
                        <a:moveTo>
                          <a:pt x="0" y="0"/>
                        </a:moveTo>
                        <a:lnTo>
                          <a:pt x="79343" y="0"/>
                        </a:lnTo>
                        <a:cubicBezTo>
                          <a:pt x="108014" y="0"/>
                          <a:pt x="112490" y="9525"/>
                          <a:pt x="112490" y="28289"/>
                        </a:cubicBezTo>
                        <a:lnTo>
                          <a:pt x="112490" y="36481"/>
                        </a:lnTo>
                        <a:cubicBezTo>
                          <a:pt x="112490" y="50578"/>
                          <a:pt x="104585" y="54388"/>
                          <a:pt x="94298" y="55435"/>
                        </a:cubicBezTo>
                        <a:lnTo>
                          <a:pt x="94298" y="55721"/>
                        </a:lnTo>
                        <a:cubicBezTo>
                          <a:pt x="108014" y="58198"/>
                          <a:pt x="111252" y="65437"/>
                          <a:pt x="111252" y="74486"/>
                        </a:cubicBezTo>
                        <a:lnTo>
                          <a:pt x="111252" y="100013"/>
                        </a:lnTo>
                        <a:lnTo>
                          <a:pt x="98679" y="100013"/>
                        </a:lnTo>
                        <a:lnTo>
                          <a:pt x="98679" y="78010"/>
                        </a:lnTo>
                        <a:cubicBezTo>
                          <a:pt x="98679" y="62389"/>
                          <a:pt x="91154" y="60484"/>
                          <a:pt x="78962" y="60484"/>
                        </a:cubicBezTo>
                        <a:lnTo>
                          <a:pt x="13430" y="60484"/>
                        </a:lnTo>
                        <a:lnTo>
                          <a:pt x="13430" y="100013"/>
                        </a:lnTo>
                        <a:lnTo>
                          <a:pt x="0" y="100013"/>
                        </a:lnTo>
                        <a:lnTo>
                          <a:pt x="0" y="0"/>
                        </a:lnTo>
                        <a:close/>
                        <a:moveTo>
                          <a:pt x="77819" y="49435"/>
                        </a:moveTo>
                        <a:cubicBezTo>
                          <a:pt x="92773" y="49435"/>
                          <a:pt x="99060" y="45434"/>
                          <a:pt x="99060" y="34957"/>
                        </a:cubicBezTo>
                        <a:lnTo>
                          <a:pt x="99060" y="25813"/>
                        </a:lnTo>
                        <a:cubicBezTo>
                          <a:pt x="99060" y="14668"/>
                          <a:pt x="94298" y="11049"/>
                          <a:pt x="74486" y="11049"/>
                        </a:cubicBezTo>
                        <a:lnTo>
                          <a:pt x="13335" y="11049"/>
                        </a:lnTo>
                        <a:lnTo>
                          <a:pt x="13335" y="49435"/>
                        </a:lnTo>
                        <a:lnTo>
                          <a:pt x="77724" y="494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1" name="Freeform: Shape 380">
                    <a:extLst>
                      <a:ext uri="{FF2B5EF4-FFF2-40B4-BE49-F238E27FC236}">
                        <a16:creationId xmlns:a16="http://schemas.microsoft.com/office/drawing/2014/main" id="{4193B259-AA72-4B24-9B29-2FF5E9177BB9}"/>
                      </a:ext>
                    </a:extLst>
                  </p:cNvPr>
                  <p:cNvSpPr/>
                  <p:nvPr/>
                </p:nvSpPr>
                <p:spPr>
                  <a:xfrm>
                    <a:off x="3968766"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2" name="Freeform: Shape 381">
                    <a:extLst>
                      <a:ext uri="{FF2B5EF4-FFF2-40B4-BE49-F238E27FC236}">
                        <a16:creationId xmlns:a16="http://schemas.microsoft.com/office/drawing/2014/main" id="{097B4670-491F-408D-B37D-7D1603D1DD89}"/>
                      </a:ext>
                    </a:extLst>
                  </p:cNvPr>
                  <p:cNvSpPr/>
                  <p:nvPr/>
                </p:nvSpPr>
                <p:spPr>
                  <a:xfrm>
                    <a:off x="4021821" y="6618147"/>
                    <a:ext cx="124301" cy="100012"/>
                  </a:xfrm>
                  <a:custGeom>
                    <a:avLst/>
                    <a:gdLst>
                      <a:gd name="connsiteX0" fmla="*/ 0 w 124301"/>
                      <a:gd name="connsiteY0" fmla="*/ 0 h 100012"/>
                      <a:gd name="connsiteX1" fmla="*/ 20002 w 124301"/>
                      <a:gd name="connsiteY1" fmla="*/ 0 h 100012"/>
                      <a:gd name="connsiteX2" fmla="*/ 110871 w 124301"/>
                      <a:gd name="connsiteY2" fmla="*/ 87820 h 100012"/>
                      <a:gd name="connsiteX3" fmla="*/ 110871 w 124301"/>
                      <a:gd name="connsiteY3" fmla="*/ 0 h 100012"/>
                      <a:gd name="connsiteX4" fmla="*/ 124301 w 124301"/>
                      <a:gd name="connsiteY4" fmla="*/ 0 h 100012"/>
                      <a:gd name="connsiteX5" fmla="*/ 124301 w 124301"/>
                      <a:gd name="connsiteY5" fmla="*/ 100013 h 100012"/>
                      <a:gd name="connsiteX6" fmla="*/ 104299 w 124301"/>
                      <a:gd name="connsiteY6" fmla="*/ 100013 h 100012"/>
                      <a:gd name="connsiteX7" fmla="*/ 13430 w 124301"/>
                      <a:gd name="connsiteY7" fmla="*/ 12192 h 100012"/>
                      <a:gd name="connsiteX8" fmla="*/ 13430 w 124301"/>
                      <a:gd name="connsiteY8" fmla="*/ 100013 h 100012"/>
                      <a:gd name="connsiteX9" fmla="*/ 0 w 124301"/>
                      <a:gd name="connsiteY9" fmla="*/ 100013 h 100012"/>
                      <a:gd name="connsiteX10" fmla="*/ 0 w 124301"/>
                      <a:gd name="connsiteY10"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1" h="100012">
                        <a:moveTo>
                          <a:pt x="0" y="0"/>
                        </a:moveTo>
                        <a:lnTo>
                          <a:pt x="20002" y="0"/>
                        </a:lnTo>
                        <a:lnTo>
                          <a:pt x="110871" y="87820"/>
                        </a:lnTo>
                        <a:lnTo>
                          <a:pt x="110871" y="0"/>
                        </a:lnTo>
                        <a:lnTo>
                          <a:pt x="124301" y="0"/>
                        </a:lnTo>
                        <a:lnTo>
                          <a:pt x="124301" y="100013"/>
                        </a:lnTo>
                        <a:lnTo>
                          <a:pt x="104299" y="100013"/>
                        </a:lnTo>
                        <a:lnTo>
                          <a:pt x="13430" y="12192"/>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3" name="Freeform: Shape 382">
                    <a:extLst>
                      <a:ext uri="{FF2B5EF4-FFF2-40B4-BE49-F238E27FC236}">
                        <a16:creationId xmlns:a16="http://schemas.microsoft.com/office/drawing/2014/main" id="{3299EC10-1AD3-4CBA-837B-88E300350C0B}"/>
                      </a:ext>
                    </a:extLst>
                  </p:cNvPr>
                  <p:cNvSpPr/>
                  <p:nvPr/>
                </p:nvSpPr>
                <p:spPr>
                  <a:xfrm>
                    <a:off x="4182603" y="6617100"/>
                    <a:ext cx="124396" cy="102203"/>
                  </a:xfrm>
                  <a:custGeom>
                    <a:avLst/>
                    <a:gdLst>
                      <a:gd name="connsiteX0" fmla="*/ 124206 w 124396"/>
                      <a:gd name="connsiteY0" fmla="*/ 65342 h 102203"/>
                      <a:gd name="connsiteX1" fmla="*/ 90678 w 124396"/>
                      <a:gd name="connsiteY1" fmla="*/ 102203 h 102203"/>
                      <a:gd name="connsiteX2" fmla="*/ 35338 w 124396"/>
                      <a:gd name="connsiteY2" fmla="*/ 102203 h 102203"/>
                      <a:gd name="connsiteX3" fmla="*/ 0 w 124396"/>
                      <a:gd name="connsiteY3" fmla="*/ 64770 h 102203"/>
                      <a:gd name="connsiteX4" fmla="*/ 0 w 124396"/>
                      <a:gd name="connsiteY4" fmla="*/ 37433 h 102203"/>
                      <a:gd name="connsiteX5" fmla="*/ 35338 w 124396"/>
                      <a:gd name="connsiteY5" fmla="*/ 0 h 102203"/>
                      <a:gd name="connsiteX6" fmla="*/ 86011 w 124396"/>
                      <a:gd name="connsiteY6" fmla="*/ 0 h 102203"/>
                      <a:gd name="connsiteX7" fmla="*/ 122872 w 124396"/>
                      <a:gd name="connsiteY7" fmla="*/ 27527 h 102203"/>
                      <a:gd name="connsiteX8" fmla="*/ 122872 w 124396"/>
                      <a:gd name="connsiteY8" fmla="*/ 31147 h 102203"/>
                      <a:gd name="connsiteX9" fmla="*/ 110300 w 124396"/>
                      <a:gd name="connsiteY9" fmla="*/ 31147 h 102203"/>
                      <a:gd name="connsiteX10" fmla="*/ 71533 w 124396"/>
                      <a:gd name="connsiteY10" fmla="*/ 11144 h 102203"/>
                      <a:gd name="connsiteX11" fmla="*/ 36767 w 124396"/>
                      <a:gd name="connsiteY11" fmla="*/ 11144 h 102203"/>
                      <a:gd name="connsiteX12" fmla="*/ 13430 w 124396"/>
                      <a:gd name="connsiteY12" fmla="*/ 32385 h 102203"/>
                      <a:gd name="connsiteX13" fmla="*/ 13430 w 124396"/>
                      <a:gd name="connsiteY13" fmla="*/ 70009 h 102203"/>
                      <a:gd name="connsiteX14" fmla="*/ 36767 w 124396"/>
                      <a:gd name="connsiteY14" fmla="*/ 91345 h 102203"/>
                      <a:gd name="connsiteX15" fmla="*/ 89249 w 124396"/>
                      <a:gd name="connsiteY15" fmla="*/ 91345 h 102203"/>
                      <a:gd name="connsiteX16" fmla="*/ 110871 w 124396"/>
                      <a:gd name="connsiteY16" fmla="*/ 72866 h 102203"/>
                      <a:gd name="connsiteX17" fmla="*/ 110871 w 124396"/>
                      <a:gd name="connsiteY17" fmla="*/ 62770 h 102203"/>
                      <a:gd name="connsiteX18" fmla="*/ 60103 w 124396"/>
                      <a:gd name="connsiteY18" fmla="*/ 62770 h 102203"/>
                      <a:gd name="connsiteX19" fmla="*/ 60103 w 124396"/>
                      <a:gd name="connsiteY19" fmla="*/ 51721 h 102203"/>
                      <a:gd name="connsiteX20" fmla="*/ 124396 w 124396"/>
                      <a:gd name="connsiteY20" fmla="*/ 51721 h 102203"/>
                      <a:gd name="connsiteX21" fmla="*/ 124396 w 124396"/>
                      <a:gd name="connsiteY21" fmla="*/ 65532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4396" h="102203">
                        <a:moveTo>
                          <a:pt x="124206" y="65342"/>
                        </a:moveTo>
                        <a:cubicBezTo>
                          <a:pt x="124206" y="92583"/>
                          <a:pt x="115443" y="102203"/>
                          <a:pt x="90678" y="102203"/>
                        </a:cubicBezTo>
                        <a:lnTo>
                          <a:pt x="35338" y="102203"/>
                        </a:lnTo>
                        <a:cubicBezTo>
                          <a:pt x="8477" y="102203"/>
                          <a:pt x="0" y="90106"/>
                          <a:pt x="0" y="64770"/>
                        </a:cubicBezTo>
                        <a:lnTo>
                          <a:pt x="0" y="37433"/>
                        </a:lnTo>
                        <a:cubicBezTo>
                          <a:pt x="0" y="12192"/>
                          <a:pt x="8477" y="0"/>
                          <a:pt x="35338" y="0"/>
                        </a:cubicBezTo>
                        <a:lnTo>
                          <a:pt x="86011" y="0"/>
                        </a:lnTo>
                        <a:cubicBezTo>
                          <a:pt x="103822" y="0"/>
                          <a:pt x="122872" y="4381"/>
                          <a:pt x="122872" y="27527"/>
                        </a:cubicBezTo>
                        <a:lnTo>
                          <a:pt x="122872" y="31147"/>
                        </a:lnTo>
                        <a:lnTo>
                          <a:pt x="110300" y="31147"/>
                        </a:lnTo>
                        <a:cubicBezTo>
                          <a:pt x="110300" y="12478"/>
                          <a:pt x="104680" y="11144"/>
                          <a:pt x="71533" y="11144"/>
                        </a:cubicBezTo>
                        <a:lnTo>
                          <a:pt x="36767" y="11144"/>
                        </a:lnTo>
                        <a:cubicBezTo>
                          <a:pt x="23908" y="11144"/>
                          <a:pt x="13430" y="15049"/>
                          <a:pt x="13430" y="32385"/>
                        </a:cubicBezTo>
                        <a:lnTo>
                          <a:pt x="13430" y="70009"/>
                        </a:lnTo>
                        <a:cubicBezTo>
                          <a:pt x="13430" y="87440"/>
                          <a:pt x="23813" y="91345"/>
                          <a:pt x="36767" y="91345"/>
                        </a:cubicBezTo>
                        <a:lnTo>
                          <a:pt x="89249" y="91345"/>
                        </a:lnTo>
                        <a:cubicBezTo>
                          <a:pt x="102679" y="91345"/>
                          <a:pt x="110871" y="86677"/>
                          <a:pt x="110871" y="72866"/>
                        </a:cubicBezTo>
                        <a:lnTo>
                          <a:pt x="110871" y="62770"/>
                        </a:lnTo>
                        <a:lnTo>
                          <a:pt x="60103" y="62770"/>
                        </a:lnTo>
                        <a:lnTo>
                          <a:pt x="60103" y="51721"/>
                        </a:lnTo>
                        <a:lnTo>
                          <a:pt x="124396" y="51721"/>
                        </a:lnTo>
                        <a:lnTo>
                          <a:pt x="124396" y="6553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4" name="Freeform: Shape 383">
                    <a:extLst>
                      <a:ext uri="{FF2B5EF4-FFF2-40B4-BE49-F238E27FC236}">
                        <a16:creationId xmlns:a16="http://schemas.microsoft.com/office/drawing/2014/main" id="{FCA10B23-6403-47BE-BCF0-185FD16CFB27}"/>
                      </a:ext>
                    </a:extLst>
                  </p:cNvPr>
                  <p:cNvSpPr/>
                  <p:nvPr/>
                </p:nvSpPr>
                <p:spPr>
                  <a:xfrm>
                    <a:off x="4421204" y="6617290"/>
                    <a:ext cx="114109" cy="102298"/>
                  </a:xfrm>
                  <a:custGeom>
                    <a:avLst/>
                    <a:gdLst>
                      <a:gd name="connsiteX0" fmla="*/ 95 w 114109"/>
                      <a:gd name="connsiteY0" fmla="*/ 69437 h 102298"/>
                      <a:gd name="connsiteX1" fmla="*/ 12668 w 114109"/>
                      <a:gd name="connsiteY1" fmla="*/ 69437 h 102298"/>
                      <a:gd name="connsiteX2" fmla="*/ 12668 w 114109"/>
                      <a:gd name="connsiteY2" fmla="*/ 76486 h 102298"/>
                      <a:gd name="connsiteX3" fmla="*/ 34576 w 114109"/>
                      <a:gd name="connsiteY3" fmla="*/ 91059 h 102298"/>
                      <a:gd name="connsiteX4" fmla="*/ 76200 w 114109"/>
                      <a:gd name="connsiteY4" fmla="*/ 91059 h 102298"/>
                      <a:gd name="connsiteX5" fmla="*/ 101441 w 114109"/>
                      <a:gd name="connsiteY5" fmla="*/ 72580 h 102298"/>
                      <a:gd name="connsiteX6" fmla="*/ 79819 w 114109"/>
                      <a:gd name="connsiteY6" fmla="*/ 56864 h 102298"/>
                      <a:gd name="connsiteX7" fmla="*/ 54388 w 114109"/>
                      <a:gd name="connsiteY7" fmla="*/ 56864 h 102298"/>
                      <a:gd name="connsiteX8" fmla="*/ 0 w 114109"/>
                      <a:gd name="connsiteY8" fmla="*/ 27908 h 102298"/>
                      <a:gd name="connsiteX9" fmla="*/ 41053 w 114109"/>
                      <a:gd name="connsiteY9" fmla="*/ 0 h 102298"/>
                      <a:gd name="connsiteX10" fmla="*/ 70009 w 114109"/>
                      <a:gd name="connsiteY10" fmla="*/ 0 h 102298"/>
                      <a:gd name="connsiteX11" fmla="*/ 111633 w 114109"/>
                      <a:gd name="connsiteY11" fmla="*/ 26384 h 102298"/>
                      <a:gd name="connsiteX12" fmla="*/ 111633 w 114109"/>
                      <a:gd name="connsiteY12" fmla="*/ 29908 h 102298"/>
                      <a:gd name="connsiteX13" fmla="*/ 99060 w 114109"/>
                      <a:gd name="connsiteY13" fmla="*/ 29908 h 102298"/>
                      <a:gd name="connsiteX14" fmla="*/ 61913 w 114109"/>
                      <a:gd name="connsiteY14" fmla="*/ 11144 h 102298"/>
                      <a:gd name="connsiteX15" fmla="*/ 47625 w 114109"/>
                      <a:gd name="connsiteY15" fmla="*/ 11144 h 102298"/>
                      <a:gd name="connsiteX16" fmla="*/ 12573 w 114109"/>
                      <a:gd name="connsiteY16" fmla="*/ 28956 h 102298"/>
                      <a:gd name="connsiteX17" fmla="*/ 37243 w 114109"/>
                      <a:gd name="connsiteY17" fmla="*/ 44863 h 102298"/>
                      <a:gd name="connsiteX18" fmla="*/ 76962 w 114109"/>
                      <a:gd name="connsiteY18" fmla="*/ 44863 h 102298"/>
                      <a:gd name="connsiteX19" fmla="*/ 114109 w 114109"/>
                      <a:gd name="connsiteY19" fmla="*/ 69437 h 102298"/>
                      <a:gd name="connsiteX20" fmla="*/ 114109 w 114109"/>
                      <a:gd name="connsiteY20" fmla="*/ 75914 h 102298"/>
                      <a:gd name="connsiteX21" fmla="*/ 74200 w 114109"/>
                      <a:gd name="connsiteY21" fmla="*/ 102298 h 102298"/>
                      <a:gd name="connsiteX22" fmla="*/ 36957 w 114109"/>
                      <a:gd name="connsiteY22" fmla="*/ 102298 h 102298"/>
                      <a:gd name="connsiteX23" fmla="*/ 95 w 114109"/>
                      <a:gd name="connsiteY23" fmla="*/ 77057 h 102298"/>
                      <a:gd name="connsiteX24" fmla="*/ 95 w 114109"/>
                      <a:gd name="connsiteY24" fmla="*/ 69723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109" h="102298">
                        <a:moveTo>
                          <a:pt x="95" y="69437"/>
                        </a:moveTo>
                        <a:lnTo>
                          <a:pt x="12668" y="69437"/>
                        </a:lnTo>
                        <a:lnTo>
                          <a:pt x="12668" y="76486"/>
                        </a:lnTo>
                        <a:cubicBezTo>
                          <a:pt x="12668" y="86296"/>
                          <a:pt x="17907" y="91059"/>
                          <a:pt x="34576" y="91059"/>
                        </a:cubicBezTo>
                        <a:lnTo>
                          <a:pt x="76200" y="91059"/>
                        </a:lnTo>
                        <a:cubicBezTo>
                          <a:pt x="95631" y="91059"/>
                          <a:pt x="101441" y="86868"/>
                          <a:pt x="101441" y="72580"/>
                        </a:cubicBezTo>
                        <a:cubicBezTo>
                          <a:pt x="101441" y="60007"/>
                          <a:pt x="96488" y="56864"/>
                          <a:pt x="79819" y="56864"/>
                        </a:cubicBezTo>
                        <a:lnTo>
                          <a:pt x="54388" y="56864"/>
                        </a:lnTo>
                        <a:cubicBezTo>
                          <a:pt x="13430" y="56864"/>
                          <a:pt x="0" y="54388"/>
                          <a:pt x="0" y="27908"/>
                        </a:cubicBezTo>
                        <a:cubicBezTo>
                          <a:pt x="0" y="5143"/>
                          <a:pt x="13430" y="0"/>
                          <a:pt x="41053" y="0"/>
                        </a:cubicBezTo>
                        <a:lnTo>
                          <a:pt x="70009" y="0"/>
                        </a:lnTo>
                        <a:cubicBezTo>
                          <a:pt x="103251" y="0"/>
                          <a:pt x="111633" y="8572"/>
                          <a:pt x="111633" y="26384"/>
                        </a:cubicBezTo>
                        <a:lnTo>
                          <a:pt x="111633" y="29908"/>
                        </a:lnTo>
                        <a:lnTo>
                          <a:pt x="99060" y="29908"/>
                        </a:lnTo>
                        <a:cubicBezTo>
                          <a:pt x="98774" y="14002"/>
                          <a:pt x="97155" y="11144"/>
                          <a:pt x="61913" y="11144"/>
                        </a:cubicBezTo>
                        <a:lnTo>
                          <a:pt x="47625" y="11144"/>
                        </a:lnTo>
                        <a:cubicBezTo>
                          <a:pt x="21717" y="11144"/>
                          <a:pt x="12573" y="12478"/>
                          <a:pt x="12573" y="28956"/>
                        </a:cubicBezTo>
                        <a:cubicBezTo>
                          <a:pt x="12573" y="40862"/>
                          <a:pt x="16288" y="44863"/>
                          <a:pt x="37243" y="44863"/>
                        </a:cubicBezTo>
                        <a:lnTo>
                          <a:pt x="76962" y="44863"/>
                        </a:lnTo>
                        <a:cubicBezTo>
                          <a:pt x="103156" y="44863"/>
                          <a:pt x="114109" y="52483"/>
                          <a:pt x="114109" y="69437"/>
                        </a:cubicBezTo>
                        <a:lnTo>
                          <a:pt x="114109" y="75914"/>
                        </a:lnTo>
                        <a:cubicBezTo>
                          <a:pt x="114109" y="100489"/>
                          <a:pt x="94107" y="102298"/>
                          <a:pt x="74200" y="102298"/>
                        </a:cubicBezTo>
                        <a:lnTo>
                          <a:pt x="36957" y="102298"/>
                        </a:lnTo>
                        <a:cubicBezTo>
                          <a:pt x="17335" y="102298"/>
                          <a:pt x="95" y="98869"/>
                          <a:pt x="95" y="77057"/>
                        </a:cubicBezTo>
                        <a:lnTo>
                          <a:pt x="95" y="6972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5" name="Freeform: Shape 384">
                    <a:extLst>
                      <a:ext uri="{FF2B5EF4-FFF2-40B4-BE49-F238E27FC236}">
                        <a16:creationId xmlns:a16="http://schemas.microsoft.com/office/drawing/2014/main" id="{CDA40687-1B6E-4FA0-92F4-08CA020BBB8A}"/>
                      </a:ext>
                    </a:extLst>
                  </p:cNvPr>
                  <p:cNvSpPr/>
                  <p:nvPr/>
                </p:nvSpPr>
                <p:spPr>
                  <a:xfrm>
                    <a:off x="4569985" y="6617100"/>
                    <a:ext cx="127825" cy="102203"/>
                  </a:xfrm>
                  <a:custGeom>
                    <a:avLst/>
                    <a:gdLst>
                      <a:gd name="connsiteX0" fmla="*/ 0 w 127825"/>
                      <a:gd name="connsiteY0" fmla="*/ 37433 h 102203"/>
                      <a:gd name="connsiteX1" fmla="*/ 35338 w 127825"/>
                      <a:gd name="connsiteY1" fmla="*/ 0 h 102203"/>
                      <a:gd name="connsiteX2" fmla="*/ 92488 w 127825"/>
                      <a:gd name="connsiteY2" fmla="*/ 0 h 102203"/>
                      <a:gd name="connsiteX3" fmla="*/ 127825 w 127825"/>
                      <a:gd name="connsiteY3" fmla="*/ 37433 h 102203"/>
                      <a:gd name="connsiteX4" fmla="*/ 127825 w 127825"/>
                      <a:gd name="connsiteY4" fmla="*/ 64770 h 102203"/>
                      <a:gd name="connsiteX5" fmla="*/ 92488 w 127825"/>
                      <a:gd name="connsiteY5" fmla="*/ 102203 h 102203"/>
                      <a:gd name="connsiteX6" fmla="*/ 35338 w 127825"/>
                      <a:gd name="connsiteY6" fmla="*/ 102203 h 102203"/>
                      <a:gd name="connsiteX7" fmla="*/ 0 w 127825"/>
                      <a:gd name="connsiteY7" fmla="*/ 64770 h 102203"/>
                      <a:gd name="connsiteX8" fmla="*/ 0 w 127825"/>
                      <a:gd name="connsiteY8" fmla="*/ 37433 h 102203"/>
                      <a:gd name="connsiteX9" fmla="*/ 114395 w 127825"/>
                      <a:gd name="connsiteY9" fmla="*/ 32290 h 102203"/>
                      <a:gd name="connsiteX10" fmla="*/ 91059 w 127825"/>
                      <a:gd name="connsiteY10" fmla="*/ 11049 h 102203"/>
                      <a:gd name="connsiteX11" fmla="*/ 36671 w 127825"/>
                      <a:gd name="connsiteY11" fmla="*/ 11049 h 102203"/>
                      <a:gd name="connsiteX12" fmla="*/ 13335 w 127825"/>
                      <a:gd name="connsiteY12" fmla="*/ 32290 h 102203"/>
                      <a:gd name="connsiteX13" fmla="*/ 13335 w 127825"/>
                      <a:gd name="connsiteY13" fmla="*/ 69914 h 102203"/>
                      <a:gd name="connsiteX14" fmla="*/ 36671 w 127825"/>
                      <a:gd name="connsiteY14" fmla="*/ 91249 h 102203"/>
                      <a:gd name="connsiteX15" fmla="*/ 91059 w 127825"/>
                      <a:gd name="connsiteY15" fmla="*/ 91249 h 102203"/>
                      <a:gd name="connsiteX16" fmla="*/ 114395 w 127825"/>
                      <a:gd name="connsiteY16" fmla="*/ 69914 h 102203"/>
                      <a:gd name="connsiteX17" fmla="*/ 114395 w 127825"/>
                      <a:gd name="connsiteY17" fmla="*/ 32290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825" h="102203">
                        <a:moveTo>
                          <a:pt x="0" y="37433"/>
                        </a:moveTo>
                        <a:cubicBezTo>
                          <a:pt x="0" y="12192"/>
                          <a:pt x="8477" y="0"/>
                          <a:pt x="35338" y="0"/>
                        </a:cubicBezTo>
                        <a:lnTo>
                          <a:pt x="92488" y="0"/>
                        </a:lnTo>
                        <a:cubicBezTo>
                          <a:pt x="119348" y="0"/>
                          <a:pt x="127825" y="12192"/>
                          <a:pt x="127825" y="37433"/>
                        </a:cubicBezTo>
                        <a:lnTo>
                          <a:pt x="127825" y="64770"/>
                        </a:lnTo>
                        <a:cubicBezTo>
                          <a:pt x="127825" y="90106"/>
                          <a:pt x="119348" y="102203"/>
                          <a:pt x="92488" y="102203"/>
                        </a:cubicBezTo>
                        <a:lnTo>
                          <a:pt x="35338" y="102203"/>
                        </a:lnTo>
                        <a:cubicBezTo>
                          <a:pt x="8477" y="102203"/>
                          <a:pt x="0" y="90106"/>
                          <a:pt x="0" y="64770"/>
                        </a:cubicBezTo>
                        <a:lnTo>
                          <a:pt x="0" y="37433"/>
                        </a:lnTo>
                        <a:close/>
                        <a:moveTo>
                          <a:pt x="114395" y="32290"/>
                        </a:moveTo>
                        <a:cubicBezTo>
                          <a:pt x="114395" y="14859"/>
                          <a:pt x="104013" y="11049"/>
                          <a:pt x="91059" y="11049"/>
                        </a:cubicBezTo>
                        <a:lnTo>
                          <a:pt x="36671" y="11049"/>
                        </a:lnTo>
                        <a:cubicBezTo>
                          <a:pt x="23813" y="11049"/>
                          <a:pt x="13335" y="14954"/>
                          <a:pt x="13335" y="32290"/>
                        </a:cubicBezTo>
                        <a:lnTo>
                          <a:pt x="13335" y="69914"/>
                        </a:lnTo>
                        <a:cubicBezTo>
                          <a:pt x="13335" y="87344"/>
                          <a:pt x="23717" y="91249"/>
                          <a:pt x="36671" y="91249"/>
                        </a:cubicBezTo>
                        <a:lnTo>
                          <a:pt x="91059" y="91249"/>
                        </a:lnTo>
                        <a:cubicBezTo>
                          <a:pt x="103918" y="91249"/>
                          <a:pt x="114395" y="87344"/>
                          <a:pt x="114395" y="69914"/>
                        </a:cubicBezTo>
                        <a:lnTo>
                          <a:pt x="114395" y="322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6" name="Freeform: Shape 385">
                    <a:extLst>
                      <a:ext uri="{FF2B5EF4-FFF2-40B4-BE49-F238E27FC236}">
                        <a16:creationId xmlns:a16="http://schemas.microsoft.com/office/drawing/2014/main" id="{B6D9A623-D488-4D1A-A276-70418F9AA50A}"/>
                      </a:ext>
                    </a:extLst>
                  </p:cNvPr>
                  <p:cNvSpPr/>
                  <p:nvPr/>
                </p:nvSpPr>
                <p:spPr>
                  <a:xfrm>
                    <a:off x="4735148" y="6618147"/>
                    <a:ext cx="90392" cy="100012"/>
                  </a:xfrm>
                  <a:custGeom>
                    <a:avLst/>
                    <a:gdLst>
                      <a:gd name="connsiteX0" fmla="*/ 0 w 90392"/>
                      <a:gd name="connsiteY0" fmla="*/ 0 h 100012"/>
                      <a:gd name="connsiteX1" fmla="*/ 13430 w 90392"/>
                      <a:gd name="connsiteY1" fmla="*/ 0 h 100012"/>
                      <a:gd name="connsiteX2" fmla="*/ 13430 w 90392"/>
                      <a:gd name="connsiteY2" fmla="*/ 88964 h 100012"/>
                      <a:gd name="connsiteX3" fmla="*/ 90392 w 90392"/>
                      <a:gd name="connsiteY3" fmla="*/ 88964 h 100012"/>
                      <a:gd name="connsiteX4" fmla="*/ 90392 w 90392"/>
                      <a:gd name="connsiteY4" fmla="*/ 100013 h 100012"/>
                      <a:gd name="connsiteX5" fmla="*/ 0 w 90392"/>
                      <a:gd name="connsiteY5" fmla="*/ 100013 h 100012"/>
                      <a:gd name="connsiteX6" fmla="*/ 0 w 90392"/>
                      <a:gd name="connsiteY6"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392" h="100012">
                        <a:moveTo>
                          <a:pt x="0" y="0"/>
                        </a:moveTo>
                        <a:lnTo>
                          <a:pt x="13430" y="0"/>
                        </a:lnTo>
                        <a:lnTo>
                          <a:pt x="13430" y="88964"/>
                        </a:lnTo>
                        <a:lnTo>
                          <a:pt x="90392" y="88964"/>
                        </a:lnTo>
                        <a:lnTo>
                          <a:pt x="90392"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7" name="Freeform: Shape 386">
                    <a:extLst>
                      <a:ext uri="{FF2B5EF4-FFF2-40B4-BE49-F238E27FC236}">
                        <a16:creationId xmlns:a16="http://schemas.microsoft.com/office/drawing/2014/main" id="{3C5570C2-53B1-4320-A508-13B607F7B6D2}"/>
                      </a:ext>
                    </a:extLst>
                  </p:cNvPr>
                  <p:cNvSpPr/>
                  <p:nvPr/>
                </p:nvSpPr>
                <p:spPr>
                  <a:xfrm>
                    <a:off x="4853544" y="6618147"/>
                    <a:ext cx="116490" cy="101060"/>
                  </a:xfrm>
                  <a:custGeom>
                    <a:avLst/>
                    <a:gdLst>
                      <a:gd name="connsiteX0" fmla="*/ 0 w 116490"/>
                      <a:gd name="connsiteY0" fmla="*/ 0 h 101060"/>
                      <a:gd name="connsiteX1" fmla="*/ 13430 w 116490"/>
                      <a:gd name="connsiteY1" fmla="*/ 0 h 101060"/>
                      <a:gd name="connsiteX2" fmla="*/ 13430 w 116490"/>
                      <a:gd name="connsiteY2" fmla="*/ 74771 h 101060"/>
                      <a:gd name="connsiteX3" fmla="*/ 34957 w 116490"/>
                      <a:gd name="connsiteY3" fmla="*/ 90106 h 101060"/>
                      <a:gd name="connsiteX4" fmla="*/ 81534 w 116490"/>
                      <a:gd name="connsiteY4" fmla="*/ 90106 h 101060"/>
                      <a:gd name="connsiteX5" fmla="*/ 103060 w 116490"/>
                      <a:gd name="connsiteY5" fmla="*/ 74771 h 101060"/>
                      <a:gd name="connsiteX6" fmla="*/ 103060 w 116490"/>
                      <a:gd name="connsiteY6" fmla="*/ 0 h 101060"/>
                      <a:gd name="connsiteX7" fmla="*/ 116491 w 116490"/>
                      <a:gd name="connsiteY7" fmla="*/ 0 h 101060"/>
                      <a:gd name="connsiteX8" fmla="*/ 116491 w 116490"/>
                      <a:gd name="connsiteY8" fmla="*/ 74866 h 101060"/>
                      <a:gd name="connsiteX9" fmla="*/ 81153 w 116490"/>
                      <a:gd name="connsiteY9" fmla="*/ 101060 h 101060"/>
                      <a:gd name="connsiteX10" fmla="*/ 35433 w 116490"/>
                      <a:gd name="connsiteY10" fmla="*/ 101060 h 101060"/>
                      <a:gd name="connsiteX11" fmla="*/ 95 w 116490"/>
                      <a:gd name="connsiteY11" fmla="*/ 74866 h 101060"/>
                      <a:gd name="connsiteX12" fmla="*/ 95 w 116490"/>
                      <a:gd name="connsiteY12" fmla="*/ 0 h 10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490" h="101060">
                        <a:moveTo>
                          <a:pt x="0" y="0"/>
                        </a:moveTo>
                        <a:lnTo>
                          <a:pt x="13430" y="0"/>
                        </a:lnTo>
                        <a:lnTo>
                          <a:pt x="13430" y="74771"/>
                        </a:lnTo>
                        <a:cubicBezTo>
                          <a:pt x="13430" y="84391"/>
                          <a:pt x="16669" y="90106"/>
                          <a:pt x="34957" y="90106"/>
                        </a:cubicBezTo>
                        <a:lnTo>
                          <a:pt x="81534" y="90106"/>
                        </a:lnTo>
                        <a:cubicBezTo>
                          <a:pt x="99822" y="90106"/>
                          <a:pt x="103060" y="84391"/>
                          <a:pt x="103060" y="74771"/>
                        </a:cubicBezTo>
                        <a:lnTo>
                          <a:pt x="103060" y="0"/>
                        </a:lnTo>
                        <a:lnTo>
                          <a:pt x="116491" y="0"/>
                        </a:lnTo>
                        <a:lnTo>
                          <a:pt x="116491" y="74866"/>
                        </a:lnTo>
                        <a:cubicBezTo>
                          <a:pt x="116491" y="95155"/>
                          <a:pt x="106394" y="101060"/>
                          <a:pt x="81153" y="101060"/>
                        </a:cubicBezTo>
                        <a:lnTo>
                          <a:pt x="35433" y="101060"/>
                        </a:lnTo>
                        <a:cubicBezTo>
                          <a:pt x="10192" y="101060"/>
                          <a:pt x="95" y="95155"/>
                          <a:pt x="95" y="74866"/>
                        </a:cubicBezTo>
                        <a:lnTo>
                          <a:pt x="95"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8" name="Freeform: Shape 387">
                    <a:extLst>
                      <a:ext uri="{FF2B5EF4-FFF2-40B4-BE49-F238E27FC236}">
                        <a16:creationId xmlns:a16="http://schemas.microsoft.com/office/drawing/2014/main" id="{3D39815E-7EBE-49F4-990D-F65834CA5895}"/>
                      </a:ext>
                    </a:extLst>
                  </p:cNvPr>
                  <p:cNvSpPr/>
                  <p:nvPr/>
                </p:nvSpPr>
                <p:spPr>
                  <a:xfrm>
                    <a:off x="4999086" y="6618147"/>
                    <a:ext cx="113728" cy="100012"/>
                  </a:xfrm>
                  <a:custGeom>
                    <a:avLst/>
                    <a:gdLst>
                      <a:gd name="connsiteX0" fmla="*/ 50101 w 113728"/>
                      <a:gd name="connsiteY0" fmla="*/ 11049 h 100012"/>
                      <a:gd name="connsiteX1" fmla="*/ 0 w 113728"/>
                      <a:gd name="connsiteY1" fmla="*/ 11049 h 100012"/>
                      <a:gd name="connsiteX2" fmla="*/ 0 w 113728"/>
                      <a:gd name="connsiteY2" fmla="*/ 0 h 100012"/>
                      <a:gd name="connsiteX3" fmla="*/ 113729 w 113728"/>
                      <a:gd name="connsiteY3" fmla="*/ 0 h 100012"/>
                      <a:gd name="connsiteX4" fmla="*/ 113729 w 113728"/>
                      <a:gd name="connsiteY4" fmla="*/ 11049 h 100012"/>
                      <a:gd name="connsiteX5" fmla="*/ 63532 w 113728"/>
                      <a:gd name="connsiteY5" fmla="*/ 11049 h 100012"/>
                      <a:gd name="connsiteX6" fmla="*/ 63532 w 113728"/>
                      <a:gd name="connsiteY6" fmla="*/ 100013 h 100012"/>
                      <a:gd name="connsiteX7" fmla="*/ 50101 w 113728"/>
                      <a:gd name="connsiteY7" fmla="*/ 100013 h 100012"/>
                      <a:gd name="connsiteX8" fmla="*/ 50101 w 113728"/>
                      <a:gd name="connsiteY8" fmla="*/ 11049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728" h="100012">
                        <a:moveTo>
                          <a:pt x="50101" y="11049"/>
                        </a:moveTo>
                        <a:lnTo>
                          <a:pt x="0" y="11049"/>
                        </a:lnTo>
                        <a:lnTo>
                          <a:pt x="0" y="0"/>
                        </a:lnTo>
                        <a:lnTo>
                          <a:pt x="113729" y="0"/>
                        </a:lnTo>
                        <a:lnTo>
                          <a:pt x="113729" y="11049"/>
                        </a:lnTo>
                        <a:lnTo>
                          <a:pt x="63532" y="11049"/>
                        </a:lnTo>
                        <a:lnTo>
                          <a:pt x="63532" y="100013"/>
                        </a:lnTo>
                        <a:lnTo>
                          <a:pt x="50101" y="100013"/>
                        </a:lnTo>
                        <a:lnTo>
                          <a:pt x="50101" y="1104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89" name="Freeform: Shape 388">
                    <a:extLst>
                      <a:ext uri="{FF2B5EF4-FFF2-40B4-BE49-F238E27FC236}">
                        <a16:creationId xmlns:a16="http://schemas.microsoft.com/office/drawing/2014/main" id="{526A16A7-F008-4678-8A93-A7A77F688B03}"/>
                      </a:ext>
                    </a:extLst>
                  </p:cNvPr>
                  <p:cNvSpPr/>
                  <p:nvPr/>
                </p:nvSpPr>
                <p:spPr>
                  <a:xfrm>
                    <a:off x="5142342" y="6618147"/>
                    <a:ext cx="13430" cy="100012"/>
                  </a:xfrm>
                  <a:custGeom>
                    <a:avLst/>
                    <a:gdLst>
                      <a:gd name="connsiteX0" fmla="*/ 0 w 13430"/>
                      <a:gd name="connsiteY0" fmla="*/ 0 h 100012"/>
                      <a:gd name="connsiteX1" fmla="*/ 13430 w 13430"/>
                      <a:gd name="connsiteY1" fmla="*/ 0 h 100012"/>
                      <a:gd name="connsiteX2" fmla="*/ 13430 w 13430"/>
                      <a:gd name="connsiteY2" fmla="*/ 100013 h 100012"/>
                      <a:gd name="connsiteX3" fmla="*/ 0 w 13430"/>
                      <a:gd name="connsiteY3" fmla="*/ 100013 h 100012"/>
                      <a:gd name="connsiteX4" fmla="*/ 0 w 13430"/>
                      <a:gd name="connsiteY4" fmla="*/ 0 h 100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30" h="100012">
                        <a:moveTo>
                          <a:pt x="0" y="0"/>
                        </a:moveTo>
                        <a:lnTo>
                          <a:pt x="13430" y="0"/>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0" name="Freeform: Shape 389">
                    <a:extLst>
                      <a:ext uri="{FF2B5EF4-FFF2-40B4-BE49-F238E27FC236}">
                        <a16:creationId xmlns:a16="http://schemas.microsoft.com/office/drawing/2014/main" id="{E1F0F729-8C40-40C7-9CA2-995AD6418BBA}"/>
                      </a:ext>
                    </a:extLst>
                  </p:cNvPr>
                  <p:cNvSpPr/>
                  <p:nvPr/>
                </p:nvSpPr>
                <p:spPr>
                  <a:xfrm>
                    <a:off x="5193491" y="6617100"/>
                    <a:ext cx="127825" cy="102203"/>
                  </a:xfrm>
                  <a:custGeom>
                    <a:avLst/>
                    <a:gdLst>
                      <a:gd name="connsiteX0" fmla="*/ 0 w 127825"/>
                      <a:gd name="connsiteY0" fmla="*/ 37433 h 102203"/>
                      <a:gd name="connsiteX1" fmla="*/ 35338 w 127825"/>
                      <a:gd name="connsiteY1" fmla="*/ 0 h 102203"/>
                      <a:gd name="connsiteX2" fmla="*/ 92488 w 127825"/>
                      <a:gd name="connsiteY2" fmla="*/ 0 h 102203"/>
                      <a:gd name="connsiteX3" fmla="*/ 127826 w 127825"/>
                      <a:gd name="connsiteY3" fmla="*/ 37433 h 102203"/>
                      <a:gd name="connsiteX4" fmla="*/ 127826 w 127825"/>
                      <a:gd name="connsiteY4" fmla="*/ 64770 h 102203"/>
                      <a:gd name="connsiteX5" fmla="*/ 92488 w 127825"/>
                      <a:gd name="connsiteY5" fmla="*/ 102203 h 102203"/>
                      <a:gd name="connsiteX6" fmla="*/ 35338 w 127825"/>
                      <a:gd name="connsiteY6" fmla="*/ 102203 h 102203"/>
                      <a:gd name="connsiteX7" fmla="*/ 0 w 127825"/>
                      <a:gd name="connsiteY7" fmla="*/ 64770 h 102203"/>
                      <a:gd name="connsiteX8" fmla="*/ 0 w 127825"/>
                      <a:gd name="connsiteY8" fmla="*/ 37433 h 102203"/>
                      <a:gd name="connsiteX9" fmla="*/ 114395 w 127825"/>
                      <a:gd name="connsiteY9" fmla="*/ 32290 h 102203"/>
                      <a:gd name="connsiteX10" fmla="*/ 91154 w 127825"/>
                      <a:gd name="connsiteY10" fmla="*/ 11049 h 102203"/>
                      <a:gd name="connsiteX11" fmla="*/ 36767 w 127825"/>
                      <a:gd name="connsiteY11" fmla="*/ 11049 h 102203"/>
                      <a:gd name="connsiteX12" fmla="*/ 13430 w 127825"/>
                      <a:gd name="connsiteY12" fmla="*/ 32290 h 102203"/>
                      <a:gd name="connsiteX13" fmla="*/ 13430 w 127825"/>
                      <a:gd name="connsiteY13" fmla="*/ 69914 h 102203"/>
                      <a:gd name="connsiteX14" fmla="*/ 36767 w 127825"/>
                      <a:gd name="connsiteY14" fmla="*/ 91249 h 102203"/>
                      <a:gd name="connsiteX15" fmla="*/ 91154 w 127825"/>
                      <a:gd name="connsiteY15" fmla="*/ 91249 h 102203"/>
                      <a:gd name="connsiteX16" fmla="*/ 114395 w 127825"/>
                      <a:gd name="connsiteY16" fmla="*/ 69914 h 102203"/>
                      <a:gd name="connsiteX17" fmla="*/ 114395 w 127825"/>
                      <a:gd name="connsiteY17" fmla="*/ 32290 h 10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7825" h="102203">
                        <a:moveTo>
                          <a:pt x="0" y="37433"/>
                        </a:moveTo>
                        <a:cubicBezTo>
                          <a:pt x="0" y="12192"/>
                          <a:pt x="8477" y="0"/>
                          <a:pt x="35338" y="0"/>
                        </a:cubicBezTo>
                        <a:lnTo>
                          <a:pt x="92488" y="0"/>
                        </a:lnTo>
                        <a:cubicBezTo>
                          <a:pt x="119348" y="0"/>
                          <a:pt x="127826" y="12192"/>
                          <a:pt x="127826" y="37433"/>
                        </a:cubicBezTo>
                        <a:lnTo>
                          <a:pt x="127826" y="64770"/>
                        </a:lnTo>
                        <a:cubicBezTo>
                          <a:pt x="127826" y="90106"/>
                          <a:pt x="119348" y="102203"/>
                          <a:pt x="92488" y="102203"/>
                        </a:cubicBezTo>
                        <a:lnTo>
                          <a:pt x="35338" y="102203"/>
                        </a:lnTo>
                        <a:cubicBezTo>
                          <a:pt x="8477" y="102203"/>
                          <a:pt x="0" y="90106"/>
                          <a:pt x="0" y="64770"/>
                        </a:cubicBezTo>
                        <a:lnTo>
                          <a:pt x="0" y="37433"/>
                        </a:lnTo>
                        <a:close/>
                        <a:moveTo>
                          <a:pt x="114395" y="32290"/>
                        </a:moveTo>
                        <a:cubicBezTo>
                          <a:pt x="114395" y="14859"/>
                          <a:pt x="104013" y="11049"/>
                          <a:pt x="91154" y="11049"/>
                        </a:cubicBezTo>
                        <a:lnTo>
                          <a:pt x="36767" y="11049"/>
                        </a:lnTo>
                        <a:cubicBezTo>
                          <a:pt x="23908" y="11049"/>
                          <a:pt x="13430" y="14954"/>
                          <a:pt x="13430" y="32290"/>
                        </a:cubicBezTo>
                        <a:lnTo>
                          <a:pt x="13430" y="69914"/>
                        </a:lnTo>
                        <a:cubicBezTo>
                          <a:pt x="13430" y="87344"/>
                          <a:pt x="23813" y="91249"/>
                          <a:pt x="36767" y="91249"/>
                        </a:cubicBezTo>
                        <a:lnTo>
                          <a:pt x="91154" y="91249"/>
                        </a:lnTo>
                        <a:cubicBezTo>
                          <a:pt x="104013" y="91249"/>
                          <a:pt x="114395" y="87344"/>
                          <a:pt x="114395" y="69914"/>
                        </a:cubicBezTo>
                        <a:lnTo>
                          <a:pt x="114395" y="322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1" name="Freeform: Shape 390">
                    <a:extLst>
                      <a:ext uri="{FF2B5EF4-FFF2-40B4-BE49-F238E27FC236}">
                        <a16:creationId xmlns:a16="http://schemas.microsoft.com/office/drawing/2014/main" id="{D3ED82A7-BB1B-490A-AE15-069210550BBB}"/>
                      </a:ext>
                    </a:extLst>
                  </p:cNvPr>
                  <p:cNvSpPr/>
                  <p:nvPr/>
                </p:nvSpPr>
                <p:spPr>
                  <a:xfrm>
                    <a:off x="5357797" y="6618147"/>
                    <a:ext cx="124301" cy="100012"/>
                  </a:xfrm>
                  <a:custGeom>
                    <a:avLst/>
                    <a:gdLst>
                      <a:gd name="connsiteX0" fmla="*/ 0 w 124301"/>
                      <a:gd name="connsiteY0" fmla="*/ 0 h 100012"/>
                      <a:gd name="connsiteX1" fmla="*/ 20003 w 124301"/>
                      <a:gd name="connsiteY1" fmla="*/ 0 h 100012"/>
                      <a:gd name="connsiteX2" fmla="*/ 110871 w 124301"/>
                      <a:gd name="connsiteY2" fmla="*/ 87820 h 100012"/>
                      <a:gd name="connsiteX3" fmla="*/ 110871 w 124301"/>
                      <a:gd name="connsiteY3" fmla="*/ 0 h 100012"/>
                      <a:gd name="connsiteX4" fmla="*/ 124301 w 124301"/>
                      <a:gd name="connsiteY4" fmla="*/ 0 h 100012"/>
                      <a:gd name="connsiteX5" fmla="*/ 124301 w 124301"/>
                      <a:gd name="connsiteY5" fmla="*/ 100013 h 100012"/>
                      <a:gd name="connsiteX6" fmla="*/ 104299 w 124301"/>
                      <a:gd name="connsiteY6" fmla="*/ 100013 h 100012"/>
                      <a:gd name="connsiteX7" fmla="*/ 13430 w 124301"/>
                      <a:gd name="connsiteY7" fmla="*/ 12192 h 100012"/>
                      <a:gd name="connsiteX8" fmla="*/ 13430 w 124301"/>
                      <a:gd name="connsiteY8" fmla="*/ 100013 h 100012"/>
                      <a:gd name="connsiteX9" fmla="*/ 0 w 124301"/>
                      <a:gd name="connsiteY9" fmla="*/ 100013 h 100012"/>
                      <a:gd name="connsiteX10" fmla="*/ 0 w 124301"/>
                      <a:gd name="connsiteY10" fmla="*/ 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301" h="100012">
                        <a:moveTo>
                          <a:pt x="0" y="0"/>
                        </a:moveTo>
                        <a:lnTo>
                          <a:pt x="20003" y="0"/>
                        </a:lnTo>
                        <a:lnTo>
                          <a:pt x="110871" y="87820"/>
                        </a:lnTo>
                        <a:lnTo>
                          <a:pt x="110871" y="0"/>
                        </a:lnTo>
                        <a:lnTo>
                          <a:pt x="124301" y="0"/>
                        </a:lnTo>
                        <a:lnTo>
                          <a:pt x="124301" y="100013"/>
                        </a:lnTo>
                        <a:lnTo>
                          <a:pt x="104299" y="100013"/>
                        </a:lnTo>
                        <a:lnTo>
                          <a:pt x="13430" y="12192"/>
                        </a:lnTo>
                        <a:lnTo>
                          <a:pt x="13430" y="100013"/>
                        </a:lnTo>
                        <a:lnTo>
                          <a:pt x="0" y="100013"/>
                        </a:lnTo>
                        <a:lnTo>
                          <a:pt x="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2" name="Freeform: Shape 391">
                    <a:extLst>
                      <a:ext uri="{FF2B5EF4-FFF2-40B4-BE49-F238E27FC236}">
                        <a16:creationId xmlns:a16="http://schemas.microsoft.com/office/drawing/2014/main" id="{2BF07395-EE11-4302-8FEE-8CF81BC2BB39}"/>
                      </a:ext>
                    </a:extLst>
                  </p:cNvPr>
                  <p:cNvSpPr/>
                  <p:nvPr/>
                </p:nvSpPr>
                <p:spPr>
                  <a:xfrm>
                    <a:off x="5518579" y="6617290"/>
                    <a:ext cx="114109" cy="102298"/>
                  </a:xfrm>
                  <a:custGeom>
                    <a:avLst/>
                    <a:gdLst>
                      <a:gd name="connsiteX0" fmla="*/ 95 w 114109"/>
                      <a:gd name="connsiteY0" fmla="*/ 69437 h 102298"/>
                      <a:gd name="connsiteX1" fmla="*/ 12668 w 114109"/>
                      <a:gd name="connsiteY1" fmla="*/ 69437 h 102298"/>
                      <a:gd name="connsiteX2" fmla="*/ 12668 w 114109"/>
                      <a:gd name="connsiteY2" fmla="*/ 76486 h 102298"/>
                      <a:gd name="connsiteX3" fmla="*/ 34576 w 114109"/>
                      <a:gd name="connsiteY3" fmla="*/ 91059 h 102298"/>
                      <a:gd name="connsiteX4" fmla="*/ 76200 w 114109"/>
                      <a:gd name="connsiteY4" fmla="*/ 91059 h 102298"/>
                      <a:gd name="connsiteX5" fmla="*/ 101441 w 114109"/>
                      <a:gd name="connsiteY5" fmla="*/ 72580 h 102298"/>
                      <a:gd name="connsiteX6" fmla="*/ 79820 w 114109"/>
                      <a:gd name="connsiteY6" fmla="*/ 56864 h 102298"/>
                      <a:gd name="connsiteX7" fmla="*/ 54388 w 114109"/>
                      <a:gd name="connsiteY7" fmla="*/ 56864 h 102298"/>
                      <a:gd name="connsiteX8" fmla="*/ 0 w 114109"/>
                      <a:gd name="connsiteY8" fmla="*/ 27908 h 102298"/>
                      <a:gd name="connsiteX9" fmla="*/ 41053 w 114109"/>
                      <a:gd name="connsiteY9" fmla="*/ 0 h 102298"/>
                      <a:gd name="connsiteX10" fmla="*/ 70009 w 114109"/>
                      <a:gd name="connsiteY10" fmla="*/ 0 h 102298"/>
                      <a:gd name="connsiteX11" fmla="*/ 111633 w 114109"/>
                      <a:gd name="connsiteY11" fmla="*/ 26384 h 102298"/>
                      <a:gd name="connsiteX12" fmla="*/ 111633 w 114109"/>
                      <a:gd name="connsiteY12" fmla="*/ 29908 h 102298"/>
                      <a:gd name="connsiteX13" fmla="*/ 99060 w 114109"/>
                      <a:gd name="connsiteY13" fmla="*/ 29908 h 102298"/>
                      <a:gd name="connsiteX14" fmla="*/ 61913 w 114109"/>
                      <a:gd name="connsiteY14" fmla="*/ 11144 h 102298"/>
                      <a:gd name="connsiteX15" fmla="*/ 47625 w 114109"/>
                      <a:gd name="connsiteY15" fmla="*/ 11144 h 102298"/>
                      <a:gd name="connsiteX16" fmla="*/ 12573 w 114109"/>
                      <a:gd name="connsiteY16" fmla="*/ 28956 h 102298"/>
                      <a:gd name="connsiteX17" fmla="*/ 37243 w 114109"/>
                      <a:gd name="connsiteY17" fmla="*/ 44863 h 102298"/>
                      <a:gd name="connsiteX18" fmla="*/ 76962 w 114109"/>
                      <a:gd name="connsiteY18" fmla="*/ 44863 h 102298"/>
                      <a:gd name="connsiteX19" fmla="*/ 114110 w 114109"/>
                      <a:gd name="connsiteY19" fmla="*/ 69437 h 102298"/>
                      <a:gd name="connsiteX20" fmla="*/ 114110 w 114109"/>
                      <a:gd name="connsiteY20" fmla="*/ 75914 h 102298"/>
                      <a:gd name="connsiteX21" fmla="*/ 74295 w 114109"/>
                      <a:gd name="connsiteY21" fmla="*/ 102298 h 102298"/>
                      <a:gd name="connsiteX22" fmla="*/ 36957 w 114109"/>
                      <a:gd name="connsiteY22" fmla="*/ 102298 h 102298"/>
                      <a:gd name="connsiteX23" fmla="*/ 95 w 114109"/>
                      <a:gd name="connsiteY23" fmla="*/ 77057 h 102298"/>
                      <a:gd name="connsiteX24" fmla="*/ 95 w 114109"/>
                      <a:gd name="connsiteY24" fmla="*/ 69723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109" h="102298">
                        <a:moveTo>
                          <a:pt x="95" y="69437"/>
                        </a:moveTo>
                        <a:lnTo>
                          <a:pt x="12668" y="69437"/>
                        </a:lnTo>
                        <a:lnTo>
                          <a:pt x="12668" y="76486"/>
                        </a:lnTo>
                        <a:cubicBezTo>
                          <a:pt x="12668" y="86296"/>
                          <a:pt x="17907" y="91059"/>
                          <a:pt x="34576" y="91059"/>
                        </a:cubicBezTo>
                        <a:lnTo>
                          <a:pt x="76200" y="91059"/>
                        </a:lnTo>
                        <a:cubicBezTo>
                          <a:pt x="95631" y="91059"/>
                          <a:pt x="101441" y="86868"/>
                          <a:pt x="101441" y="72580"/>
                        </a:cubicBezTo>
                        <a:cubicBezTo>
                          <a:pt x="101441" y="60007"/>
                          <a:pt x="96488" y="56864"/>
                          <a:pt x="79820" y="56864"/>
                        </a:cubicBezTo>
                        <a:lnTo>
                          <a:pt x="54388" y="56864"/>
                        </a:lnTo>
                        <a:cubicBezTo>
                          <a:pt x="13430" y="56864"/>
                          <a:pt x="0" y="54388"/>
                          <a:pt x="0" y="27908"/>
                        </a:cubicBezTo>
                        <a:cubicBezTo>
                          <a:pt x="0" y="5143"/>
                          <a:pt x="13430" y="0"/>
                          <a:pt x="41053" y="0"/>
                        </a:cubicBezTo>
                        <a:lnTo>
                          <a:pt x="70009" y="0"/>
                        </a:lnTo>
                        <a:cubicBezTo>
                          <a:pt x="103251" y="0"/>
                          <a:pt x="111633" y="8572"/>
                          <a:pt x="111633" y="26384"/>
                        </a:cubicBezTo>
                        <a:lnTo>
                          <a:pt x="111633" y="29908"/>
                        </a:lnTo>
                        <a:lnTo>
                          <a:pt x="99060" y="29908"/>
                        </a:lnTo>
                        <a:cubicBezTo>
                          <a:pt x="98774" y="14002"/>
                          <a:pt x="97155" y="11144"/>
                          <a:pt x="61913" y="11144"/>
                        </a:cubicBezTo>
                        <a:lnTo>
                          <a:pt x="47625" y="11144"/>
                        </a:lnTo>
                        <a:cubicBezTo>
                          <a:pt x="21717" y="11144"/>
                          <a:pt x="12573" y="12478"/>
                          <a:pt x="12573" y="28956"/>
                        </a:cubicBezTo>
                        <a:cubicBezTo>
                          <a:pt x="12573" y="40862"/>
                          <a:pt x="16288" y="44863"/>
                          <a:pt x="37243" y="44863"/>
                        </a:cubicBezTo>
                        <a:lnTo>
                          <a:pt x="76962" y="44863"/>
                        </a:lnTo>
                        <a:cubicBezTo>
                          <a:pt x="103156" y="44863"/>
                          <a:pt x="114110" y="52483"/>
                          <a:pt x="114110" y="69437"/>
                        </a:cubicBezTo>
                        <a:lnTo>
                          <a:pt x="114110" y="75914"/>
                        </a:lnTo>
                        <a:cubicBezTo>
                          <a:pt x="114110" y="100489"/>
                          <a:pt x="94107" y="102298"/>
                          <a:pt x="74295" y="102298"/>
                        </a:cubicBezTo>
                        <a:lnTo>
                          <a:pt x="36957" y="102298"/>
                        </a:lnTo>
                        <a:cubicBezTo>
                          <a:pt x="17431" y="102298"/>
                          <a:pt x="95" y="98869"/>
                          <a:pt x="95" y="77057"/>
                        </a:cubicBezTo>
                        <a:lnTo>
                          <a:pt x="95" y="6972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sp>
            <p:nvSpPr>
              <p:cNvPr id="370" name="Freeform: Shape 369">
                <a:extLst>
                  <a:ext uri="{FF2B5EF4-FFF2-40B4-BE49-F238E27FC236}">
                    <a16:creationId xmlns:a16="http://schemas.microsoft.com/office/drawing/2014/main" id="{BA970D16-9C31-41DB-A0DF-0D8DE932D2F2}"/>
                  </a:ext>
                </a:extLst>
              </p:cNvPr>
              <p:cNvSpPr/>
              <p:nvPr/>
            </p:nvSpPr>
            <p:spPr>
              <a:xfrm>
                <a:off x="3504232" y="6513277"/>
                <a:ext cx="380" cy="571"/>
              </a:xfrm>
              <a:custGeom>
                <a:avLst/>
                <a:gdLst>
                  <a:gd name="connsiteX0" fmla="*/ 381 w 380"/>
                  <a:gd name="connsiteY0" fmla="*/ 0 h 571"/>
                  <a:gd name="connsiteX1" fmla="*/ 381 w 380"/>
                  <a:gd name="connsiteY1" fmla="*/ 0 h 571"/>
                  <a:gd name="connsiteX2" fmla="*/ 0 w 380"/>
                  <a:gd name="connsiteY2" fmla="*/ 572 h 571"/>
                  <a:gd name="connsiteX3" fmla="*/ 381 w 380"/>
                  <a:gd name="connsiteY3" fmla="*/ 0 h 571"/>
                </a:gdLst>
                <a:ahLst/>
                <a:cxnLst>
                  <a:cxn ang="0">
                    <a:pos x="connsiteX0" y="connsiteY0"/>
                  </a:cxn>
                  <a:cxn ang="0">
                    <a:pos x="connsiteX1" y="connsiteY1"/>
                  </a:cxn>
                  <a:cxn ang="0">
                    <a:pos x="connsiteX2" y="connsiteY2"/>
                  </a:cxn>
                  <a:cxn ang="0">
                    <a:pos x="connsiteX3" y="connsiteY3"/>
                  </a:cxn>
                </a:cxnLst>
                <a:rect l="l" t="t" r="r" b="b"/>
                <a:pathLst>
                  <a:path w="380" h="571">
                    <a:moveTo>
                      <a:pt x="381" y="0"/>
                    </a:moveTo>
                    <a:lnTo>
                      <a:pt x="381" y="0"/>
                    </a:lnTo>
                    <a:cubicBezTo>
                      <a:pt x="381" y="0"/>
                      <a:pt x="0" y="572"/>
                      <a:pt x="0" y="572"/>
                    </a:cubicBezTo>
                    <a:cubicBezTo>
                      <a:pt x="0" y="572"/>
                      <a:pt x="95" y="381"/>
                      <a:pt x="381" y="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71" name="Freeform: Shape 370">
                <a:extLst>
                  <a:ext uri="{FF2B5EF4-FFF2-40B4-BE49-F238E27FC236}">
                    <a16:creationId xmlns:a16="http://schemas.microsoft.com/office/drawing/2014/main" id="{637C2AD6-D919-415F-A3EE-3073A6D1B908}"/>
                  </a:ext>
                </a:extLst>
              </p:cNvPr>
              <p:cNvSpPr/>
              <p:nvPr/>
            </p:nvSpPr>
            <p:spPr>
              <a:xfrm>
                <a:off x="2981977" y="6196095"/>
                <a:ext cx="525017" cy="529875"/>
              </a:xfrm>
              <a:custGeom>
                <a:avLst/>
                <a:gdLst>
                  <a:gd name="connsiteX0" fmla="*/ 243173 w 525017"/>
                  <a:gd name="connsiteY0" fmla="*/ 503777 h 529875"/>
                  <a:gd name="connsiteX1" fmla="*/ 87630 w 525017"/>
                  <a:gd name="connsiteY1" fmla="*/ 403860 h 529875"/>
                  <a:gd name="connsiteX2" fmla="*/ 83630 w 525017"/>
                  <a:gd name="connsiteY2" fmla="*/ 385096 h 529875"/>
                  <a:gd name="connsiteX3" fmla="*/ 87535 w 525017"/>
                  <a:gd name="connsiteY3" fmla="*/ 375475 h 529875"/>
                  <a:gd name="connsiteX4" fmla="*/ 90011 w 525017"/>
                  <a:gd name="connsiteY4" fmla="*/ 372428 h 529875"/>
                  <a:gd name="connsiteX5" fmla="*/ 92869 w 525017"/>
                  <a:gd name="connsiteY5" fmla="*/ 369570 h 529875"/>
                  <a:gd name="connsiteX6" fmla="*/ 97631 w 525017"/>
                  <a:gd name="connsiteY6" fmla="*/ 365665 h 529875"/>
                  <a:gd name="connsiteX7" fmla="*/ 110490 w 525017"/>
                  <a:gd name="connsiteY7" fmla="*/ 356235 h 529875"/>
                  <a:gd name="connsiteX8" fmla="*/ 147066 w 525017"/>
                  <a:gd name="connsiteY8" fmla="*/ 330803 h 529875"/>
                  <a:gd name="connsiteX9" fmla="*/ 180880 w 525017"/>
                  <a:gd name="connsiteY9" fmla="*/ 307943 h 529875"/>
                  <a:gd name="connsiteX10" fmla="*/ 169450 w 525017"/>
                  <a:gd name="connsiteY10" fmla="*/ 292037 h 529875"/>
                  <a:gd name="connsiteX11" fmla="*/ 167164 w 525017"/>
                  <a:gd name="connsiteY11" fmla="*/ 284893 h 529875"/>
                  <a:gd name="connsiteX12" fmla="*/ 171069 w 525017"/>
                  <a:gd name="connsiteY12" fmla="*/ 278035 h 529875"/>
                  <a:gd name="connsiteX13" fmla="*/ 256223 w 525017"/>
                  <a:gd name="connsiteY13" fmla="*/ 174308 h 529875"/>
                  <a:gd name="connsiteX14" fmla="*/ 268986 w 525017"/>
                  <a:gd name="connsiteY14" fmla="*/ 165164 h 529875"/>
                  <a:gd name="connsiteX15" fmla="*/ 272606 w 525017"/>
                  <a:gd name="connsiteY15" fmla="*/ 170117 h 529875"/>
                  <a:gd name="connsiteX16" fmla="*/ 277940 w 525017"/>
                  <a:gd name="connsiteY16" fmla="*/ 170879 h 529875"/>
                  <a:gd name="connsiteX17" fmla="*/ 298609 w 525017"/>
                  <a:gd name="connsiteY17" fmla="*/ 155543 h 529875"/>
                  <a:gd name="connsiteX18" fmla="*/ 299276 w 525017"/>
                  <a:gd name="connsiteY18" fmla="*/ 150209 h 529875"/>
                  <a:gd name="connsiteX19" fmla="*/ 295942 w 525017"/>
                  <a:gd name="connsiteY19" fmla="*/ 145637 h 529875"/>
                  <a:gd name="connsiteX20" fmla="*/ 305181 w 525017"/>
                  <a:gd name="connsiteY20" fmla="*/ 138970 h 529875"/>
                  <a:gd name="connsiteX21" fmla="*/ 310325 w 525017"/>
                  <a:gd name="connsiteY21" fmla="*/ 137636 h 529875"/>
                  <a:gd name="connsiteX22" fmla="*/ 314706 w 525017"/>
                  <a:gd name="connsiteY22" fmla="*/ 140494 h 529875"/>
                  <a:gd name="connsiteX23" fmla="*/ 411099 w 525017"/>
                  <a:gd name="connsiteY23" fmla="*/ 274225 h 529875"/>
                  <a:gd name="connsiteX24" fmla="*/ 412623 w 525017"/>
                  <a:gd name="connsiteY24" fmla="*/ 279273 h 529875"/>
                  <a:gd name="connsiteX25" fmla="*/ 409385 w 525017"/>
                  <a:gd name="connsiteY25" fmla="*/ 283750 h 529875"/>
                  <a:gd name="connsiteX26" fmla="*/ 399764 w 525017"/>
                  <a:gd name="connsiteY26" fmla="*/ 290608 h 529875"/>
                  <a:gd name="connsiteX27" fmla="*/ 395764 w 525017"/>
                  <a:gd name="connsiteY27" fmla="*/ 285369 h 529875"/>
                  <a:gd name="connsiteX28" fmla="*/ 390525 w 525017"/>
                  <a:gd name="connsiteY28" fmla="*/ 284607 h 529875"/>
                  <a:gd name="connsiteX29" fmla="*/ 369761 w 525017"/>
                  <a:gd name="connsiteY29" fmla="*/ 299752 h 529875"/>
                  <a:gd name="connsiteX30" fmla="*/ 368999 w 525017"/>
                  <a:gd name="connsiteY30" fmla="*/ 304991 h 529875"/>
                  <a:gd name="connsiteX31" fmla="*/ 372713 w 525017"/>
                  <a:gd name="connsiteY31" fmla="*/ 310039 h 529875"/>
                  <a:gd name="connsiteX32" fmla="*/ 360426 w 525017"/>
                  <a:gd name="connsiteY32" fmla="*/ 318897 h 529875"/>
                  <a:gd name="connsiteX33" fmla="*/ 233172 w 525017"/>
                  <a:gd name="connsiteY33" fmla="*/ 368332 h 529875"/>
                  <a:gd name="connsiteX34" fmla="*/ 227076 w 525017"/>
                  <a:gd name="connsiteY34" fmla="*/ 368618 h 529875"/>
                  <a:gd name="connsiteX35" fmla="*/ 220694 w 525017"/>
                  <a:gd name="connsiteY35" fmla="*/ 363093 h 529875"/>
                  <a:gd name="connsiteX36" fmla="*/ 210122 w 525017"/>
                  <a:gd name="connsiteY36" fmla="*/ 348329 h 529875"/>
                  <a:gd name="connsiteX37" fmla="*/ 146685 w 525017"/>
                  <a:gd name="connsiteY37" fmla="*/ 391668 h 529875"/>
                  <a:gd name="connsiteX38" fmla="*/ 143542 w 525017"/>
                  <a:gd name="connsiteY38" fmla="*/ 393859 h 529875"/>
                  <a:gd name="connsiteX39" fmla="*/ 252317 w 525017"/>
                  <a:gd name="connsiteY39" fmla="*/ 454628 h 529875"/>
                  <a:gd name="connsiteX40" fmla="*/ 476917 w 525017"/>
                  <a:gd name="connsiteY40" fmla="*/ 300133 h 529875"/>
                  <a:gd name="connsiteX41" fmla="*/ 477107 w 525017"/>
                  <a:gd name="connsiteY41" fmla="*/ 299276 h 529875"/>
                  <a:gd name="connsiteX42" fmla="*/ 328708 w 525017"/>
                  <a:gd name="connsiteY42" fmla="*/ 75914 h 529875"/>
                  <a:gd name="connsiteX43" fmla="*/ 337661 w 525017"/>
                  <a:gd name="connsiteY43" fmla="*/ 26765 h 529875"/>
                  <a:gd name="connsiteX44" fmla="*/ 520732 w 525017"/>
                  <a:gd name="connsiteY44" fmla="*/ 196215 h 529875"/>
                  <a:gd name="connsiteX45" fmla="*/ 264890 w 525017"/>
                  <a:gd name="connsiteY45" fmla="*/ 0 h 529875"/>
                  <a:gd name="connsiteX46" fmla="*/ 0 w 525017"/>
                  <a:gd name="connsiteY46" fmla="*/ 264986 h 529875"/>
                  <a:gd name="connsiteX47" fmla="*/ 264890 w 525017"/>
                  <a:gd name="connsiteY47" fmla="*/ 529876 h 529875"/>
                  <a:gd name="connsiteX48" fmla="*/ 525018 w 525017"/>
                  <a:gd name="connsiteY48" fmla="*/ 314516 h 529875"/>
                  <a:gd name="connsiteX49" fmla="*/ 243173 w 525017"/>
                  <a:gd name="connsiteY49" fmla="*/ 503873 h 529875"/>
                  <a:gd name="connsiteX50" fmla="*/ 326136 w 525017"/>
                  <a:gd name="connsiteY50" fmla="*/ 24765 h 529875"/>
                  <a:gd name="connsiteX51" fmla="*/ 318611 w 525017"/>
                  <a:gd name="connsiteY51" fmla="*/ 74009 h 529875"/>
                  <a:gd name="connsiteX52" fmla="*/ 271844 w 525017"/>
                  <a:gd name="connsiteY52" fmla="*/ 72009 h 529875"/>
                  <a:gd name="connsiteX53" fmla="*/ 266129 w 525017"/>
                  <a:gd name="connsiteY53" fmla="*/ 22384 h 529875"/>
                  <a:gd name="connsiteX54" fmla="*/ 326136 w 525017"/>
                  <a:gd name="connsiteY54" fmla="*/ 24765 h 529875"/>
                  <a:gd name="connsiteX55" fmla="*/ 254508 w 525017"/>
                  <a:gd name="connsiteY55" fmla="*/ 23717 h 529875"/>
                  <a:gd name="connsiteX56" fmla="*/ 261842 w 525017"/>
                  <a:gd name="connsiteY56" fmla="*/ 73057 h 529875"/>
                  <a:gd name="connsiteX57" fmla="*/ 216503 w 525017"/>
                  <a:gd name="connsiteY57" fmla="*/ 84773 h 529875"/>
                  <a:gd name="connsiteX58" fmla="*/ 196596 w 525017"/>
                  <a:gd name="connsiteY58" fmla="*/ 38862 h 529875"/>
                  <a:gd name="connsiteX59" fmla="*/ 254508 w 525017"/>
                  <a:gd name="connsiteY59" fmla="*/ 23717 h 529875"/>
                  <a:gd name="connsiteX60" fmla="*/ 185928 w 525017"/>
                  <a:gd name="connsiteY60" fmla="*/ 43529 h 529875"/>
                  <a:gd name="connsiteX61" fmla="*/ 207264 w 525017"/>
                  <a:gd name="connsiteY61" fmla="*/ 88678 h 529875"/>
                  <a:gd name="connsiteX62" fmla="*/ 167354 w 525017"/>
                  <a:gd name="connsiteY62" fmla="*/ 113062 h 529875"/>
                  <a:gd name="connsiteX63" fmla="*/ 134969 w 525017"/>
                  <a:gd name="connsiteY63" fmla="*/ 74962 h 529875"/>
                  <a:gd name="connsiteX64" fmla="*/ 186023 w 525017"/>
                  <a:gd name="connsiteY64" fmla="*/ 43529 h 529875"/>
                  <a:gd name="connsiteX65" fmla="*/ 125825 w 525017"/>
                  <a:gd name="connsiteY65" fmla="*/ 82772 h 529875"/>
                  <a:gd name="connsiteX66" fmla="*/ 159639 w 525017"/>
                  <a:gd name="connsiteY66" fmla="*/ 119539 h 529875"/>
                  <a:gd name="connsiteX67" fmla="*/ 128397 w 525017"/>
                  <a:gd name="connsiteY67" fmla="*/ 154400 h 529875"/>
                  <a:gd name="connsiteX68" fmla="*/ 86297 w 525017"/>
                  <a:gd name="connsiteY68" fmla="*/ 127349 h 529875"/>
                  <a:gd name="connsiteX69" fmla="*/ 125825 w 525017"/>
                  <a:gd name="connsiteY69" fmla="*/ 82677 h 529875"/>
                  <a:gd name="connsiteX70" fmla="*/ 55150 w 525017"/>
                  <a:gd name="connsiteY70" fmla="*/ 191738 h 529875"/>
                  <a:gd name="connsiteX71" fmla="*/ 79820 w 525017"/>
                  <a:gd name="connsiteY71" fmla="*/ 137541 h 529875"/>
                  <a:gd name="connsiteX72" fmla="*/ 122968 w 525017"/>
                  <a:gd name="connsiteY72" fmla="*/ 162878 h 529875"/>
                  <a:gd name="connsiteX73" fmla="*/ 103251 w 525017"/>
                  <a:gd name="connsiteY73" fmla="*/ 205359 h 529875"/>
                  <a:gd name="connsiteX74" fmla="*/ 55150 w 525017"/>
                  <a:gd name="connsiteY74" fmla="*/ 191738 h 52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525017" h="529875">
                    <a:moveTo>
                      <a:pt x="243173" y="503777"/>
                    </a:moveTo>
                    <a:cubicBezTo>
                      <a:pt x="177737" y="491776"/>
                      <a:pt x="123063" y="454533"/>
                      <a:pt x="87630" y="403860"/>
                    </a:cubicBezTo>
                    <a:cubicBezTo>
                      <a:pt x="83534" y="397955"/>
                      <a:pt x="82487" y="391001"/>
                      <a:pt x="83630" y="385096"/>
                    </a:cubicBezTo>
                    <a:cubicBezTo>
                      <a:pt x="84868" y="379095"/>
                      <a:pt x="86582" y="377095"/>
                      <a:pt x="87535" y="375475"/>
                    </a:cubicBezTo>
                    <a:cubicBezTo>
                      <a:pt x="88583" y="373951"/>
                      <a:pt x="89345" y="373094"/>
                      <a:pt x="90011" y="372428"/>
                    </a:cubicBezTo>
                    <a:cubicBezTo>
                      <a:pt x="91250" y="370999"/>
                      <a:pt x="92107" y="370332"/>
                      <a:pt x="92869" y="369570"/>
                    </a:cubicBezTo>
                    <a:cubicBezTo>
                      <a:pt x="94393" y="368141"/>
                      <a:pt x="95917" y="366998"/>
                      <a:pt x="97631" y="365665"/>
                    </a:cubicBezTo>
                    <a:cubicBezTo>
                      <a:pt x="101060" y="362998"/>
                      <a:pt x="105347" y="359855"/>
                      <a:pt x="110490" y="356235"/>
                    </a:cubicBezTo>
                    <a:cubicBezTo>
                      <a:pt x="120682" y="348996"/>
                      <a:pt x="133922" y="339852"/>
                      <a:pt x="147066" y="330803"/>
                    </a:cubicBezTo>
                    <a:cubicBezTo>
                      <a:pt x="159163" y="322517"/>
                      <a:pt x="171260" y="314325"/>
                      <a:pt x="180880" y="307943"/>
                    </a:cubicBezTo>
                    <a:lnTo>
                      <a:pt x="169450" y="292037"/>
                    </a:lnTo>
                    <a:cubicBezTo>
                      <a:pt x="169450" y="292037"/>
                      <a:pt x="166688" y="288227"/>
                      <a:pt x="167164" y="284893"/>
                    </a:cubicBezTo>
                    <a:cubicBezTo>
                      <a:pt x="167735" y="281654"/>
                      <a:pt x="171069" y="278035"/>
                      <a:pt x="171069" y="278035"/>
                    </a:cubicBezTo>
                    <a:lnTo>
                      <a:pt x="256223" y="174308"/>
                    </a:lnTo>
                    <a:lnTo>
                      <a:pt x="268986" y="165164"/>
                    </a:lnTo>
                    <a:lnTo>
                      <a:pt x="272606" y="170117"/>
                    </a:lnTo>
                    <a:cubicBezTo>
                      <a:pt x="273844" y="171831"/>
                      <a:pt x="276225" y="172117"/>
                      <a:pt x="277940" y="170879"/>
                    </a:cubicBezTo>
                    <a:lnTo>
                      <a:pt x="298609" y="155543"/>
                    </a:lnTo>
                    <a:cubicBezTo>
                      <a:pt x="300228" y="154305"/>
                      <a:pt x="300609" y="151924"/>
                      <a:pt x="299276" y="150209"/>
                    </a:cubicBezTo>
                    <a:lnTo>
                      <a:pt x="295942" y="145637"/>
                    </a:lnTo>
                    <a:lnTo>
                      <a:pt x="305181" y="138970"/>
                    </a:lnTo>
                    <a:cubicBezTo>
                      <a:pt x="305181" y="138970"/>
                      <a:pt x="307658" y="137255"/>
                      <a:pt x="310325" y="137636"/>
                    </a:cubicBezTo>
                    <a:cubicBezTo>
                      <a:pt x="312992" y="138113"/>
                      <a:pt x="314706" y="140494"/>
                      <a:pt x="314706" y="140494"/>
                    </a:cubicBezTo>
                    <a:lnTo>
                      <a:pt x="411099" y="274225"/>
                    </a:lnTo>
                    <a:cubicBezTo>
                      <a:pt x="411099" y="274225"/>
                      <a:pt x="412814" y="276606"/>
                      <a:pt x="412623" y="279273"/>
                    </a:cubicBezTo>
                    <a:cubicBezTo>
                      <a:pt x="412337" y="281940"/>
                      <a:pt x="409385" y="283750"/>
                      <a:pt x="409385" y="283750"/>
                    </a:cubicBezTo>
                    <a:lnTo>
                      <a:pt x="399764" y="290608"/>
                    </a:lnTo>
                    <a:lnTo>
                      <a:pt x="395764" y="285369"/>
                    </a:lnTo>
                    <a:cubicBezTo>
                      <a:pt x="394525" y="283750"/>
                      <a:pt x="392144" y="283369"/>
                      <a:pt x="390525" y="284607"/>
                    </a:cubicBezTo>
                    <a:lnTo>
                      <a:pt x="369761" y="299752"/>
                    </a:lnTo>
                    <a:cubicBezTo>
                      <a:pt x="368046" y="300990"/>
                      <a:pt x="367760" y="303371"/>
                      <a:pt x="368999" y="304991"/>
                    </a:cubicBezTo>
                    <a:lnTo>
                      <a:pt x="372713" y="310039"/>
                    </a:lnTo>
                    <a:lnTo>
                      <a:pt x="360426" y="318897"/>
                    </a:lnTo>
                    <a:lnTo>
                      <a:pt x="233172" y="368332"/>
                    </a:lnTo>
                    <a:cubicBezTo>
                      <a:pt x="233172" y="368332"/>
                      <a:pt x="230505" y="369284"/>
                      <a:pt x="227076" y="368618"/>
                    </a:cubicBezTo>
                    <a:cubicBezTo>
                      <a:pt x="223742" y="367951"/>
                      <a:pt x="220694" y="363093"/>
                      <a:pt x="220694" y="363093"/>
                    </a:cubicBezTo>
                    <a:lnTo>
                      <a:pt x="210122" y="348329"/>
                    </a:lnTo>
                    <a:cubicBezTo>
                      <a:pt x="192691" y="360045"/>
                      <a:pt x="165926" y="378238"/>
                      <a:pt x="146685" y="391668"/>
                    </a:cubicBezTo>
                    <a:cubicBezTo>
                      <a:pt x="145637" y="392430"/>
                      <a:pt x="144590" y="393097"/>
                      <a:pt x="143542" y="393859"/>
                    </a:cubicBezTo>
                    <a:cubicBezTo>
                      <a:pt x="171164" y="424529"/>
                      <a:pt x="208598" y="446627"/>
                      <a:pt x="252317" y="454628"/>
                    </a:cubicBezTo>
                    <a:cubicBezTo>
                      <a:pt x="356997" y="473583"/>
                      <a:pt x="457200" y="404622"/>
                      <a:pt x="476917" y="300133"/>
                    </a:cubicBezTo>
                    <a:cubicBezTo>
                      <a:pt x="476917" y="299847"/>
                      <a:pt x="477012" y="299561"/>
                      <a:pt x="477107" y="299276"/>
                    </a:cubicBezTo>
                    <a:cubicBezTo>
                      <a:pt x="495681" y="196596"/>
                      <a:pt x="429768" y="98298"/>
                      <a:pt x="328708" y="75914"/>
                    </a:cubicBezTo>
                    <a:lnTo>
                      <a:pt x="337661" y="26765"/>
                    </a:lnTo>
                    <a:cubicBezTo>
                      <a:pt x="427673" y="45911"/>
                      <a:pt x="495967" y="113062"/>
                      <a:pt x="520732" y="196215"/>
                    </a:cubicBezTo>
                    <a:cubicBezTo>
                      <a:pt x="490347" y="83344"/>
                      <a:pt x="387477" y="0"/>
                      <a:pt x="264890" y="0"/>
                    </a:cubicBezTo>
                    <a:cubicBezTo>
                      <a:pt x="118586" y="0"/>
                      <a:pt x="0" y="118586"/>
                      <a:pt x="0" y="264986"/>
                    </a:cubicBezTo>
                    <a:cubicBezTo>
                      <a:pt x="0" y="411385"/>
                      <a:pt x="118586" y="529876"/>
                      <a:pt x="264890" y="529876"/>
                    </a:cubicBezTo>
                    <a:cubicBezTo>
                      <a:pt x="394240" y="529876"/>
                      <a:pt x="501777" y="437102"/>
                      <a:pt x="525018" y="314516"/>
                    </a:cubicBezTo>
                    <a:cubicBezTo>
                      <a:pt x="498253" y="443389"/>
                      <a:pt x="373285" y="527590"/>
                      <a:pt x="243173" y="503873"/>
                    </a:cubicBezTo>
                    <a:close/>
                    <a:moveTo>
                      <a:pt x="326136" y="24765"/>
                    </a:moveTo>
                    <a:lnTo>
                      <a:pt x="318611" y="74009"/>
                    </a:lnTo>
                    <a:cubicBezTo>
                      <a:pt x="302800" y="71438"/>
                      <a:pt x="287084" y="70771"/>
                      <a:pt x="271844" y="72009"/>
                    </a:cubicBezTo>
                    <a:lnTo>
                      <a:pt x="266129" y="22384"/>
                    </a:lnTo>
                    <a:cubicBezTo>
                      <a:pt x="285750" y="20765"/>
                      <a:pt x="305848" y="21431"/>
                      <a:pt x="326136" y="24765"/>
                    </a:cubicBezTo>
                    <a:close/>
                    <a:moveTo>
                      <a:pt x="254508" y="23717"/>
                    </a:moveTo>
                    <a:lnTo>
                      <a:pt x="261842" y="73057"/>
                    </a:lnTo>
                    <a:cubicBezTo>
                      <a:pt x="246126" y="75152"/>
                      <a:pt x="230981" y="79153"/>
                      <a:pt x="216503" y="84773"/>
                    </a:cubicBezTo>
                    <a:lnTo>
                      <a:pt x="196596" y="38862"/>
                    </a:lnTo>
                    <a:cubicBezTo>
                      <a:pt x="214979" y="31433"/>
                      <a:pt x="234506" y="26384"/>
                      <a:pt x="254508" y="23717"/>
                    </a:cubicBezTo>
                    <a:close/>
                    <a:moveTo>
                      <a:pt x="185928" y="43529"/>
                    </a:moveTo>
                    <a:lnTo>
                      <a:pt x="207264" y="88678"/>
                    </a:lnTo>
                    <a:cubicBezTo>
                      <a:pt x="192977" y="95155"/>
                      <a:pt x="179546" y="103346"/>
                      <a:pt x="167354" y="113062"/>
                    </a:cubicBezTo>
                    <a:lnTo>
                      <a:pt x="134969" y="74962"/>
                    </a:lnTo>
                    <a:cubicBezTo>
                      <a:pt x="150590" y="62484"/>
                      <a:pt x="167735" y="51816"/>
                      <a:pt x="186023" y="43529"/>
                    </a:cubicBezTo>
                    <a:close/>
                    <a:moveTo>
                      <a:pt x="125825" y="82772"/>
                    </a:moveTo>
                    <a:lnTo>
                      <a:pt x="159639" y="119539"/>
                    </a:lnTo>
                    <a:cubicBezTo>
                      <a:pt x="147923" y="129826"/>
                      <a:pt x="137446" y="141542"/>
                      <a:pt x="128397" y="154400"/>
                    </a:cubicBezTo>
                    <a:lnTo>
                      <a:pt x="86297" y="127349"/>
                    </a:lnTo>
                    <a:cubicBezTo>
                      <a:pt x="97631" y="110776"/>
                      <a:pt x="110966" y="95822"/>
                      <a:pt x="125825" y="82677"/>
                    </a:cubicBezTo>
                    <a:close/>
                    <a:moveTo>
                      <a:pt x="55150" y="191738"/>
                    </a:moveTo>
                    <a:cubicBezTo>
                      <a:pt x="61246" y="172403"/>
                      <a:pt x="69533" y="154305"/>
                      <a:pt x="79820" y="137541"/>
                    </a:cubicBezTo>
                    <a:lnTo>
                      <a:pt x="122968" y="162878"/>
                    </a:lnTo>
                    <a:cubicBezTo>
                      <a:pt x="114776" y="176022"/>
                      <a:pt x="108204" y="190214"/>
                      <a:pt x="103251" y="205359"/>
                    </a:cubicBezTo>
                    <a:lnTo>
                      <a:pt x="55150" y="19173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68" name="Freeform: Shape 367">
              <a:extLst>
                <a:ext uri="{FF2B5EF4-FFF2-40B4-BE49-F238E27FC236}">
                  <a16:creationId xmlns:a16="http://schemas.microsoft.com/office/drawing/2014/main" id="{22F1DCAE-2126-476B-95AE-3D8629730182}"/>
                </a:ext>
              </a:extLst>
            </p:cNvPr>
            <p:cNvSpPr/>
            <p:nvPr/>
          </p:nvSpPr>
          <p:spPr>
            <a:xfrm>
              <a:off x="5630688" y="6248006"/>
              <a:ext cx="74580" cy="72771"/>
            </a:xfrm>
            <a:custGeom>
              <a:avLst/>
              <a:gdLst>
                <a:gd name="connsiteX0" fmla="*/ 37624 w 74580"/>
                <a:gd name="connsiteY0" fmla="*/ 0 h 72771"/>
                <a:gd name="connsiteX1" fmla="*/ 74581 w 74580"/>
                <a:gd name="connsiteY1" fmla="*/ 36290 h 72771"/>
                <a:gd name="connsiteX2" fmla="*/ 37433 w 74580"/>
                <a:gd name="connsiteY2" fmla="*/ 72771 h 72771"/>
                <a:gd name="connsiteX3" fmla="*/ 0 w 74580"/>
                <a:gd name="connsiteY3" fmla="*/ 36290 h 72771"/>
                <a:gd name="connsiteX4" fmla="*/ 37433 w 74580"/>
                <a:gd name="connsiteY4" fmla="*/ 0 h 72771"/>
                <a:gd name="connsiteX5" fmla="*/ 37624 w 74580"/>
                <a:gd name="connsiteY5" fmla="*/ 0 h 72771"/>
                <a:gd name="connsiteX6" fmla="*/ 37148 w 74580"/>
                <a:gd name="connsiteY6" fmla="*/ 7334 h 72771"/>
                <a:gd name="connsiteX7" fmla="*/ 9239 w 74580"/>
                <a:gd name="connsiteY7" fmla="*/ 36290 h 72771"/>
                <a:gd name="connsiteX8" fmla="*/ 37529 w 74580"/>
                <a:gd name="connsiteY8" fmla="*/ 65246 h 72771"/>
                <a:gd name="connsiteX9" fmla="*/ 65151 w 74580"/>
                <a:gd name="connsiteY9" fmla="*/ 36290 h 72771"/>
                <a:gd name="connsiteX10" fmla="*/ 37243 w 74580"/>
                <a:gd name="connsiteY10" fmla="*/ 7334 h 72771"/>
                <a:gd name="connsiteX11" fmla="*/ 37052 w 74580"/>
                <a:gd name="connsiteY11" fmla="*/ 7334 h 72771"/>
                <a:gd name="connsiteX12" fmla="*/ 31623 w 74580"/>
                <a:gd name="connsiteY12" fmla="*/ 55150 h 72771"/>
                <a:gd name="connsiteX13" fmla="*/ 23241 w 74580"/>
                <a:gd name="connsiteY13" fmla="*/ 55150 h 72771"/>
                <a:gd name="connsiteX14" fmla="*/ 23241 w 74580"/>
                <a:gd name="connsiteY14" fmla="*/ 19050 h 72771"/>
                <a:gd name="connsiteX15" fmla="*/ 37148 w 74580"/>
                <a:gd name="connsiteY15" fmla="*/ 17717 h 72771"/>
                <a:gd name="connsiteX16" fmla="*/ 49721 w 74580"/>
                <a:gd name="connsiteY16" fmla="*/ 20574 h 72771"/>
                <a:gd name="connsiteX17" fmla="*/ 53245 w 74580"/>
                <a:gd name="connsiteY17" fmla="*/ 28289 h 72771"/>
                <a:gd name="connsiteX18" fmla="*/ 45720 w 74580"/>
                <a:gd name="connsiteY18" fmla="*/ 36957 h 72771"/>
                <a:gd name="connsiteX19" fmla="*/ 45720 w 74580"/>
                <a:gd name="connsiteY19" fmla="*/ 37433 h 72771"/>
                <a:gd name="connsiteX20" fmla="*/ 52388 w 74580"/>
                <a:gd name="connsiteY20" fmla="*/ 46292 h 72771"/>
                <a:gd name="connsiteX21" fmla="*/ 55054 w 74580"/>
                <a:gd name="connsiteY21" fmla="*/ 55150 h 72771"/>
                <a:gd name="connsiteX22" fmla="*/ 46006 w 74580"/>
                <a:gd name="connsiteY22" fmla="*/ 55150 h 72771"/>
                <a:gd name="connsiteX23" fmla="*/ 43148 w 74580"/>
                <a:gd name="connsiteY23" fmla="*/ 46482 h 72771"/>
                <a:gd name="connsiteX24" fmla="*/ 35624 w 74580"/>
                <a:gd name="connsiteY24" fmla="*/ 40767 h 72771"/>
                <a:gd name="connsiteX25" fmla="*/ 31623 w 74580"/>
                <a:gd name="connsiteY25" fmla="*/ 40767 h 72771"/>
                <a:gd name="connsiteX26" fmla="*/ 31623 w 74580"/>
                <a:gd name="connsiteY26" fmla="*/ 55150 h 72771"/>
                <a:gd name="connsiteX27" fmla="*/ 31814 w 74580"/>
                <a:gd name="connsiteY27" fmla="*/ 34766 h 72771"/>
                <a:gd name="connsiteX28" fmla="*/ 35814 w 74580"/>
                <a:gd name="connsiteY28" fmla="*/ 34766 h 72771"/>
                <a:gd name="connsiteX29" fmla="*/ 44196 w 74580"/>
                <a:gd name="connsiteY29" fmla="*/ 29432 h 72771"/>
                <a:gd name="connsiteX30" fmla="*/ 36481 w 74580"/>
                <a:gd name="connsiteY30" fmla="*/ 23908 h 72771"/>
                <a:gd name="connsiteX31" fmla="*/ 31814 w 74580"/>
                <a:gd name="connsiteY31" fmla="*/ 24384 h 72771"/>
                <a:gd name="connsiteX32" fmla="*/ 31814 w 74580"/>
                <a:gd name="connsiteY32" fmla="*/ 34766 h 7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74580" h="72771">
                  <a:moveTo>
                    <a:pt x="37624" y="0"/>
                  </a:moveTo>
                  <a:cubicBezTo>
                    <a:pt x="58388" y="0"/>
                    <a:pt x="74581" y="16193"/>
                    <a:pt x="74581" y="36290"/>
                  </a:cubicBezTo>
                  <a:cubicBezTo>
                    <a:pt x="74581" y="56388"/>
                    <a:pt x="58388" y="72771"/>
                    <a:pt x="37433" y="72771"/>
                  </a:cubicBezTo>
                  <a:cubicBezTo>
                    <a:pt x="16478" y="72771"/>
                    <a:pt x="0" y="56864"/>
                    <a:pt x="0" y="36290"/>
                  </a:cubicBezTo>
                  <a:cubicBezTo>
                    <a:pt x="0" y="15716"/>
                    <a:pt x="16574" y="0"/>
                    <a:pt x="37433" y="0"/>
                  </a:cubicBezTo>
                  <a:lnTo>
                    <a:pt x="37624" y="0"/>
                  </a:lnTo>
                  <a:close/>
                  <a:moveTo>
                    <a:pt x="37148" y="7334"/>
                  </a:moveTo>
                  <a:cubicBezTo>
                    <a:pt x="21241" y="7334"/>
                    <a:pt x="9239" y="20384"/>
                    <a:pt x="9239" y="36290"/>
                  </a:cubicBezTo>
                  <a:cubicBezTo>
                    <a:pt x="9239" y="52197"/>
                    <a:pt x="21146" y="65246"/>
                    <a:pt x="37529" y="65246"/>
                  </a:cubicBezTo>
                  <a:cubicBezTo>
                    <a:pt x="53435" y="65437"/>
                    <a:pt x="65151" y="52388"/>
                    <a:pt x="65151" y="36290"/>
                  </a:cubicBezTo>
                  <a:cubicBezTo>
                    <a:pt x="65151" y="20193"/>
                    <a:pt x="53435" y="7334"/>
                    <a:pt x="37243" y="7334"/>
                  </a:cubicBezTo>
                  <a:lnTo>
                    <a:pt x="37052" y="7334"/>
                  </a:lnTo>
                  <a:close/>
                  <a:moveTo>
                    <a:pt x="31623" y="55150"/>
                  </a:moveTo>
                  <a:lnTo>
                    <a:pt x="23241" y="55150"/>
                  </a:lnTo>
                  <a:lnTo>
                    <a:pt x="23241" y="19050"/>
                  </a:lnTo>
                  <a:cubicBezTo>
                    <a:pt x="26575" y="18383"/>
                    <a:pt x="31242" y="17717"/>
                    <a:pt x="37148" y="17717"/>
                  </a:cubicBezTo>
                  <a:cubicBezTo>
                    <a:pt x="44006" y="17717"/>
                    <a:pt x="47149" y="18860"/>
                    <a:pt x="49721" y="20574"/>
                  </a:cubicBezTo>
                  <a:cubicBezTo>
                    <a:pt x="51721" y="22098"/>
                    <a:pt x="53245" y="24955"/>
                    <a:pt x="53245" y="28289"/>
                  </a:cubicBezTo>
                  <a:cubicBezTo>
                    <a:pt x="53245" y="32480"/>
                    <a:pt x="50102" y="35623"/>
                    <a:pt x="45720" y="36957"/>
                  </a:cubicBezTo>
                  <a:lnTo>
                    <a:pt x="45720" y="37433"/>
                  </a:lnTo>
                  <a:cubicBezTo>
                    <a:pt x="49244" y="38576"/>
                    <a:pt x="51245" y="41434"/>
                    <a:pt x="52388" y="46292"/>
                  </a:cubicBezTo>
                  <a:cubicBezTo>
                    <a:pt x="53531" y="51816"/>
                    <a:pt x="54197" y="54007"/>
                    <a:pt x="55054" y="55150"/>
                  </a:cubicBezTo>
                  <a:lnTo>
                    <a:pt x="46006" y="55150"/>
                  </a:lnTo>
                  <a:cubicBezTo>
                    <a:pt x="44863" y="53816"/>
                    <a:pt x="44196" y="50768"/>
                    <a:pt x="43148" y="46482"/>
                  </a:cubicBezTo>
                  <a:cubicBezTo>
                    <a:pt x="42482" y="42482"/>
                    <a:pt x="40291" y="40767"/>
                    <a:pt x="35624" y="40767"/>
                  </a:cubicBezTo>
                  <a:lnTo>
                    <a:pt x="31623" y="40767"/>
                  </a:lnTo>
                  <a:lnTo>
                    <a:pt x="31623" y="55150"/>
                  </a:lnTo>
                  <a:close/>
                  <a:moveTo>
                    <a:pt x="31814" y="34766"/>
                  </a:moveTo>
                  <a:lnTo>
                    <a:pt x="35814" y="34766"/>
                  </a:lnTo>
                  <a:cubicBezTo>
                    <a:pt x="40481" y="34766"/>
                    <a:pt x="44196" y="33242"/>
                    <a:pt x="44196" y="29432"/>
                  </a:cubicBezTo>
                  <a:cubicBezTo>
                    <a:pt x="44196" y="26098"/>
                    <a:pt x="41815" y="23908"/>
                    <a:pt x="36481" y="23908"/>
                  </a:cubicBezTo>
                  <a:cubicBezTo>
                    <a:pt x="34290" y="23908"/>
                    <a:pt x="32766" y="24098"/>
                    <a:pt x="31814" y="24384"/>
                  </a:cubicBezTo>
                  <a:lnTo>
                    <a:pt x="31814" y="34766"/>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393" name="Group 392">
            <a:extLst>
              <a:ext uri="{FF2B5EF4-FFF2-40B4-BE49-F238E27FC236}">
                <a16:creationId xmlns:a16="http://schemas.microsoft.com/office/drawing/2014/main" id="{F596C653-C2FE-43A0-88E7-FDFC0D2E104B}"/>
              </a:ext>
            </a:extLst>
          </p:cNvPr>
          <p:cNvGrpSpPr/>
          <p:nvPr userDrawn="1"/>
        </p:nvGrpSpPr>
        <p:grpSpPr>
          <a:xfrm>
            <a:off x="9804275" y="4398106"/>
            <a:ext cx="1281204" cy="169341"/>
            <a:chOff x="9992205" y="4084310"/>
            <a:chExt cx="1825540" cy="241287"/>
          </a:xfrm>
        </p:grpSpPr>
        <p:grpSp>
          <p:nvGrpSpPr>
            <p:cNvPr id="394" name="Graphic 692">
              <a:extLst>
                <a:ext uri="{FF2B5EF4-FFF2-40B4-BE49-F238E27FC236}">
                  <a16:creationId xmlns:a16="http://schemas.microsoft.com/office/drawing/2014/main" id="{69603C42-0E43-40E6-BEF8-900AD1492167}"/>
                </a:ext>
              </a:extLst>
            </p:cNvPr>
            <p:cNvGrpSpPr/>
            <p:nvPr/>
          </p:nvGrpSpPr>
          <p:grpSpPr>
            <a:xfrm>
              <a:off x="9992205" y="4123618"/>
              <a:ext cx="332683" cy="174048"/>
              <a:chOff x="9992205" y="4123618"/>
              <a:chExt cx="332683" cy="174048"/>
            </a:xfrm>
            <a:solidFill>
              <a:srgbClr val="FFFFFF"/>
            </a:solidFill>
          </p:grpSpPr>
          <p:sp>
            <p:nvSpPr>
              <p:cNvPr id="420" name="Freeform: Shape 419">
                <a:extLst>
                  <a:ext uri="{FF2B5EF4-FFF2-40B4-BE49-F238E27FC236}">
                    <a16:creationId xmlns:a16="http://schemas.microsoft.com/office/drawing/2014/main" id="{B4E35D74-D7BD-47C5-8044-B28AFD7B9AC4}"/>
                  </a:ext>
                </a:extLst>
              </p:cNvPr>
              <p:cNvSpPr/>
              <p:nvPr/>
            </p:nvSpPr>
            <p:spPr>
              <a:xfrm>
                <a:off x="10101224" y="4127706"/>
                <a:ext cx="8975" cy="3158"/>
              </a:xfrm>
              <a:custGeom>
                <a:avLst/>
                <a:gdLst>
                  <a:gd name="connsiteX0" fmla="*/ 0 w 8975"/>
                  <a:gd name="connsiteY0" fmla="*/ 0 h 3158"/>
                  <a:gd name="connsiteX1" fmla="*/ 8976 w 8975"/>
                  <a:gd name="connsiteY1" fmla="*/ 3159 h 3158"/>
                  <a:gd name="connsiteX2" fmla="*/ 0 w 8975"/>
                  <a:gd name="connsiteY2" fmla="*/ 0 h 3158"/>
                </a:gdLst>
                <a:ahLst/>
                <a:cxnLst>
                  <a:cxn ang="0">
                    <a:pos x="connsiteX0" y="connsiteY0"/>
                  </a:cxn>
                  <a:cxn ang="0">
                    <a:pos x="connsiteX1" y="connsiteY1"/>
                  </a:cxn>
                  <a:cxn ang="0">
                    <a:pos x="connsiteX2" y="connsiteY2"/>
                  </a:cxn>
                </a:cxnLst>
                <a:rect l="l" t="t" r="r" b="b"/>
                <a:pathLst>
                  <a:path w="8975" h="3158">
                    <a:moveTo>
                      <a:pt x="0" y="0"/>
                    </a:moveTo>
                    <a:cubicBezTo>
                      <a:pt x="3024" y="867"/>
                      <a:pt x="6010" y="1926"/>
                      <a:pt x="8976" y="3159"/>
                    </a:cubicBezTo>
                    <a:cubicBezTo>
                      <a:pt x="6010" y="1926"/>
                      <a:pt x="3024" y="867"/>
                      <a:pt x="0"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1" name="Freeform: Shape 420">
                <a:extLst>
                  <a:ext uri="{FF2B5EF4-FFF2-40B4-BE49-F238E27FC236}">
                    <a16:creationId xmlns:a16="http://schemas.microsoft.com/office/drawing/2014/main" id="{1EE7F36B-018B-4D7A-9648-6F74FD5466DF}"/>
                  </a:ext>
                </a:extLst>
              </p:cNvPr>
              <p:cNvSpPr/>
              <p:nvPr/>
            </p:nvSpPr>
            <p:spPr>
              <a:xfrm>
                <a:off x="10123336" y="4137606"/>
                <a:ext cx="4276" cy="2773"/>
              </a:xfrm>
              <a:custGeom>
                <a:avLst/>
                <a:gdLst>
                  <a:gd name="connsiteX0" fmla="*/ 4276 w 4276"/>
                  <a:gd name="connsiteY0" fmla="*/ 2774 h 2773"/>
                  <a:gd name="connsiteX1" fmla="*/ 0 w 4276"/>
                  <a:gd name="connsiteY1" fmla="*/ 0 h 2773"/>
                  <a:gd name="connsiteX2" fmla="*/ 4276 w 4276"/>
                  <a:gd name="connsiteY2" fmla="*/ 2774 h 2773"/>
                  <a:gd name="connsiteX3" fmla="*/ 4276 w 4276"/>
                  <a:gd name="connsiteY3" fmla="*/ 2774 h 2773"/>
                </a:gdLst>
                <a:ahLst/>
                <a:cxnLst>
                  <a:cxn ang="0">
                    <a:pos x="connsiteX0" y="connsiteY0"/>
                  </a:cxn>
                  <a:cxn ang="0">
                    <a:pos x="connsiteX1" y="connsiteY1"/>
                  </a:cxn>
                  <a:cxn ang="0">
                    <a:pos x="connsiteX2" y="connsiteY2"/>
                  </a:cxn>
                  <a:cxn ang="0">
                    <a:pos x="connsiteX3" y="connsiteY3"/>
                  </a:cxn>
                </a:cxnLst>
                <a:rect l="l" t="t" r="r" b="b"/>
                <a:pathLst>
                  <a:path w="4276" h="2773">
                    <a:moveTo>
                      <a:pt x="4276" y="2774"/>
                    </a:moveTo>
                    <a:cubicBezTo>
                      <a:pt x="2851" y="1811"/>
                      <a:pt x="1425" y="886"/>
                      <a:pt x="0" y="0"/>
                    </a:cubicBezTo>
                    <a:cubicBezTo>
                      <a:pt x="1425" y="886"/>
                      <a:pt x="2870" y="1811"/>
                      <a:pt x="4276" y="2774"/>
                    </a:cubicBezTo>
                    <a:lnTo>
                      <a:pt x="4276" y="2774"/>
                    </a:ln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2" name="Freeform: Shape 421">
                <a:extLst>
                  <a:ext uri="{FF2B5EF4-FFF2-40B4-BE49-F238E27FC236}">
                    <a16:creationId xmlns:a16="http://schemas.microsoft.com/office/drawing/2014/main" id="{80E5FF37-79B4-44B2-BD31-F085159EA131}"/>
                  </a:ext>
                </a:extLst>
              </p:cNvPr>
              <p:cNvSpPr/>
              <p:nvPr/>
            </p:nvSpPr>
            <p:spPr>
              <a:xfrm>
                <a:off x="10110200" y="4130864"/>
                <a:ext cx="13117" cy="6741"/>
              </a:xfrm>
              <a:custGeom>
                <a:avLst/>
                <a:gdLst>
                  <a:gd name="connsiteX0" fmla="*/ 0 w 13117"/>
                  <a:gd name="connsiteY0" fmla="*/ 0 h 6741"/>
                  <a:gd name="connsiteX1" fmla="*/ 13117 w 13117"/>
                  <a:gd name="connsiteY1" fmla="*/ 6742 h 6741"/>
                  <a:gd name="connsiteX2" fmla="*/ 0 w 13117"/>
                  <a:gd name="connsiteY2" fmla="*/ 0 h 6741"/>
                </a:gdLst>
                <a:ahLst/>
                <a:cxnLst>
                  <a:cxn ang="0">
                    <a:pos x="connsiteX0" y="connsiteY0"/>
                  </a:cxn>
                  <a:cxn ang="0">
                    <a:pos x="connsiteX1" y="connsiteY1"/>
                  </a:cxn>
                  <a:cxn ang="0">
                    <a:pos x="connsiteX2" y="connsiteY2"/>
                  </a:cxn>
                </a:cxnLst>
                <a:rect l="l" t="t" r="r" b="b"/>
                <a:pathLst>
                  <a:path w="13117" h="6741">
                    <a:moveTo>
                      <a:pt x="0" y="0"/>
                    </a:moveTo>
                    <a:cubicBezTo>
                      <a:pt x="4449" y="1849"/>
                      <a:pt x="8822" y="4103"/>
                      <a:pt x="13117" y="6742"/>
                    </a:cubicBezTo>
                    <a:cubicBezTo>
                      <a:pt x="8822" y="4103"/>
                      <a:pt x="4430" y="1849"/>
                      <a:pt x="0"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3" name="Freeform: Shape 422">
                <a:extLst>
                  <a:ext uri="{FF2B5EF4-FFF2-40B4-BE49-F238E27FC236}">
                    <a16:creationId xmlns:a16="http://schemas.microsoft.com/office/drawing/2014/main" id="{5C14B565-1768-4FEA-8EDE-267A08CAC7A7}"/>
                  </a:ext>
                </a:extLst>
              </p:cNvPr>
              <p:cNvSpPr/>
              <p:nvPr/>
            </p:nvSpPr>
            <p:spPr>
              <a:xfrm>
                <a:off x="9992205" y="4124531"/>
                <a:ext cx="135427" cy="172270"/>
              </a:xfrm>
              <a:custGeom>
                <a:avLst/>
                <a:gdLst>
                  <a:gd name="connsiteX0" fmla="*/ 34632 w 135427"/>
                  <a:gd name="connsiteY0" fmla="*/ 155166 h 172270"/>
                  <a:gd name="connsiteX1" fmla="*/ 96654 w 135427"/>
                  <a:gd name="connsiteY1" fmla="*/ 171596 h 172270"/>
                  <a:gd name="connsiteX2" fmla="*/ 134946 w 135427"/>
                  <a:gd name="connsiteY2" fmla="*/ 157054 h 172270"/>
                  <a:gd name="connsiteX3" fmla="*/ 128975 w 135427"/>
                  <a:gd name="connsiteY3" fmla="*/ 151507 h 172270"/>
                  <a:gd name="connsiteX4" fmla="*/ 111967 w 135427"/>
                  <a:gd name="connsiteY4" fmla="*/ 131013 h 172270"/>
                  <a:gd name="connsiteX5" fmla="*/ 100968 w 135427"/>
                  <a:gd name="connsiteY5" fmla="*/ 101119 h 172270"/>
                  <a:gd name="connsiteX6" fmla="*/ 100217 w 135427"/>
                  <a:gd name="connsiteY6" fmla="*/ 78621 h 172270"/>
                  <a:gd name="connsiteX7" fmla="*/ 110021 w 135427"/>
                  <a:gd name="connsiteY7" fmla="*/ 45742 h 172270"/>
                  <a:gd name="connsiteX8" fmla="*/ 133867 w 135427"/>
                  <a:gd name="connsiteY8" fmla="*/ 17640 h 172270"/>
                  <a:gd name="connsiteX9" fmla="*/ 135427 w 135427"/>
                  <a:gd name="connsiteY9" fmla="*/ 15810 h 172270"/>
                  <a:gd name="connsiteX10" fmla="*/ 131151 w 135427"/>
                  <a:gd name="connsiteY10" fmla="*/ 13036 h 172270"/>
                  <a:gd name="connsiteX11" fmla="*/ 118034 w 135427"/>
                  <a:gd name="connsiteY11" fmla="*/ 6295 h 172270"/>
                  <a:gd name="connsiteX12" fmla="*/ 109058 w 135427"/>
                  <a:gd name="connsiteY12" fmla="*/ 3136 h 172270"/>
                  <a:gd name="connsiteX13" fmla="*/ 61771 w 135427"/>
                  <a:gd name="connsiteY13" fmla="*/ 3887 h 172270"/>
                  <a:gd name="connsiteX14" fmla="*/ 2234 w 135427"/>
                  <a:gd name="connsiteY14" fmla="*/ 67334 h 172270"/>
                  <a:gd name="connsiteX15" fmla="*/ 0 w 135427"/>
                  <a:gd name="connsiteY15" fmla="*/ 81376 h 172270"/>
                  <a:gd name="connsiteX16" fmla="*/ 0 w 135427"/>
                  <a:gd name="connsiteY16" fmla="*/ 92933 h 172270"/>
                  <a:gd name="connsiteX17" fmla="*/ 1348 w 135427"/>
                  <a:gd name="connsiteY17" fmla="*/ 100965 h 172270"/>
                  <a:gd name="connsiteX18" fmla="*/ 34632 w 135427"/>
                  <a:gd name="connsiteY18" fmla="*/ 155166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427" h="172270">
                    <a:moveTo>
                      <a:pt x="34632" y="155166"/>
                    </a:moveTo>
                    <a:cubicBezTo>
                      <a:pt x="53007" y="168919"/>
                      <a:pt x="73810" y="174293"/>
                      <a:pt x="96654" y="171596"/>
                    </a:cubicBezTo>
                    <a:cubicBezTo>
                      <a:pt x="110638" y="169940"/>
                      <a:pt x="123389" y="165067"/>
                      <a:pt x="134946" y="157054"/>
                    </a:cubicBezTo>
                    <a:cubicBezTo>
                      <a:pt x="132962" y="155205"/>
                      <a:pt x="131036" y="153279"/>
                      <a:pt x="128975" y="151507"/>
                    </a:cubicBezTo>
                    <a:cubicBezTo>
                      <a:pt x="122098" y="145670"/>
                      <a:pt x="116609" y="138698"/>
                      <a:pt x="111967" y="131013"/>
                    </a:cubicBezTo>
                    <a:cubicBezTo>
                      <a:pt x="106400" y="121767"/>
                      <a:pt x="102798" y="111751"/>
                      <a:pt x="100968" y="101119"/>
                    </a:cubicBezTo>
                    <a:cubicBezTo>
                      <a:pt x="99697" y="93665"/>
                      <a:pt x="99582" y="86191"/>
                      <a:pt x="100217" y="78621"/>
                    </a:cubicBezTo>
                    <a:cubicBezTo>
                      <a:pt x="101200" y="66949"/>
                      <a:pt x="104570" y="56047"/>
                      <a:pt x="110021" y="45742"/>
                    </a:cubicBezTo>
                    <a:cubicBezTo>
                      <a:pt x="115915" y="34628"/>
                      <a:pt x="123909" y="25325"/>
                      <a:pt x="133867" y="17640"/>
                    </a:cubicBezTo>
                    <a:cubicBezTo>
                      <a:pt x="134483" y="17158"/>
                      <a:pt x="134907" y="16426"/>
                      <a:pt x="135427" y="15810"/>
                    </a:cubicBezTo>
                    <a:cubicBezTo>
                      <a:pt x="134002" y="14847"/>
                      <a:pt x="132576" y="13922"/>
                      <a:pt x="131151" y="13036"/>
                    </a:cubicBezTo>
                    <a:cubicBezTo>
                      <a:pt x="126856" y="10397"/>
                      <a:pt x="122464" y="8144"/>
                      <a:pt x="118034" y="6295"/>
                    </a:cubicBezTo>
                    <a:cubicBezTo>
                      <a:pt x="115068" y="5062"/>
                      <a:pt x="112082" y="4003"/>
                      <a:pt x="109058" y="3136"/>
                    </a:cubicBezTo>
                    <a:cubicBezTo>
                      <a:pt x="93957" y="-1237"/>
                      <a:pt x="78124" y="-1082"/>
                      <a:pt x="61771" y="3887"/>
                    </a:cubicBezTo>
                    <a:cubicBezTo>
                      <a:pt x="30086" y="13537"/>
                      <a:pt x="10286" y="35187"/>
                      <a:pt x="2234" y="67334"/>
                    </a:cubicBezTo>
                    <a:cubicBezTo>
                      <a:pt x="1098" y="71918"/>
                      <a:pt x="732" y="76695"/>
                      <a:pt x="0" y="81376"/>
                    </a:cubicBezTo>
                    <a:lnTo>
                      <a:pt x="0" y="92933"/>
                    </a:lnTo>
                    <a:cubicBezTo>
                      <a:pt x="443" y="95610"/>
                      <a:pt x="867" y="98287"/>
                      <a:pt x="1348" y="100965"/>
                    </a:cubicBezTo>
                    <a:cubicBezTo>
                      <a:pt x="5335" y="123385"/>
                      <a:pt x="16449" y="141568"/>
                      <a:pt x="34632" y="155166"/>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4" name="Freeform: Shape 423">
                <a:extLst>
                  <a:ext uri="{FF2B5EF4-FFF2-40B4-BE49-F238E27FC236}">
                    <a16:creationId xmlns:a16="http://schemas.microsoft.com/office/drawing/2014/main" id="{A842AC78-C255-428D-BD86-04BA328DA16F}"/>
                  </a:ext>
                </a:extLst>
              </p:cNvPr>
              <p:cNvSpPr/>
              <p:nvPr/>
            </p:nvSpPr>
            <p:spPr>
              <a:xfrm>
                <a:off x="10092025" y="4124709"/>
                <a:ext cx="135939" cy="172957"/>
              </a:xfrm>
              <a:custGeom>
                <a:avLst/>
                <a:gdLst>
                  <a:gd name="connsiteX0" fmla="*/ 34027 w 135939"/>
                  <a:gd name="connsiteY0" fmla="*/ 17481 h 172957"/>
                  <a:gd name="connsiteX1" fmla="*/ 10181 w 135939"/>
                  <a:gd name="connsiteY1" fmla="*/ 45584 h 172957"/>
                  <a:gd name="connsiteX2" fmla="*/ 377 w 135939"/>
                  <a:gd name="connsiteY2" fmla="*/ 78463 h 172957"/>
                  <a:gd name="connsiteX3" fmla="*/ 1128 w 135939"/>
                  <a:gd name="connsiteY3" fmla="*/ 100960 h 172957"/>
                  <a:gd name="connsiteX4" fmla="*/ 12127 w 135939"/>
                  <a:gd name="connsiteY4" fmla="*/ 130854 h 172957"/>
                  <a:gd name="connsiteX5" fmla="*/ 29134 w 135939"/>
                  <a:gd name="connsiteY5" fmla="*/ 151348 h 172957"/>
                  <a:gd name="connsiteX6" fmla="*/ 35105 w 135939"/>
                  <a:gd name="connsiteY6" fmla="*/ 156896 h 172957"/>
                  <a:gd name="connsiteX7" fmla="*/ 37744 w 135939"/>
                  <a:gd name="connsiteY7" fmla="*/ 157897 h 172957"/>
                  <a:gd name="connsiteX8" fmla="*/ 90251 w 135939"/>
                  <a:gd name="connsiteY8" fmla="*/ 172883 h 172957"/>
                  <a:gd name="connsiteX9" fmla="*/ 135939 w 135939"/>
                  <a:gd name="connsiteY9" fmla="*/ 157531 h 172957"/>
                  <a:gd name="connsiteX10" fmla="*/ 127368 w 135939"/>
                  <a:gd name="connsiteY10" fmla="*/ 150616 h 172957"/>
                  <a:gd name="connsiteX11" fmla="*/ 98649 w 135939"/>
                  <a:gd name="connsiteY11" fmla="*/ 99419 h 172957"/>
                  <a:gd name="connsiteX12" fmla="*/ 115271 w 135939"/>
                  <a:gd name="connsiteY12" fmla="*/ 32467 h 172957"/>
                  <a:gd name="connsiteX13" fmla="*/ 134051 w 135939"/>
                  <a:gd name="connsiteY13" fmla="*/ 14226 h 172957"/>
                  <a:gd name="connsiteX14" fmla="*/ 90078 w 135939"/>
                  <a:gd name="connsiteY14" fmla="*/ 69 h 172957"/>
                  <a:gd name="connsiteX15" fmla="*/ 38014 w 135939"/>
                  <a:gd name="connsiteY15" fmla="*/ 14920 h 172957"/>
                  <a:gd name="connsiteX16" fmla="*/ 36203 w 135939"/>
                  <a:gd name="connsiteY16" fmla="*/ 15536 h 172957"/>
                  <a:gd name="connsiteX17" fmla="*/ 35568 w 135939"/>
                  <a:gd name="connsiteY17" fmla="*/ 15709 h 172957"/>
                  <a:gd name="connsiteX18" fmla="*/ 35568 w 135939"/>
                  <a:gd name="connsiteY18" fmla="*/ 15709 h 172957"/>
                  <a:gd name="connsiteX19" fmla="*/ 34008 w 135939"/>
                  <a:gd name="connsiteY19" fmla="*/ 17539 h 17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39" h="172957">
                    <a:moveTo>
                      <a:pt x="34027" y="17481"/>
                    </a:moveTo>
                    <a:cubicBezTo>
                      <a:pt x="24088" y="25147"/>
                      <a:pt x="16075" y="34470"/>
                      <a:pt x="10181" y="45584"/>
                    </a:cubicBezTo>
                    <a:cubicBezTo>
                      <a:pt x="4730" y="55889"/>
                      <a:pt x="1340" y="66771"/>
                      <a:pt x="377" y="78463"/>
                    </a:cubicBezTo>
                    <a:cubicBezTo>
                      <a:pt x="-259" y="86014"/>
                      <a:pt x="-143" y="93506"/>
                      <a:pt x="1128" y="100960"/>
                    </a:cubicBezTo>
                    <a:cubicBezTo>
                      <a:pt x="2939" y="111593"/>
                      <a:pt x="6541" y="121589"/>
                      <a:pt x="12127" y="130854"/>
                    </a:cubicBezTo>
                    <a:cubicBezTo>
                      <a:pt x="16749" y="138539"/>
                      <a:pt x="22258" y="145512"/>
                      <a:pt x="29134" y="151348"/>
                    </a:cubicBezTo>
                    <a:cubicBezTo>
                      <a:pt x="31195" y="153101"/>
                      <a:pt x="33121" y="155027"/>
                      <a:pt x="35105" y="156896"/>
                    </a:cubicBezTo>
                    <a:cubicBezTo>
                      <a:pt x="35991" y="157223"/>
                      <a:pt x="36993" y="157396"/>
                      <a:pt x="37744" y="157897"/>
                    </a:cubicBezTo>
                    <a:cubicBezTo>
                      <a:pt x="53654" y="168491"/>
                      <a:pt x="71067" y="173653"/>
                      <a:pt x="90251" y="172883"/>
                    </a:cubicBezTo>
                    <a:cubicBezTo>
                      <a:pt x="107008" y="172189"/>
                      <a:pt x="122167" y="166969"/>
                      <a:pt x="135939" y="157531"/>
                    </a:cubicBezTo>
                    <a:cubicBezTo>
                      <a:pt x="133069" y="155239"/>
                      <a:pt x="130141" y="153024"/>
                      <a:pt x="127368" y="150616"/>
                    </a:cubicBezTo>
                    <a:cubicBezTo>
                      <a:pt x="111631" y="137018"/>
                      <a:pt x="101923" y="119817"/>
                      <a:pt x="98649" y="99419"/>
                    </a:cubicBezTo>
                    <a:cubicBezTo>
                      <a:pt x="94720" y="74900"/>
                      <a:pt x="100344" y="52441"/>
                      <a:pt x="115271" y="32467"/>
                    </a:cubicBezTo>
                    <a:cubicBezTo>
                      <a:pt x="120549" y="25398"/>
                      <a:pt x="127079" y="19581"/>
                      <a:pt x="134051" y="14226"/>
                    </a:cubicBezTo>
                    <a:cubicBezTo>
                      <a:pt x="120703" y="5462"/>
                      <a:pt x="106007" y="685"/>
                      <a:pt x="90078" y="69"/>
                    </a:cubicBezTo>
                    <a:cubicBezTo>
                      <a:pt x="71144" y="-663"/>
                      <a:pt x="53789" y="4441"/>
                      <a:pt x="38014" y="14920"/>
                    </a:cubicBezTo>
                    <a:cubicBezTo>
                      <a:pt x="37494" y="15266"/>
                      <a:pt x="36839" y="15382"/>
                      <a:pt x="36203" y="15536"/>
                    </a:cubicBezTo>
                    <a:cubicBezTo>
                      <a:pt x="35991" y="15594"/>
                      <a:pt x="35780" y="15632"/>
                      <a:pt x="35568" y="15709"/>
                    </a:cubicBezTo>
                    <a:lnTo>
                      <a:pt x="35568" y="15709"/>
                    </a:lnTo>
                    <a:cubicBezTo>
                      <a:pt x="35048" y="16326"/>
                      <a:pt x="34624" y="17058"/>
                      <a:pt x="34008" y="17539"/>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5" name="Freeform: Shape 424">
                <a:extLst>
                  <a:ext uri="{FF2B5EF4-FFF2-40B4-BE49-F238E27FC236}">
                    <a16:creationId xmlns:a16="http://schemas.microsoft.com/office/drawing/2014/main" id="{293DF2F8-E90D-45E6-806C-B131FA732CE4}"/>
                  </a:ext>
                </a:extLst>
              </p:cNvPr>
              <p:cNvSpPr/>
              <p:nvPr/>
            </p:nvSpPr>
            <p:spPr>
              <a:xfrm>
                <a:off x="10127612" y="4140206"/>
                <a:ext cx="635" cy="173"/>
              </a:xfrm>
              <a:custGeom>
                <a:avLst/>
                <a:gdLst>
                  <a:gd name="connsiteX0" fmla="*/ 636 w 635"/>
                  <a:gd name="connsiteY0" fmla="*/ 0 h 173"/>
                  <a:gd name="connsiteX1" fmla="*/ 0 w 635"/>
                  <a:gd name="connsiteY1" fmla="*/ 173 h 173"/>
                  <a:gd name="connsiteX2" fmla="*/ 0 w 635"/>
                  <a:gd name="connsiteY2" fmla="*/ 173 h 173"/>
                  <a:gd name="connsiteX3" fmla="*/ 636 w 635"/>
                  <a:gd name="connsiteY3" fmla="*/ 0 h 173"/>
                </a:gdLst>
                <a:ahLst/>
                <a:cxnLst>
                  <a:cxn ang="0">
                    <a:pos x="connsiteX0" y="connsiteY0"/>
                  </a:cxn>
                  <a:cxn ang="0">
                    <a:pos x="connsiteX1" y="connsiteY1"/>
                  </a:cxn>
                  <a:cxn ang="0">
                    <a:pos x="connsiteX2" y="connsiteY2"/>
                  </a:cxn>
                  <a:cxn ang="0">
                    <a:pos x="connsiteX3" y="connsiteY3"/>
                  </a:cxn>
                </a:cxnLst>
                <a:rect l="l" t="t" r="r" b="b"/>
                <a:pathLst>
                  <a:path w="635" h="173">
                    <a:moveTo>
                      <a:pt x="636" y="0"/>
                    </a:moveTo>
                    <a:cubicBezTo>
                      <a:pt x="424" y="58"/>
                      <a:pt x="212" y="96"/>
                      <a:pt x="0" y="173"/>
                    </a:cubicBezTo>
                    <a:lnTo>
                      <a:pt x="0" y="173"/>
                    </a:lnTo>
                    <a:cubicBezTo>
                      <a:pt x="212" y="116"/>
                      <a:pt x="424" y="58"/>
                      <a:pt x="636" y="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6" name="Freeform: Shape 425">
                <a:extLst>
                  <a:ext uri="{FF2B5EF4-FFF2-40B4-BE49-F238E27FC236}">
                    <a16:creationId xmlns:a16="http://schemas.microsoft.com/office/drawing/2014/main" id="{BBC04088-5F7B-407D-B2E1-AD71F8A4D1D0}"/>
                  </a:ext>
                </a:extLst>
              </p:cNvPr>
              <p:cNvSpPr/>
              <p:nvPr/>
            </p:nvSpPr>
            <p:spPr>
              <a:xfrm>
                <a:off x="10189499" y="4123618"/>
                <a:ext cx="135389" cy="172494"/>
              </a:xfrm>
              <a:custGeom>
                <a:avLst/>
                <a:gdLst>
                  <a:gd name="connsiteX0" fmla="*/ 17837 w 135389"/>
                  <a:gd name="connsiteY0" fmla="*/ 33500 h 172494"/>
                  <a:gd name="connsiteX1" fmla="*/ 1214 w 135389"/>
                  <a:gd name="connsiteY1" fmla="*/ 100453 h 172494"/>
                  <a:gd name="connsiteX2" fmla="*/ 29933 w 135389"/>
                  <a:gd name="connsiteY2" fmla="*/ 151649 h 172494"/>
                  <a:gd name="connsiteX3" fmla="*/ 38504 w 135389"/>
                  <a:gd name="connsiteY3" fmla="*/ 158564 h 172494"/>
                  <a:gd name="connsiteX4" fmla="*/ 41471 w 135389"/>
                  <a:gd name="connsiteY4" fmla="*/ 159547 h 172494"/>
                  <a:gd name="connsiteX5" fmla="*/ 48867 w 135389"/>
                  <a:gd name="connsiteY5" fmla="*/ 163707 h 172494"/>
                  <a:gd name="connsiteX6" fmla="*/ 74851 w 135389"/>
                  <a:gd name="connsiteY6" fmla="*/ 171643 h 172494"/>
                  <a:gd name="connsiteX7" fmla="*/ 100950 w 135389"/>
                  <a:gd name="connsiteY7" fmla="*/ 171373 h 172494"/>
                  <a:gd name="connsiteX8" fmla="*/ 128532 w 135389"/>
                  <a:gd name="connsiteY8" fmla="*/ 161608 h 172494"/>
                  <a:gd name="connsiteX9" fmla="*/ 134292 w 135389"/>
                  <a:gd name="connsiteY9" fmla="*/ 158006 h 172494"/>
                  <a:gd name="connsiteX10" fmla="*/ 98234 w 135389"/>
                  <a:gd name="connsiteY10" fmla="*/ 86064 h 172494"/>
                  <a:gd name="connsiteX11" fmla="*/ 135389 w 135389"/>
                  <a:gd name="connsiteY11" fmla="*/ 15105 h 172494"/>
                  <a:gd name="connsiteX12" fmla="*/ 119422 w 135389"/>
                  <a:gd name="connsiteY12" fmla="*/ 6418 h 172494"/>
                  <a:gd name="connsiteX13" fmla="*/ 87717 w 135389"/>
                  <a:gd name="connsiteY13" fmla="*/ 4 h 172494"/>
                  <a:gd name="connsiteX14" fmla="*/ 71730 w 135389"/>
                  <a:gd name="connsiteY14" fmla="*/ 1372 h 172494"/>
                  <a:gd name="connsiteX15" fmla="*/ 43647 w 135389"/>
                  <a:gd name="connsiteY15" fmla="*/ 11599 h 172494"/>
                  <a:gd name="connsiteX16" fmla="*/ 36636 w 135389"/>
                  <a:gd name="connsiteY16" fmla="*/ 15240 h 172494"/>
                  <a:gd name="connsiteX17" fmla="*/ 17856 w 135389"/>
                  <a:gd name="connsiteY17" fmla="*/ 33480 h 1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389" h="172494">
                    <a:moveTo>
                      <a:pt x="17837" y="33500"/>
                    </a:moveTo>
                    <a:cubicBezTo>
                      <a:pt x="2909" y="53474"/>
                      <a:pt x="-2715" y="75952"/>
                      <a:pt x="1214" y="100453"/>
                    </a:cubicBezTo>
                    <a:cubicBezTo>
                      <a:pt x="4489" y="120870"/>
                      <a:pt x="14177" y="138051"/>
                      <a:pt x="29933" y="151649"/>
                    </a:cubicBezTo>
                    <a:cubicBezTo>
                      <a:pt x="32707" y="154057"/>
                      <a:pt x="35654" y="156272"/>
                      <a:pt x="38504" y="158564"/>
                    </a:cubicBezTo>
                    <a:cubicBezTo>
                      <a:pt x="39506" y="158872"/>
                      <a:pt x="40565" y="159065"/>
                      <a:pt x="41471" y="159547"/>
                    </a:cubicBezTo>
                    <a:cubicBezTo>
                      <a:pt x="43975" y="160876"/>
                      <a:pt x="46305" y="162513"/>
                      <a:pt x="48867" y="163707"/>
                    </a:cubicBezTo>
                    <a:cubicBezTo>
                      <a:pt x="57130" y="167598"/>
                      <a:pt x="65721" y="170372"/>
                      <a:pt x="74851" y="171643"/>
                    </a:cubicBezTo>
                    <a:cubicBezTo>
                      <a:pt x="83595" y="172856"/>
                      <a:pt x="92302" y="172779"/>
                      <a:pt x="100950" y="171373"/>
                    </a:cubicBezTo>
                    <a:cubicBezTo>
                      <a:pt x="110696" y="169794"/>
                      <a:pt x="119884" y="166423"/>
                      <a:pt x="128532" y="161608"/>
                    </a:cubicBezTo>
                    <a:cubicBezTo>
                      <a:pt x="130478" y="160529"/>
                      <a:pt x="132308" y="159258"/>
                      <a:pt x="134292" y="158006"/>
                    </a:cubicBezTo>
                    <a:cubicBezTo>
                      <a:pt x="110446" y="139573"/>
                      <a:pt x="97964" y="115823"/>
                      <a:pt x="98234" y="86064"/>
                    </a:cubicBezTo>
                    <a:cubicBezTo>
                      <a:pt x="98504" y="56363"/>
                      <a:pt x="111505" y="32922"/>
                      <a:pt x="135389" y="15105"/>
                    </a:cubicBezTo>
                    <a:cubicBezTo>
                      <a:pt x="130227" y="11407"/>
                      <a:pt x="124950" y="8691"/>
                      <a:pt x="119422" y="6418"/>
                    </a:cubicBezTo>
                    <a:cubicBezTo>
                      <a:pt x="109271" y="2219"/>
                      <a:pt x="98696" y="-111"/>
                      <a:pt x="87717" y="4"/>
                    </a:cubicBezTo>
                    <a:cubicBezTo>
                      <a:pt x="82382" y="62"/>
                      <a:pt x="77027" y="601"/>
                      <a:pt x="71730" y="1372"/>
                    </a:cubicBezTo>
                    <a:cubicBezTo>
                      <a:pt x="61695" y="2836"/>
                      <a:pt x="52411" y="6534"/>
                      <a:pt x="43647" y="11599"/>
                    </a:cubicBezTo>
                    <a:cubicBezTo>
                      <a:pt x="41374" y="12909"/>
                      <a:pt x="38967" y="14026"/>
                      <a:pt x="36636" y="15240"/>
                    </a:cubicBezTo>
                    <a:cubicBezTo>
                      <a:pt x="29683" y="20595"/>
                      <a:pt x="23153" y="26412"/>
                      <a:pt x="17856" y="33480"/>
                    </a:cubicBezTo>
                    <a:close/>
                  </a:path>
                </a:pathLst>
              </a:custGeom>
              <a:solidFill>
                <a:srgbClr val="FFFFFF"/>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395" name="Freeform: Shape 394">
              <a:extLst>
                <a:ext uri="{FF2B5EF4-FFF2-40B4-BE49-F238E27FC236}">
                  <a16:creationId xmlns:a16="http://schemas.microsoft.com/office/drawing/2014/main" id="{77BBF992-A0E6-401B-8D8C-6118B42BB6C9}"/>
                </a:ext>
              </a:extLst>
            </p:cNvPr>
            <p:cNvSpPr/>
            <p:nvPr/>
          </p:nvSpPr>
          <p:spPr>
            <a:xfrm>
              <a:off x="10101224" y="4127667"/>
              <a:ext cx="8975" cy="3158"/>
            </a:xfrm>
            <a:custGeom>
              <a:avLst/>
              <a:gdLst>
                <a:gd name="connsiteX0" fmla="*/ 0 w 8975"/>
                <a:gd name="connsiteY0" fmla="*/ 0 h 3158"/>
                <a:gd name="connsiteX1" fmla="*/ 8976 w 8975"/>
                <a:gd name="connsiteY1" fmla="*/ 3159 h 3158"/>
                <a:gd name="connsiteX2" fmla="*/ 0 w 8975"/>
                <a:gd name="connsiteY2" fmla="*/ 0 h 3158"/>
              </a:gdLst>
              <a:ahLst/>
              <a:cxnLst>
                <a:cxn ang="0">
                  <a:pos x="connsiteX0" y="connsiteY0"/>
                </a:cxn>
                <a:cxn ang="0">
                  <a:pos x="connsiteX1" y="connsiteY1"/>
                </a:cxn>
                <a:cxn ang="0">
                  <a:pos x="connsiteX2" y="connsiteY2"/>
                </a:cxn>
              </a:cxnLst>
              <a:rect l="l" t="t" r="r" b="b"/>
              <a:pathLst>
                <a:path w="8975" h="3158">
                  <a:moveTo>
                    <a:pt x="0" y="0"/>
                  </a:moveTo>
                  <a:cubicBezTo>
                    <a:pt x="3024" y="867"/>
                    <a:pt x="6010" y="1926"/>
                    <a:pt x="8976" y="3159"/>
                  </a:cubicBezTo>
                  <a:cubicBezTo>
                    <a:pt x="6010" y="1926"/>
                    <a:pt x="3024" y="867"/>
                    <a:pt x="0" y="0"/>
                  </a:cubicBez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6" name="Freeform: Shape 395">
              <a:extLst>
                <a:ext uri="{FF2B5EF4-FFF2-40B4-BE49-F238E27FC236}">
                  <a16:creationId xmlns:a16="http://schemas.microsoft.com/office/drawing/2014/main" id="{D49554E6-5B66-4BAE-A7CB-24FD3628ACDF}"/>
                </a:ext>
              </a:extLst>
            </p:cNvPr>
            <p:cNvSpPr/>
            <p:nvPr/>
          </p:nvSpPr>
          <p:spPr>
            <a:xfrm>
              <a:off x="10123336" y="4137567"/>
              <a:ext cx="4276" cy="2773"/>
            </a:xfrm>
            <a:custGeom>
              <a:avLst/>
              <a:gdLst>
                <a:gd name="connsiteX0" fmla="*/ 4276 w 4276"/>
                <a:gd name="connsiteY0" fmla="*/ 2774 h 2773"/>
                <a:gd name="connsiteX1" fmla="*/ 0 w 4276"/>
                <a:gd name="connsiteY1" fmla="*/ 0 h 2773"/>
                <a:gd name="connsiteX2" fmla="*/ 4276 w 4276"/>
                <a:gd name="connsiteY2" fmla="*/ 2774 h 2773"/>
                <a:gd name="connsiteX3" fmla="*/ 4276 w 4276"/>
                <a:gd name="connsiteY3" fmla="*/ 2774 h 2773"/>
              </a:gdLst>
              <a:ahLst/>
              <a:cxnLst>
                <a:cxn ang="0">
                  <a:pos x="connsiteX0" y="connsiteY0"/>
                </a:cxn>
                <a:cxn ang="0">
                  <a:pos x="connsiteX1" y="connsiteY1"/>
                </a:cxn>
                <a:cxn ang="0">
                  <a:pos x="connsiteX2" y="connsiteY2"/>
                </a:cxn>
                <a:cxn ang="0">
                  <a:pos x="connsiteX3" y="connsiteY3"/>
                </a:cxn>
              </a:cxnLst>
              <a:rect l="l" t="t" r="r" b="b"/>
              <a:pathLst>
                <a:path w="4276" h="2773">
                  <a:moveTo>
                    <a:pt x="4276" y="2774"/>
                  </a:moveTo>
                  <a:cubicBezTo>
                    <a:pt x="2851" y="1811"/>
                    <a:pt x="1425" y="886"/>
                    <a:pt x="0" y="0"/>
                  </a:cubicBezTo>
                  <a:cubicBezTo>
                    <a:pt x="1425" y="886"/>
                    <a:pt x="2870" y="1811"/>
                    <a:pt x="4276" y="2774"/>
                  </a:cubicBezTo>
                  <a:lnTo>
                    <a:pt x="4276" y="2774"/>
                  </a:ln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7" name="Freeform: Shape 396">
              <a:extLst>
                <a:ext uri="{FF2B5EF4-FFF2-40B4-BE49-F238E27FC236}">
                  <a16:creationId xmlns:a16="http://schemas.microsoft.com/office/drawing/2014/main" id="{62BE9B8B-3463-40B9-8643-98EA01DD8C2F}"/>
                </a:ext>
              </a:extLst>
            </p:cNvPr>
            <p:cNvSpPr/>
            <p:nvPr/>
          </p:nvSpPr>
          <p:spPr>
            <a:xfrm>
              <a:off x="10110200" y="4130826"/>
              <a:ext cx="13117" cy="6741"/>
            </a:xfrm>
            <a:custGeom>
              <a:avLst/>
              <a:gdLst>
                <a:gd name="connsiteX0" fmla="*/ 0 w 13117"/>
                <a:gd name="connsiteY0" fmla="*/ 0 h 6741"/>
                <a:gd name="connsiteX1" fmla="*/ 13117 w 13117"/>
                <a:gd name="connsiteY1" fmla="*/ 6742 h 6741"/>
                <a:gd name="connsiteX2" fmla="*/ 0 w 13117"/>
                <a:gd name="connsiteY2" fmla="*/ 0 h 6741"/>
              </a:gdLst>
              <a:ahLst/>
              <a:cxnLst>
                <a:cxn ang="0">
                  <a:pos x="connsiteX0" y="connsiteY0"/>
                </a:cxn>
                <a:cxn ang="0">
                  <a:pos x="connsiteX1" y="connsiteY1"/>
                </a:cxn>
                <a:cxn ang="0">
                  <a:pos x="connsiteX2" y="connsiteY2"/>
                </a:cxn>
              </a:cxnLst>
              <a:rect l="l" t="t" r="r" b="b"/>
              <a:pathLst>
                <a:path w="13117" h="6741">
                  <a:moveTo>
                    <a:pt x="0" y="0"/>
                  </a:moveTo>
                  <a:cubicBezTo>
                    <a:pt x="4449" y="1849"/>
                    <a:pt x="8822" y="4103"/>
                    <a:pt x="13117" y="6742"/>
                  </a:cubicBezTo>
                  <a:cubicBezTo>
                    <a:pt x="8822" y="4103"/>
                    <a:pt x="4430" y="1849"/>
                    <a:pt x="0" y="0"/>
                  </a:cubicBezTo>
                  <a:close/>
                </a:path>
              </a:pathLst>
            </a:custGeom>
            <a:no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8" name="Freeform: Shape 397">
              <a:extLst>
                <a:ext uri="{FF2B5EF4-FFF2-40B4-BE49-F238E27FC236}">
                  <a16:creationId xmlns:a16="http://schemas.microsoft.com/office/drawing/2014/main" id="{42A3C0EC-2633-4025-81D5-6EC3074BEA98}"/>
                </a:ext>
              </a:extLst>
            </p:cNvPr>
            <p:cNvSpPr/>
            <p:nvPr/>
          </p:nvSpPr>
          <p:spPr>
            <a:xfrm>
              <a:off x="9992205" y="4124493"/>
              <a:ext cx="135427" cy="172270"/>
            </a:xfrm>
            <a:custGeom>
              <a:avLst/>
              <a:gdLst>
                <a:gd name="connsiteX0" fmla="*/ 34632 w 135427"/>
                <a:gd name="connsiteY0" fmla="*/ 155166 h 172270"/>
                <a:gd name="connsiteX1" fmla="*/ 96654 w 135427"/>
                <a:gd name="connsiteY1" fmla="*/ 171596 h 172270"/>
                <a:gd name="connsiteX2" fmla="*/ 134946 w 135427"/>
                <a:gd name="connsiteY2" fmla="*/ 157054 h 172270"/>
                <a:gd name="connsiteX3" fmla="*/ 128975 w 135427"/>
                <a:gd name="connsiteY3" fmla="*/ 151507 h 172270"/>
                <a:gd name="connsiteX4" fmla="*/ 111967 w 135427"/>
                <a:gd name="connsiteY4" fmla="*/ 131013 h 172270"/>
                <a:gd name="connsiteX5" fmla="*/ 100968 w 135427"/>
                <a:gd name="connsiteY5" fmla="*/ 101119 h 172270"/>
                <a:gd name="connsiteX6" fmla="*/ 100217 w 135427"/>
                <a:gd name="connsiteY6" fmla="*/ 78621 h 172270"/>
                <a:gd name="connsiteX7" fmla="*/ 110021 w 135427"/>
                <a:gd name="connsiteY7" fmla="*/ 45742 h 172270"/>
                <a:gd name="connsiteX8" fmla="*/ 133867 w 135427"/>
                <a:gd name="connsiteY8" fmla="*/ 17640 h 172270"/>
                <a:gd name="connsiteX9" fmla="*/ 135427 w 135427"/>
                <a:gd name="connsiteY9" fmla="*/ 15810 h 172270"/>
                <a:gd name="connsiteX10" fmla="*/ 131151 w 135427"/>
                <a:gd name="connsiteY10" fmla="*/ 13036 h 172270"/>
                <a:gd name="connsiteX11" fmla="*/ 118034 w 135427"/>
                <a:gd name="connsiteY11" fmla="*/ 6295 h 172270"/>
                <a:gd name="connsiteX12" fmla="*/ 109058 w 135427"/>
                <a:gd name="connsiteY12" fmla="*/ 3136 h 172270"/>
                <a:gd name="connsiteX13" fmla="*/ 61771 w 135427"/>
                <a:gd name="connsiteY13" fmla="*/ 3887 h 172270"/>
                <a:gd name="connsiteX14" fmla="*/ 2234 w 135427"/>
                <a:gd name="connsiteY14" fmla="*/ 67334 h 172270"/>
                <a:gd name="connsiteX15" fmla="*/ 0 w 135427"/>
                <a:gd name="connsiteY15" fmla="*/ 81376 h 172270"/>
                <a:gd name="connsiteX16" fmla="*/ 0 w 135427"/>
                <a:gd name="connsiteY16" fmla="*/ 92933 h 172270"/>
                <a:gd name="connsiteX17" fmla="*/ 1348 w 135427"/>
                <a:gd name="connsiteY17" fmla="*/ 100965 h 172270"/>
                <a:gd name="connsiteX18" fmla="*/ 34632 w 135427"/>
                <a:gd name="connsiteY18" fmla="*/ 155166 h 172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427" h="172270">
                  <a:moveTo>
                    <a:pt x="34632" y="155166"/>
                  </a:moveTo>
                  <a:cubicBezTo>
                    <a:pt x="53007" y="168919"/>
                    <a:pt x="73810" y="174293"/>
                    <a:pt x="96654" y="171596"/>
                  </a:cubicBezTo>
                  <a:cubicBezTo>
                    <a:pt x="110638" y="169940"/>
                    <a:pt x="123389" y="165067"/>
                    <a:pt x="134946" y="157054"/>
                  </a:cubicBezTo>
                  <a:cubicBezTo>
                    <a:pt x="132962" y="155205"/>
                    <a:pt x="131036" y="153279"/>
                    <a:pt x="128975" y="151507"/>
                  </a:cubicBezTo>
                  <a:cubicBezTo>
                    <a:pt x="122098" y="145670"/>
                    <a:pt x="116609" y="138698"/>
                    <a:pt x="111967" y="131013"/>
                  </a:cubicBezTo>
                  <a:cubicBezTo>
                    <a:pt x="106400" y="121767"/>
                    <a:pt x="102798" y="111751"/>
                    <a:pt x="100968" y="101119"/>
                  </a:cubicBezTo>
                  <a:cubicBezTo>
                    <a:pt x="99697" y="93665"/>
                    <a:pt x="99582" y="86191"/>
                    <a:pt x="100217" y="78621"/>
                  </a:cubicBezTo>
                  <a:cubicBezTo>
                    <a:pt x="101200" y="66949"/>
                    <a:pt x="104570" y="56047"/>
                    <a:pt x="110021" y="45742"/>
                  </a:cubicBezTo>
                  <a:cubicBezTo>
                    <a:pt x="115915" y="34628"/>
                    <a:pt x="123909" y="25325"/>
                    <a:pt x="133867" y="17640"/>
                  </a:cubicBezTo>
                  <a:cubicBezTo>
                    <a:pt x="134483" y="17158"/>
                    <a:pt x="134907" y="16426"/>
                    <a:pt x="135427" y="15810"/>
                  </a:cubicBezTo>
                  <a:cubicBezTo>
                    <a:pt x="134002" y="14847"/>
                    <a:pt x="132576" y="13922"/>
                    <a:pt x="131151" y="13036"/>
                  </a:cubicBezTo>
                  <a:cubicBezTo>
                    <a:pt x="126856" y="10397"/>
                    <a:pt x="122464" y="8144"/>
                    <a:pt x="118034" y="6295"/>
                  </a:cubicBezTo>
                  <a:cubicBezTo>
                    <a:pt x="115068" y="5062"/>
                    <a:pt x="112082" y="4003"/>
                    <a:pt x="109058" y="3136"/>
                  </a:cubicBezTo>
                  <a:cubicBezTo>
                    <a:pt x="93957" y="-1237"/>
                    <a:pt x="78124" y="-1082"/>
                    <a:pt x="61771" y="3887"/>
                  </a:cubicBezTo>
                  <a:cubicBezTo>
                    <a:pt x="30086" y="13537"/>
                    <a:pt x="10286" y="35187"/>
                    <a:pt x="2234" y="67334"/>
                  </a:cubicBezTo>
                  <a:cubicBezTo>
                    <a:pt x="1098" y="71918"/>
                    <a:pt x="732" y="76695"/>
                    <a:pt x="0" y="81376"/>
                  </a:cubicBezTo>
                  <a:lnTo>
                    <a:pt x="0" y="92933"/>
                  </a:lnTo>
                  <a:cubicBezTo>
                    <a:pt x="443" y="95610"/>
                    <a:pt x="867" y="98287"/>
                    <a:pt x="1348" y="100965"/>
                  </a:cubicBezTo>
                  <a:cubicBezTo>
                    <a:pt x="5335" y="123385"/>
                    <a:pt x="16449" y="141568"/>
                    <a:pt x="34632" y="155166"/>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399" name="Freeform: Shape 398">
              <a:extLst>
                <a:ext uri="{FF2B5EF4-FFF2-40B4-BE49-F238E27FC236}">
                  <a16:creationId xmlns:a16="http://schemas.microsoft.com/office/drawing/2014/main" id="{2F1C5723-4242-4CE8-AF8A-07E024BAAFAC}"/>
                </a:ext>
              </a:extLst>
            </p:cNvPr>
            <p:cNvSpPr/>
            <p:nvPr/>
          </p:nvSpPr>
          <p:spPr>
            <a:xfrm>
              <a:off x="11131249" y="4325039"/>
              <a:ext cx="49463" cy="558"/>
            </a:xfrm>
            <a:custGeom>
              <a:avLst/>
              <a:gdLst>
                <a:gd name="connsiteX0" fmla="*/ 58 w 49463"/>
                <a:gd name="connsiteY0" fmla="*/ 19 h 558"/>
                <a:gd name="connsiteX1" fmla="*/ 58 w 49463"/>
                <a:gd name="connsiteY1" fmla="*/ 19 h 558"/>
                <a:gd name="connsiteX2" fmla="*/ 0 w 49463"/>
                <a:gd name="connsiteY2" fmla="*/ 559 h 558"/>
                <a:gd name="connsiteX3" fmla="*/ 49463 w 49463"/>
                <a:gd name="connsiteY3" fmla="*/ 559 h 558"/>
                <a:gd name="connsiteX4" fmla="*/ 49463 w 49463"/>
                <a:gd name="connsiteY4" fmla="*/ 58 h 558"/>
                <a:gd name="connsiteX5" fmla="*/ 58 w 49463"/>
                <a:gd name="connsiteY5" fmla="*/ 0 h 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463" h="558">
                  <a:moveTo>
                    <a:pt x="58" y="19"/>
                  </a:moveTo>
                  <a:lnTo>
                    <a:pt x="58" y="19"/>
                  </a:lnTo>
                  <a:lnTo>
                    <a:pt x="0" y="559"/>
                  </a:lnTo>
                  <a:lnTo>
                    <a:pt x="49463" y="559"/>
                  </a:lnTo>
                  <a:lnTo>
                    <a:pt x="49463" y="58"/>
                  </a:lnTo>
                  <a:cubicBezTo>
                    <a:pt x="32976" y="58"/>
                    <a:pt x="16526" y="19"/>
                    <a:pt x="58"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0" name="Freeform: Shape 399">
              <a:extLst>
                <a:ext uri="{FF2B5EF4-FFF2-40B4-BE49-F238E27FC236}">
                  <a16:creationId xmlns:a16="http://schemas.microsoft.com/office/drawing/2014/main" id="{67A686FA-399B-4670-97A1-36D4EC6DE95C}"/>
                </a:ext>
              </a:extLst>
            </p:cNvPr>
            <p:cNvSpPr/>
            <p:nvPr/>
          </p:nvSpPr>
          <p:spPr>
            <a:xfrm>
              <a:off x="11131249" y="4325058"/>
              <a:ext cx="57" cy="539"/>
            </a:xfrm>
            <a:custGeom>
              <a:avLst/>
              <a:gdLst>
                <a:gd name="connsiteX0" fmla="*/ 58 w 57"/>
                <a:gd name="connsiteY0" fmla="*/ 0 h 539"/>
                <a:gd name="connsiteX1" fmla="*/ 58 w 57"/>
                <a:gd name="connsiteY1" fmla="*/ 0 h 539"/>
                <a:gd name="connsiteX2" fmla="*/ 0 w 57"/>
                <a:gd name="connsiteY2" fmla="*/ 539 h 539"/>
                <a:gd name="connsiteX3" fmla="*/ 58 w 57"/>
                <a:gd name="connsiteY3" fmla="*/ 0 h 539"/>
                <a:gd name="connsiteX4" fmla="*/ 58 w 57"/>
                <a:gd name="connsiteY4" fmla="*/ 0 h 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 h="539">
                  <a:moveTo>
                    <a:pt x="58" y="0"/>
                  </a:moveTo>
                  <a:lnTo>
                    <a:pt x="58" y="0"/>
                  </a:lnTo>
                  <a:lnTo>
                    <a:pt x="0" y="539"/>
                  </a:lnTo>
                  <a:lnTo>
                    <a:pt x="58" y="0"/>
                  </a:lnTo>
                  <a:lnTo>
                    <a:pt x="58"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1" name="Freeform: Shape 400">
              <a:extLst>
                <a:ext uri="{FF2B5EF4-FFF2-40B4-BE49-F238E27FC236}">
                  <a16:creationId xmlns:a16="http://schemas.microsoft.com/office/drawing/2014/main" id="{E41B2886-800B-4556-ADC4-DB2DF65753FD}"/>
                </a:ext>
              </a:extLst>
            </p:cNvPr>
            <p:cNvSpPr/>
            <p:nvPr/>
          </p:nvSpPr>
          <p:spPr>
            <a:xfrm>
              <a:off x="11131307" y="4145557"/>
              <a:ext cx="141048" cy="179558"/>
            </a:xfrm>
            <a:custGeom>
              <a:avLst/>
              <a:gdLst>
                <a:gd name="connsiteX0" fmla="*/ 0 w 141048"/>
                <a:gd name="connsiteY0" fmla="*/ 179501 h 179558"/>
                <a:gd name="connsiteX1" fmla="*/ 49406 w 141048"/>
                <a:gd name="connsiteY1" fmla="*/ 179559 h 179558"/>
                <a:gd name="connsiteX2" fmla="*/ 49406 w 141048"/>
                <a:gd name="connsiteY2" fmla="*/ 118731 h 179558"/>
                <a:gd name="connsiteX3" fmla="*/ 50889 w 141048"/>
                <a:gd name="connsiteY3" fmla="*/ 119733 h 179558"/>
                <a:gd name="connsiteX4" fmla="*/ 92994 w 141048"/>
                <a:gd name="connsiteY4" fmla="*/ 133428 h 179558"/>
                <a:gd name="connsiteX5" fmla="*/ 133462 w 141048"/>
                <a:gd name="connsiteY5" fmla="*/ 105576 h 179558"/>
                <a:gd name="connsiteX6" fmla="*/ 140685 w 141048"/>
                <a:gd name="connsiteY6" fmla="*/ 77261 h 179558"/>
                <a:gd name="connsiteX7" fmla="*/ 136217 w 141048"/>
                <a:gd name="connsiteY7" fmla="*/ 37486 h 179558"/>
                <a:gd name="connsiteX8" fmla="*/ 119594 w 141048"/>
                <a:gd name="connsiteY8" fmla="*/ 11329 h 179558"/>
                <a:gd name="connsiteX9" fmla="*/ 84134 w 141048"/>
                <a:gd name="connsiteY9" fmla="*/ 81 h 179558"/>
                <a:gd name="connsiteX10" fmla="*/ 51081 w 141048"/>
                <a:gd name="connsiteY10" fmla="*/ 15894 h 179558"/>
                <a:gd name="connsiteX11" fmla="*/ 45977 w 141048"/>
                <a:gd name="connsiteY11" fmla="*/ 21615 h 179558"/>
                <a:gd name="connsiteX12" fmla="*/ 45977 w 141048"/>
                <a:gd name="connsiteY12" fmla="*/ 3086 h 179558"/>
                <a:gd name="connsiteX13" fmla="*/ 19 w 141048"/>
                <a:gd name="connsiteY13" fmla="*/ 3086 h 179558"/>
                <a:gd name="connsiteX14" fmla="*/ 19 w 141048"/>
                <a:gd name="connsiteY14" fmla="*/ 91341 h 179558"/>
                <a:gd name="connsiteX15" fmla="*/ 19 w 141048"/>
                <a:gd name="connsiteY15" fmla="*/ 179482 h 179558"/>
                <a:gd name="connsiteX16" fmla="*/ 19 w 141048"/>
                <a:gd name="connsiteY16" fmla="*/ 179482 h 179558"/>
                <a:gd name="connsiteX17" fmla="*/ 49290 w 141048"/>
                <a:gd name="connsiteY17" fmla="*/ 64818 h 179558"/>
                <a:gd name="connsiteX18" fmla="*/ 51852 w 141048"/>
                <a:gd name="connsiteY18" fmla="*/ 49949 h 179558"/>
                <a:gd name="connsiteX19" fmla="*/ 78105 w 141048"/>
                <a:gd name="connsiteY19" fmla="*/ 37294 h 179558"/>
                <a:gd name="connsiteX20" fmla="*/ 90991 w 141048"/>
                <a:gd name="connsiteY20" fmla="*/ 54918 h 179558"/>
                <a:gd name="connsiteX21" fmla="*/ 92397 w 141048"/>
                <a:gd name="connsiteY21" fmla="*/ 67611 h 179558"/>
                <a:gd name="connsiteX22" fmla="*/ 90028 w 141048"/>
                <a:gd name="connsiteY22" fmla="*/ 82308 h 179558"/>
                <a:gd name="connsiteX23" fmla="*/ 73270 w 141048"/>
                <a:gd name="connsiteY23" fmla="*/ 97235 h 179558"/>
                <a:gd name="connsiteX24" fmla="*/ 52950 w 141048"/>
                <a:gd name="connsiteY24" fmla="*/ 85890 h 179558"/>
                <a:gd name="connsiteX25" fmla="*/ 49290 w 141048"/>
                <a:gd name="connsiteY25" fmla="*/ 64838 h 17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1048" h="179558">
                  <a:moveTo>
                    <a:pt x="0" y="179501"/>
                  </a:moveTo>
                  <a:cubicBezTo>
                    <a:pt x="16469" y="179501"/>
                    <a:pt x="32937" y="179540"/>
                    <a:pt x="49406" y="179559"/>
                  </a:cubicBezTo>
                  <a:lnTo>
                    <a:pt x="49406" y="118731"/>
                  </a:lnTo>
                  <a:cubicBezTo>
                    <a:pt x="50176" y="119251"/>
                    <a:pt x="50581" y="119444"/>
                    <a:pt x="50889" y="119733"/>
                  </a:cubicBezTo>
                  <a:cubicBezTo>
                    <a:pt x="62735" y="131039"/>
                    <a:pt x="76969" y="135046"/>
                    <a:pt x="92994" y="133428"/>
                  </a:cubicBezTo>
                  <a:cubicBezTo>
                    <a:pt x="111543" y="131540"/>
                    <a:pt x="124833" y="121832"/>
                    <a:pt x="133462" y="105576"/>
                  </a:cubicBezTo>
                  <a:cubicBezTo>
                    <a:pt x="138124" y="96773"/>
                    <a:pt x="139954" y="87142"/>
                    <a:pt x="140685" y="77261"/>
                  </a:cubicBezTo>
                  <a:cubicBezTo>
                    <a:pt x="141687" y="63721"/>
                    <a:pt x="140743" y="50372"/>
                    <a:pt x="136217" y="37486"/>
                  </a:cubicBezTo>
                  <a:cubicBezTo>
                    <a:pt x="132711" y="27509"/>
                    <a:pt x="127588" y="18456"/>
                    <a:pt x="119594" y="11329"/>
                  </a:cubicBezTo>
                  <a:cubicBezTo>
                    <a:pt x="109482" y="2296"/>
                    <a:pt x="97328" y="-536"/>
                    <a:pt x="84134" y="81"/>
                  </a:cubicBezTo>
                  <a:cubicBezTo>
                    <a:pt x="70901" y="697"/>
                    <a:pt x="59807" y="5821"/>
                    <a:pt x="51081" y="15894"/>
                  </a:cubicBezTo>
                  <a:cubicBezTo>
                    <a:pt x="49540" y="17666"/>
                    <a:pt x="47942" y="19419"/>
                    <a:pt x="45977" y="21615"/>
                  </a:cubicBezTo>
                  <a:lnTo>
                    <a:pt x="45977" y="3086"/>
                  </a:lnTo>
                  <a:lnTo>
                    <a:pt x="19" y="3086"/>
                  </a:lnTo>
                  <a:cubicBezTo>
                    <a:pt x="19" y="32536"/>
                    <a:pt x="19" y="61949"/>
                    <a:pt x="19" y="91341"/>
                  </a:cubicBezTo>
                  <a:cubicBezTo>
                    <a:pt x="19" y="120734"/>
                    <a:pt x="19" y="150108"/>
                    <a:pt x="19" y="179482"/>
                  </a:cubicBezTo>
                  <a:lnTo>
                    <a:pt x="19" y="179482"/>
                  </a:lnTo>
                  <a:close/>
                  <a:moveTo>
                    <a:pt x="49290" y="64818"/>
                  </a:moveTo>
                  <a:cubicBezTo>
                    <a:pt x="49617" y="59810"/>
                    <a:pt x="50272" y="54668"/>
                    <a:pt x="51852" y="49949"/>
                  </a:cubicBezTo>
                  <a:cubicBezTo>
                    <a:pt x="55627" y="38623"/>
                    <a:pt x="67723" y="32922"/>
                    <a:pt x="78105" y="37294"/>
                  </a:cubicBezTo>
                  <a:cubicBezTo>
                    <a:pt x="85810" y="40530"/>
                    <a:pt x="89566" y="47002"/>
                    <a:pt x="90991" y="54918"/>
                  </a:cubicBezTo>
                  <a:cubicBezTo>
                    <a:pt x="91684" y="58751"/>
                    <a:pt x="91858" y="62680"/>
                    <a:pt x="92397" y="67611"/>
                  </a:cubicBezTo>
                  <a:cubicBezTo>
                    <a:pt x="91723" y="71907"/>
                    <a:pt x="91318" y="77223"/>
                    <a:pt x="90028" y="82308"/>
                  </a:cubicBezTo>
                  <a:cubicBezTo>
                    <a:pt x="87813" y="90976"/>
                    <a:pt x="81283" y="96484"/>
                    <a:pt x="73270" y="97235"/>
                  </a:cubicBezTo>
                  <a:cubicBezTo>
                    <a:pt x="65065" y="98006"/>
                    <a:pt x="56898" y="93460"/>
                    <a:pt x="52950" y="85890"/>
                  </a:cubicBezTo>
                  <a:cubicBezTo>
                    <a:pt x="49483" y="79265"/>
                    <a:pt x="48828" y="72061"/>
                    <a:pt x="49290" y="64838"/>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2" name="Freeform: Shape 401">
              <a:extLst>
                <a:ext uri="{FF2B5EF4-FFF2-40B4-BE49-F238E27FC236}">
                  <a16:creationId xmlns:a16="http://schemas.microsoft.com/office/drawing/2014/main" id="{8C0ADBE7-3001-49A7-A763-FD26490EABDF}"/>
                </a:ext>
              </a:extLst>
            </p:cNvPr>
            <p:cNvSpPr/>
            <p:nvPr/>
          </p:nvSpPr>
          <p:spPr>
            <a:xfrm>
              <a:off x="11131307" y="4236899"/>
              <a:ext cx="1926" cy="88140"/>
            </a:xfrm>
            <a:custGeom>
              <a:avLst/>
              <a:gdLst>
                <a:gd name="connsiteX0" fmla="*/ 0 w 1926"/>
                <a:gd name="connsiteY0" fmla="*/ 0 h 88140"/>
                <a:gd name="connsiteX1" fmla="*/ 0 w 1926"/>
                <a:gd name="connsiteY1" fmla="*/ 88140 h 88140"/>
                <a:gd name="connsiteX2" fmla="*/ 0 w 1926"/>
                <a:gd name="connsiteY2" fmla="*/ 88140 h 88140"/>
                <a:gd name="connsiteX3" fmla="*/ 0 w 1926"/>
                <a:gd name="connsiteY3" fmla="*/ 0 h 88140"/>
              </a:gdLst>
              <a:ahLst/>
              <a:cxnLst>
                <a:cxn ang="0">
                  <a:pos x="connsiteX0" y="connsiteY0"/>
                </a:cxn>
                <a:cxn ang="0">
                  <a:pos x="connsiteX1" y="connsiteY1"/>
                </a:cxn>
                <a:cxn ang="0">
                  <a:pos x="connsiteX2" y="connsiteY2"/>
                </a:cxn>
                <a:cxn ang="0">
                  <a:pos x="connsiteX3" y="connsiteY3"/>
                </a:cxn>
              </a:cxnLst>
              <a:rect l="l" t="t" r="r" b="b"/>
              <a:pathLst>
                <a:path w="1926" h="88140">
                  <a:moveTo>
                    <a:pt x="0" y="0"/>
                  </a:moveTo>
                  <a:lnTo>
                    <a:pt x="0" y="88140"/>
                  </a:lnTo>
                  <a:lnTo>
                    <a:pt x="0" y="88140"/>
                  </a:lnTo>
                  <a:cubicBezTo>
                    <a:pt x="0" y="58767"/>
                    <a:pt x="0" y="29393"/>
                    <a:pt x="0"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3" name="Freeform: Shape 402">
              <a:extLst>
                <a:ext uri="{FF2B5EF4-FFF2-40B4-BE49-F238E27FC236}">
                  <a16:creationId xmlns:a16="http://schemas.microsoft.com/office/drawing/2014/main" id="{76268684-7FC0-4949-BE3E-D35AB5D3F442}"/>
                </a:ext>
              </a:extLst>
            </p:cNvPr>
            <p:cNvSpPr/>
            <p:nvPr/>
          </p:nvSpPr>
          <p:spPr>
            <a:xfrm>
              <a:off x="11131307" y="4325058"/>
              <a:ext cx="49405" cy="57"/>
            </a:xfrm>
            <a:custGeom>
              <a:avLst/>
              <a:gdLst>
                <a:gd name="connsiteX0" fmla="*/ 0 w 49405"/>
                <a:gd name="connsiteY0" fmla="*/ 0 h 57"/>
                <a:gd name="connsiteX1" fmla="*/ 0 w 49405"/>
                <a:gd name="connsiteY1" fmla="*/ 0 h 57"/>
                <a:gd name="connsiteX2" fmla="*/ 49406 w 49405"/>
                <a:gd name="connsiteY2" fmla="*/ 58 h 57"/>
                <a:gd name="connsiteX3" fmla="*/ 0 w 49405"/>
                <a:gd name="connsiteY3" fmla="*/ 0 h 57"/>
                <a:gd name="connsiteX4" fmla="*/ 0 w 49405"/>
                <a:gd name="connsiteY4" fmla="*/ 0 h 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05" h="57">
                  <a:moveTo>
                    <a:pt x="0" y="0"/>
                  </a:moveTo>
                  <a:lnTo>
                    <a:pt x="0" y="0"/>
                  </a:lnTo>
                  <a:cubicBezTo>
                    <a:pt x="16469" y="0"/>
                    <a:pt x="32937" y="39"/>
                    <a:pt x="49406" y="58"/>
                  </a:cubicBezTo>
                  <a:cubicBezTo>
                    <a:pt x="32937" y="58"/>
                    <a:pt x="16469" y="19"/>
                    <a:pt x="0" y="0"/>
                  </a:cubicBezTo>
                  <a:lnTo>
                    <a:pt x="0"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4" name="Freeform: Shape 403">
              <a:extLst>
                <a:ext uri="{FF2B5EF4-FFF2-40B4-BE49-F238E27FC236}">
                  <a16:creationId xmlns:a16="http://schemas.microsoft.com/office/drawing/2014/main" id="{AAB6ED90-33AC-4A1E-B7A3-E6BF5F3A6788}"/>
                </a:ext>
              </a:extLst>
            </p:cNvPr>
            <p:cNvSpPr/>
            <p:nvPr/>
          </p:nvSpPr>
          <p:spPr>
            <a:xfrm>
              <a:off x="10092025" y="4124670"/>
              <a:ext cx="135939" cy="172957"/>
            </a:xfrm>
            <a:custGeom>
              <a:avLst/>
              <a:gdLst>
                <a:gd name="connsiteX0" fmla="*/ 34027 w 135939"/>
                <a:gd name="connsiteY0" fmla="*/ 17481 h 172957"/>
                <a:gd name="connsiteX1" fmla="*/ 10181 w 135939"/>
                <a:gd name="connsiteY1" fmla="*/ 45584 h 172957"/>
                <a:gd name="connsiteX2" fmla="*/ 377 w 135939"/>
                <a:gd name="connsiteY2" fmla="*/ 78463 h 172957"/>
                <a:gd name="connsiteX3" fmla="*/ 1128 w 135939"/>
                <a:gd name="connsiteY3" fmla="*/ 100960 h 172957"/>
                <a:gd name="connsiteX4" fmla="*/ 12127 w 135939"/>
                <a:gd name="connsiteY4" fmla="*/ 130854 h 172957"/>
                <a:gd name="connsiteX5" fmla="*/ 29134 w 135939"/>
                <a:gd name="connsiteY5" fmla="*/ 151348 h 172957"/>
                <a:gd name="connsiteX6" fmla="*/ 35105 w 135939"/>
                <a:gd name="connsiteY6" fmla="*/ 156896 h 172957"/>
                <a:gd name="connsiteX7" fmla="*/ 37744 w 135939"/>
                <a:gd name="connsiteY7" fmla="*/ 157897 h 172957"/>
                <a:gd name="connsiteX8" fmla="*/ 90251 w 135939"/>
                <a:gd name="connsiteY8" fmla="*/ 172883 h 172957"/>
                <a:gd name="connsiteX9" fmla="*/ 135939 w 135939"/>
                <a:gd name="connsiteY9" fmla="*/ 157531 h 172957"/>
                <a:gd name="connsiteX10" fmla="*/ 127368 w 135939"/>
                <a:gd name="connsiteY10" fmla="*/ 150616 h 172957"/>
                <a:gd name="connsiteX11" fmla="*/ 98649 w 135939"/>
                <a:gd name="connsiteY11" fmla="*/ 99419 h 172957"/>
                <a:gd name="connsiteX12" fmla="*/ 115271 w 135939"/>
                <a:gd name="connsiteY12" fmla="*/ 32467 h 172957"/>
                <a:gd name="connsiteX13" fmla="*/ 134051 w 135939"/>
                <a:gd name="connsiteY13" fmla="*/ 14226 h 172957"/>
                <a:gd name="connsiteX14" fmla="*/ 90078 w 135939"/>
                <a:gd name="connsiteY14" fmla="*/ 69 h 172957"/>
                <a:gd name="connsiteX15" fmla="*/ 38014 w 135939"/>
                <a:gd name="connsiteY15" fmla="*/ 14920 h 172957"/>
                <a:gd name="connsiteX16" fmla="*/ 36203 w 135939"/>
                <a:gd name="connsiteY16" fmla="*/ 15536 h 172957"/>
                <a:gd name="connsiteX17" fmla="*/ 35568 w 135939"/>
                <a:gd name="connsiteY17" fmla="*/ 15709 h 172957"/>
                <a:gd name="connsiteX18" fmla="*/ 35568 w 135939"/>
                <a:gd name="connsiteY18" fmla="*/ 15709 h 172957"/>
                <a:gd name="connsiteX19" fmla="*/ 34008 w 135939"/>
                <a:gd name="connsiteY19" fmla="*/ 17539 h 17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5939" h="172957">
                  <a:moveTo>
                    <a:pt x="34027" y="17481"/>
                  </a:moveTo>
                  <a:cubicBezTo>
                    <a:pt x="24088" y="25147"/>
                    <a:pt x="16075" y="34470"/>
                    <a:pt x="10181" y="45584"/>
                  </a:cubicBezTo>
                  <a:cubicBezTo>
                    <a:pt x="4730" y="55889"/>
                    <a:pt x="1340" y="66771"/>
                    <a:pt x="377" y="78463"/>
                  </a:cubicBezTo>
                  <a:cubicBezTo>
                    <a:pt x="-259" y="86014"/>
                    <a:pt x="-143" y="93506"/>
                    <a:pt x="1128" y="100960"/>
                  </a:cubicBezTo>
                  <a:cubicBezTo>
                    <a:pt x="2939" y="111593"/>
                    <a:pt x="6541" y="121589"/>
                    <a:pt x="12127" y="130854"/>
                  </a:cubicBezTo>
                  <a:cubicBezTo>
                    <a:pt x="16749" y="138539"/>
                    <a:pt x="22258" y="145512"/>
                    <a:pt x="29134" y="151348"/>
                  </a:cubicBezTo>
                  <a:cubicBezTo>
                    <a:pt x="31195" y="153101"/>
                    <a:pt x="33121" y="155027"/>
                    <a:pt x="35105" y="156896"/>
                  </a:cubicBezTo>
                  <a:cubicBezTo>
                    <a:pt x="35991" y="157223"/>
                    <a:pt x="36993" y="157396"/>
                    <a:pt x="37744" y="157897"/>
                  </a:cubicBezTo>
                  <a:cubicBezTo>
                    <a:pt x="53654" y="168491"/>
                    <a:pt x="71067" y="173653"/>
                    <a:pt x="90251" y="172883"/>
                  </a:cubicBezTo>
                  <a:cubicBezTo>
                    <a:pt x="107008" y="172189"/>
                    <a:pt x="122167" y="166969"/>
                    <a:pt x="135939" y="157531"/>
                  </a:cubicBezTo>
                  <a:cubicBezTo>
                    <a:pt x="133069" y="155239"/>
                    <a:pt x="130141" y="153024"/>
                    <a:pt x="127368" y="150616"/>
                  </a:cubicBezTo>
                  <a:cubicBezTo>
                    <a:pt x="111631" y="137018"/>
                    <a:pt x="101923" y="119817"/>
                    <a:pt x="98649" y="99419"/>
                  </a:cubicBezTo>
                  <a:cubicBezTo>
                    <a:pt x="94720" y="74900"/>
                    <a:pt x="100344" y="52441"/>
                    <a:pt x="115271" y="32467"/>
                  </a:cubicBezTo>
                  <a:cubicBezTo>
                    <a:pt x="120549" y="25398"/>
                    <a:pt x="127079" y="19581"/>
                    <a:pt x="134051" y="14226"/>
                  </a:cubicBezTo>
                  <a:cubicBezTo>
                    <a:pt x="120703" y="5462"/>
                    <a:pt x="106007" y="685"/>
                    <a:pt x="90078" y="69"/>
                  </a:cubicBezTo>
                  <a:cubicBezTo>
                    <a:pt x="71144" y="-663"/>
                    <a:pt x="53789" y="4441"/>
                    <a:pt x="38014" y="14920"/>
                  </a:cubicBezTo>
                  <a:cubicBezTo>
                    <a:pt x="37494" y="15266"/>
                    <a:pt x="36839" y="15382"/>
                    <a:pt x="36203" y="15536"/>
                  </a:cubicBezTo>
                  <a:cubicBezTo>
                    <a:pt x="35991" y="15594"/>
                    <a:pt x="35780" y="15632"/>
                    <a:pt x="35568" y="15709"/>
                  </a:cubicBezTo>
                  <a:lnTo>
                    <a:pt x="35568" y="15709"/>
                  </a:lnTo>
                  <a:cubicBezTo>
                    <a:pt x="35048" y="16326"/>
                    <a:pt x="34624" y="17058"/>
                    <a:pt x="34008" y="17539"/>
                  </a:cubicBezTo>
                  <a:close/>
                </a:path>
              </a:pathLst>
            </a:custGeom>
            <a:solidFill>
              <a:srgbClr val="A1ABB2">
                <a:alpha val="70000"/>
              </a:srgbClr>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5" name="Freeform: Shape 404">
              <a:extLst>
                <a:ext uri="{FF2B5EF4-FFF2-40B4-BE49-F238E27FC236}">
                  <a16:creationId xmlns:a16="http://schemas.microsoft.com/office/drawing/2014/main" id="{66B8DB38-DA8D-446F-8640-F7CCD63B23D7}"/>
                </a:ext>
              </a:extLst>
            </p:cNvPr>
            <p:cNvSpPr/>
            <p:nvPr/>
          </p:nvSpPr>
          <p:spPr>
            <a:xfrm>
              <a:off x="10127612" y="4140168"/>
              <a:ext cx="635" cy="173"/>
            </a:xfrm>
            <a:custGeom>
              <a:avLst/>
              <a:gdLst>
                <a:gd name="connsiteX0" fmla="*/ 636 w 635"/>
                <a:gd name="connsiteY0" fmla="*/ 0 h 173"/>
                <a:gd name="connsiteX1" fmla="*/ 0 w 635"/>
                <a:gd name="connsiteY1" fmla="*/ 173 h 173"/>
                <a:gd name="connsiteX2" fmla="*/ 0 w 635"/>
                <a:gd name="connsiteY2" fmla="*/ 173 h 173"/>
                <a:gd name="connsiteX3" fmla="*/ 636 w 635"/>
                <a:gd name="connsiteY3" fmla="*/ 0 h 173"/>
              </a:gdLst>
              <a:ahLst/>
              <a:cxnLst>
                <a:cxn ang="0">
                  <a:pos x="connsiteX0" y="connsiteY0"/>
                </a:cxn>
                <a:cxn ang="0">
                  <a:pos x="connsiteX1" y="connsiteY1"/>
                </a:cxn>
                <a:cxn ang="0">
                  <a:pos x="connsiteX2" y="connsiteY2"/>
                </a:cxn>
                <a:cxn ang="0">
                  <a:pos x="connsiteX3" y="connsiteY3"/>
                </a:cxn>
              </a:cxnLst>
              <a:rect l="l" t="t" r="r" b="b"/>
              <a:pathLst>
                <a:path w="635" h="173">
                  <a:moveTo>
                    <a:pt x="636" y="0"/>
                  </a:moveTo>
                  <a:cubicBezTo>
                    <a:pt x="424" y="58"/>
                    <a:pt x="212" y="96"/>
                    <a:pt x="0" y="173"/>
                  </a:cubicBezTo>
                  <a:lnTo>
                    <a:pt x="0" y="173"/>
                  </a:lnTo>
                  <a:cubicBezTo>
                    <a:pt x="212" y="116"/>
                    <a:pt x="424" y="58"/>
                    <a:pt x="636" y="0"/>
                  </a:cubicBezTo>
                  <a:close/>
                </a:path>
              </a:pathLst>
            </a:custGeom>
            <a:solidFill>
              <a:srgbClr val="5873B7"/>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6" name="Freeform: Shape 405">
              <a:extLst>
                <a:ext uri="{FF2B5EF4-FFF2-40B4-BE49-F238E27FC236}">
                  <a16:creationId xmlns:a16="http://schemas.microsoft.com/office/drawing/2014/main" id="{E4002461-A7C7-40A0-979F-C0303C4C0C4A}"/>
                </a:ext>
              </a:extLst>
            </p:cNvPr>
            <p:cNvSpPr/>
            <p:nvPr/>
          </p:nvSpPr>
          <p:spPr>
            <a:xfrm>
              <a:off x="10189499" y="4123599"/>
              <a:ext cx="135389" cy="172494"/>
            </a:xfrm>
            <a:custGeom>
              <a:avLst/>
              <a:gdLst>
                <a:gd name="connsiteX0" fmla="*/ 17837 w 135389"/>
                <a:gd name="connsiteY0" fmla="*/ 33500 h 172494"/>
                <a:gd name="connsiteX1" fmla="*/ 1214 w 135389"/>
                <a:gd name="connsiteY1" fmla="*/ 100453 h 172494"/>
                <a:gd name="connsiteX2" fmla="*/ 29933 w 135389"/>
                <a:gd name="connsiteY2" fmla="*/ 151649 h 172494"/>
                <a:gd name="connsiteX3" fmla="*/ 38504 w 135389"/>
                <a:gd name="connsiteY3" fmla="*/ 158564 h 172494"/>
                <a:gd name="connsiteX4" fmla="*/ 41471 w 135389"/>
                <a:gd name="connsiteY4" fmla="*/ 159547 h 172494"/>
                <a:gd name="connsiteX5" fmla="*/ 48867 w 135389"/>
                <a:gd name="connsiteY5" fmla="*/ 163707 h 172494"/>
                <a:gd name="connsiteX6" fmla="*/ 74851 w 135389"/>
                <a:gd name="connsiteY6" fmla="*/ 171643 h 172494"/>
                <a:gd name="connsiteX7" fmla="*/ 100950 w 135389"/>
                <a:gd name="connsiteY7" fmla="*/ 171373 h 172494"/>
                <a:gd name="connsiteX8" fmla="*/ 128532 w 135389"/>
                <a:gd name="connsiteY8" fmla="*/ 161608 h 172494"/>
                <a:gd name="connsiteX9" fmla="*/ 134292 w 135389"/>
                <a:gd name="connsiteY9" fmla="*/ 158006 h 172494"/>
                <a:gd name="connsiteX10" fmla="*/ 98234 w 135389"/>
                <a:gd name="connsiteY10" fmla="*/ 86064 h 172494"/>
                <a:gd name="connsiteX11" fmla="*/ 135389 w 135389"/>
                <a:gd name="connsiteY11" fmla="*/ 15105 h 172494"/>
                <a:gd name="connsiteX12" fmla="*/ 119422 w 135389"/>
                <a:gd name="connsiteY12" fmla="*/ 6418 h 172494"/>
                <a:gd name="connsiteX13" fmla="*/ 87717 w 135389"/>
                <a:gd name="connsiteY13" fmla="*/ 4 h 172494"/>
                <a:gd name="connsiteX14" fmla="*/ 71730 w 135389"/>
                <a:gd name="connsiteY14" fmla="*/ 1372 h 172494"/>
                <a:gd name="connsiteX15" fmla="*/ 43647 w 135389"/>
                <a:gd name="connsiteY15" fmla="*/ 11599 h 172494"/>
                <a:gd name="connsiteX16" fmla="*/ 36636 w 135389"/>
                <a:gd name="connsiteY16" fmla="*/ 15240 h 172494"/>
                <a:gd name="connsiteX17" fmla="*/ 17856 w 135389"/>
                <a:gd name="connsiteY17" fmla="*/ 33480 h 17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389" h="172494">
                  <a:moveTo>
                    <a:pt x="17837" y="33500"/>
                  </a:moveTo>
                  <a:cubicBezTo>
                    <a:pt x="2909" y="53474"/>
                    <a:pt x="-2715" y="75952"/>
                    <a:pt x="1214" y="100453"/>
                  </a:cubicBezTo>
                  <a:cubicBezTo>
                    <a:pt x="4489" y="120870"/>
                    <a:pt x="14177" y="138051"/>
                    <a:pt x="29933" y="151649"/>
                  </a:cubicBezTo>
                  <a:cubicBezTo>
                    <a:pt x="32707" y="154057"/>
                    <a:pt x="35654" y="156272"/>
                    <a:pt x="38504" y="158564"/>
                  </a:cubicBezTo>
                  <a:cubicBezTo>
                    <a:pt x="39506" y="158872"/>
                    <a:pt x="40565" y="159065"/>
                    <a:pt x="41471" y="159547"/>
                  </a:cubicBezTo>
                  <a:cubicBezTo>
                    <a:pt x="43975" y="160876"/>
                    <a:pt x="46305" y="162513"/>
                    <a:pt x="48867" y="163707"/>
                  </a:cubicBezTo>
                  <a:cubicBezTo>
                    <a:pt x="57130" y="167598"/>
                    <a:pt x="65721" y="170372"/>
                    <a:pt x="74851" y="171643"/>
                  </a:cubicBezTo>
                  <a:cubicBezTo>
                    <a:pt x="83595" y="172856"/>
                    <a:pt x="92302" y="172779"/>
                    <a:pt x="100950" y="171373"/>
                  </a:cubicBezTo>
                  <a:cubicBezTo>
                    <a:pt x="110696" y="169794"/>
                    <a:pt x="119884" y="166423"/>
                    <a:pt x="128532" y="161608"/>
                  </a:cubicBezTo>
                  <a:cubicBezTo>
                    <a:pt x="130478" y="160529"/>
                    <a:pt x="132308" y="159258"/>
                    <a:pt x="134292" y="158006"/>
                  </a:cubicBezTo>
                  <a:cubicBezTo>
                    <a:pt x="110446" y="139573"/>
                    <a:pt x="97964" y="115823"/>
                    <a:pt x="98234" y="86064"/>
                  </a:cubicBezTo>
                  <a:cubicBezTo>
                    <a:pt x="98504" y="56363"/>
                    <a:pt x="111505" y="32922"/>
                    <a:pt x="135389" y="15105"/>
                  </a:cubicBezTo>
                  <a:cubicBezTo>
                    <a:pt x="130227" y="11407"/>
                    <a:pt x="124950" y="8691"/>
                    <a:pt x="119422" y="6418"/>
                  </a:cubicBezTo>
                  <a:cubicBezTo>
                    <a:pt x="109271" y="2219"/>
                    <a:pt x="98696" y="-111"/>
                    <a:pt x="87717" y="4"/>
                  </a:cubicBezTo>
                  <a:cubicBezTo>
                    <a:pt x="82382" y="62"/>
                    <a:pt x="77027" y="601"/>
                    <a:pt x="71730" y="1372"/>
                  </a:cubicBezTo>
                  <a:cubicBezTo>
                    <a:pt x="61695" y="2836"/>
                    <a:pt x="52411" y="6534"/>
                    <a:pt x="43647" y="11599"/>
                  </a:cubicBezTo>
                  <a:cubicBezTo>
                    <a:pt x="41374" y="12909"/>
                    <a:pt x="38967" y="14026"/>
                    <a:pt x="36636" y="15240"/>
                  </a:cubicBezTo>
                  <a:cubicBezTo>
                    <a:pt x="29683" y="20595"/>
                    <a:pt x="23153" y="26412"/>
                    <a:pt x="17856" y="33480"/>
                  </a:cubicBezTo>
                  <a:close/>
                </a:path>
              </a:pathLst>
            </a:custGeom>
            <a:solidFill>
              <a:srgbClr val="A1ABB2">
                <a:alpha val="40000"/>
              </a:srgbClr>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7" name="Freeform: Shape 406">
              <a:extLst>
                <a:ext uri="{FF2B5EF4-FFF2-40B4-BE49-F238E27FC236}">
                  <a16:creationId xmlns:a16="http://schemas.microsoft.com/office/drawing/2014/main" id="{7DBA7063-743D-450D-BFA3-D6EBC7F9990C}"/>
                </a:ext>
              </a:extLst>
            </p:cNvPr>
            <p:cNvSpPr/>
            <p:nvPr/>
          </p:nvSpPr>
          <p:spPr>
            <a:xfrm>
              <a:off x="10967512" y="4145118"/>
              <a:ext cx="147331" cy="134609"/>
            </a:xfrm>
            <a:custGeom>
              <a:avLst/>
              <a:gdLst>
                <a:gd name="connsiteX0" fmla="*/ 112309 w 147331"/>
                <a:gd name="connsiteY0" fmla="*/ 8244 h 134609"/>
                <a:gd name="connsiteX1" fmla="*/ 73574 w 147331"/>
                <a:gd name="connsiteY1" fmla="*/ 0 h 134609"/>
                <a:gd name="connsiteX2" fmla="*/ 54602 w 147331"/>
                <a:gd name="connsiteY2" fmla="*/ 2138 h 134609"/>
                <a:gd name="connsiteX3" fmla="*/ 13151 w 147331"/>
                <a:gd name="connsiteY3" fmla="*/ 26966 h 134609"/>
                <a:gd name="connsiteX4" fmla="*/ 1228 w 147331"/>
                <a:gd name="connsiteY4" fmla="*/ 80243 h 134609"/>
                <a:gd name="connsiteX5" fmla="*/ 41215 w 147331"/>
                <a:gd name="connsiteY5" fmla="*/ 128628 h 134609"/>
                <a:gd name="connsiteX6" fmla="*/ 104431 w 147331"/>
                <a:gd name="connsiteY6" fmla="*/ 129379 h 134609"/>
                <a:gd name="connsiteX7" fmla="*/ 142337 w 147331"/>
                <a:gd name="connsiteY7" fmla="*/ 93803 h 134609"/>
                <a:gd name="connsiteX8" fmla="*/ 146190 w 147331"/>
                <a:gd name="connsiteY8" fmla="*/ 54414 h 134609"/>
                <a:gd name="connsiteX9" fmla="*/ 112309 w 147331"/>
                <a:gd name="connsiteY9" fmla="*/ 8244 h 134609"/>
                <a:gd name="connsiteX10" fmla="*/ 95648 w 147331"/>
                <a:gd name="connsiteY10" fmla="*/ 84500 h 134609"/>
                <a:gd name="connsiteX11" fmla="*/ 73690 w 147331"/>
                <a:gd name="connsiteY11" fmla="*/ 101180 h 134609"/>
                <a:gd name="connsiteX12" fmla="*/ 51674 w 147331"/>
                <a:gd name="connsiteY12" fmla="*/ 84442 h 134609"/>
                <a:gd name="connsiteX13" fmla="*/ 51905 w 147331"/>
                <a:gd name="connsiteY13" fmla="*/ 50272 h 134609"/>
                <a:gd name="connsiteX14" fmla="*/ 82608 w 147331"/>
                <a:gd name="connsiteY14" fmla="*/ 35788 h 134609"/>
                <a:gd name="connsiteX15" fmla="*/ 96630 w 147331"/>
                <a:gd name="connsiteY15" fmla="*/ 54009 h 134609"/>
                <a:gd name="connsiteX16" fmla="*/ 98537 w 147331"/>
                <a:gd name="connsiteY16" fmla="*/ 68205 h 134609"/>
                <a:gd name="connsiteX17" fmla="*/ 95648 w 147331"/>
                <a:gd name="connsiteY17" fmla="*/ 84500 h 134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7331" h="134609">
                  <a:moveTo>
                    <a:pt x="112309" y="8244"/>
                  </a:moveTo>
                  <a:cubicBezTo>
                    <a:pt x="100174" y="2196"/>
                    <a:pt x="87057" y="385"/>
                    <a:pt x="73574" y="0"/>
                  </a:cubicBezTo>
                  <a:cubicBezTo>
                    <a:pt x="67237" y="693"/>
                    <a:pt x="60842" y="1002"/>
                    <a:pt x="54602" y="2138"/>
                  </a:cubicBezTo>
                  <a:cubicBezTo>
                    <a:pt x="37709" y="5181"/>
                    <a:pt x="23629" y="13194"/>
                    <a:pt x="13151" y="26966"/>
                  </a:cubicBezTo>
                  <a:cubicBezTo>
                    <a:pt x="1055" y="42876"/>
                    <a:pt x="-2066" y="61078"/>
                    <a:pt x="1228" y="80243"/>
                  </a:cubicBezTo>
                  <a:cubicBezTo>
                    <a:pt x="5273" y="103742"/>
                    <a:pt x="19064" y="120095"/>
                    <a:pt x="41215" y="128628"/>
                  </a:cubicBezTo>
                  <a:cubicBezTo>
                    <a:pt x="62017" y="136621"/>
                    <a:pt x="83398" y="136332"/>
                    <a:pt x="104431" y="129379"/>
                  </a:cubicBezTo>
                  <a:cubicBezTo>
                    <a:pt x="122363" y="123466"/>
                    <a:pt x="135095" y="111312"/>
                    <a:pt x="142337" y="93803"/>
                  </a:cubicBezTo>
                  <a:cubicBezTo>
                    <a:pt x="147577" y="81129"/>
                    <a:pt x="148386" y="67839"/>
                    <a:pt x="146190" y="54414"/>
                  </a:cubicBezTo>
                  <a:cubicBezTo>
                    <a:pt x="142742" y="33322"/>
                    <a:pt x="131436" y="17778"/>
                    <a:pt x="112309" y="8244"/>
                  </a:cubicBezTo>
                  <a:close/>
                  <a:moveTo>
                    <a:pt x="95648" y="84500"/>
                  </a:moveTo>
                  <a:cubicBezTo>
                    <a:pt x="92585" y="94997"/>
                    <a:pt x="84014" y="101277"/>
                    <a:pt x="73690" y="101180"/>
                  </a:cubicBezTo>
                  <a:cubicBezTo>
                    <a:pt x="62480" y="101084"/>
                    <a:pt x="54563" y="93996"/>
                    <a:pt x="51674" y="84442"/>
                  </a:cubicBezTo>
                  <a:cubicBezTo>
                    <a:pt x="48245" y="73097"/>
                    <a:pt x="48111" y="61560"/>
                    <a:pt x="51905" y="50272"/>
                  </a:cubicBezTo>
                  <a:cubicBezTo>
                    <a:pt x="56605" y="36327"/>
                    <a:pt x="70878" y="30799"/>
                    <a:pt x="82608" y="35788"/>
                  </a:cubicBezTo>
                  <a:cubicBezTo>
                    <a:pt x="90582" y="39197"/>
                    <a:pt x="94877" y="45784"/>
                    <a:pt x="96630" y="54009"/>
                  </a:cubicBezTo>
                  <a:cubicBezTo>
                    <a:pt x="97574" y="58420"/>
                    <a:pt x="97863" y="62946"/>
                    <a:pt x="98537" y="68205"/>
                  </a:cubicBezTo>
                  <a:cubicBezTo>
                    <a:pt x="97689" y="73232"/>
                    <a:pt x="97247" y="79030"/>
                    <a:pt x="95648" y="8450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8" name="Freeform: Shape 407">
              <a:extLst>
                <a:ext uri="{FF2B5EF4-FFF2-40B4-BE49-F238E27FC236}">
                  <a16:creationId xmlns:a16="http://schemas.microsoft.com/office/drawing/2014/main" id="{00422FA0-87A8-4540-84F8-6E71E57068B6}"/>
                </a:ext>
              </a:extLst>
            </p:cNvPr>
            <p:cNvSpPr/>
            <p:nvPr/>
          </p:nvSpPr>
          <p:spPr>
            <a:xfrm>
              <a:off x="11625728" y="4145497"/>
              <a:ext cx="136134" cy="133827"/>
            </a:xfrm>
            <a:custGeom>
              <a:avLst/>
              <a:gdLst>
                <a:gd name="connsiteX0" fmla="*/ 106573 w 136134"/>
                <a:gd name="connsiteY0" fmla="*/ 53476 h 133827"/>
                <a:gd name="connsiteX1" fmla="*/ 67473 w 136134"/>
                <a:gd name="connsiteY1" fmla="*/ 46465 h 133827"/>
                <a:gd name="connsiteX2" fmla="*/ 54375 w 136134"/>
                <a:gd name="connsiteY2" fmla="*/ 43209 h 133827"/>
                <a:gd name="connsiteX3" fmla="*/ 52930 w 136134"/>
                <a:gd name="connsiteY3" fmla="*/ 28898 h 133827"/>
                <a:gd name="connsiteX4" fmla="*/ 57669 w 136134"/>
                <a:gd name="connsiteY4" fmla="*/ 26722 h 133827"/>
                <a:gd name="connsiteX5" fmla="*/ 70458 w 136134"/>
                <a:gd name="connsiteY5" fmla="*/ 26375 h 133827"/>
                <a:gd name="connsiteX6" fmla="*/ 84327 w 136134"/>
                <a:gd name="connsiteY6" fmla="*/ 36622 h 133827"/>
                <a:gd name="connsiteX7" fmla="*/ 87736 w 136134"/>
                <a:gd name="connsiteY7" fmla="*/ 38587 h 133827"/>
                <a:gd name="connsiteX8" fmla="*/ 119845 w 136134"/>
                <a:gd name="connsiteY8" fmla="*/ 35370 h 133827"/>
                <a:gd name="connsiteX9" fmla="*/ 131594 w 136134"/>
                <a:gd name="connsiteY9" fmla="*/ 34157 h 133827"/>
                <a:gd name="connsiteX10" fmla="*/ 108557 w 136134"/>
                <a:gd name="connsiteY10" fmla="*/ 6401 h 133827"/>
                <a:gd name="connsiteX11" fmla="*/ 81129 w 136134"/>
                <a:gd name="connsiteY11" fmla="*/ 372 h 133827"/>
                <a:gd name="connsiteX12" fmla="*/ 47499 w 136134"/>
                <a:gd name="connsiteY12" fmla="*/ 1200 h 133827"/>
                <a:gd name="connsiteX13" fmla="*/ 24558 w 136134"/>
                <a:gd name="connsiteY13" fmla="*/ 8192 h 133827"/>
                <a:gd name="connsiteX14" fmla="*/ 6260 w 136134"/>
                <a:gd name="connsiteY14" fmla="*/ 47967 h 133827"/>
                <a:gd name="connsiteX15" fmla="*/ 29797 w 136134"/>
                <a:gd name="connsiteY15" fmla="*/ 73642 h 133827"/>
                <a:gd name="connsiteX16" fmla="*/ 66702 w 136134"/>
                <a:gd name="connsiteY16" fmla="*/ 82079 h 133827"/>
                <a:gd name="connsiteX17" fmla="*/ 83922 w 136134"/>
                <a:gd name="connsiteY17" fmla="*/ 86085 h 133827"/>
                <a:gd name="connsiteX18" fmla="*/ 91068 w 136134"/>
                <a:gd name="connsiteY18" fmla="*/ 94214 h 133827"/>
                <a:gd name="connsiteX19" fmla="*/ 86176 w 136134"/>
                <a:gd name="connsiteY19" fmla="*/ 103247 h 133827"/>
                <a:gd name="connsiteX20" fmla="*/ 66645 w 136134"/>
                <a:gd name="connsiteY20" fmla="*/ 106676 h 133827"/>
                <a:gd name="connsiteX21" fmla="*/ 49829 w 136134"/>
                <a:gd name="connsiteY21" fmla="*/ 94117 h 133827"/>
                <a:gd name="connsiteX22" fmla="*/ 48462 w 136134"/>
                <a:gd name="connsiteY22" fmla="*/ 90862 h 133827"/>
                <a:gd name="connsiteX23" fmla="*/ 0 w 136134"/>
                <a:gd name="connsiteY23" fmla="*/ 95427 h 133827"/>
                <a:gd name="connsiteX24" fmla="*/ 404 w 136134"/>
                <a:gd name="connsiteY24" fmla="*/ 97469 h 133827"/>
                <a:gd name="connsiteX25" fmla="*/ 32128 w 136134"/>
                <a:gd name="connsiteY25" fmla="*/ 129635 h 133827"/>
                <a:gd name="connsiteX26" fmla="*/ 71171 w 136134"/>
                <a:gd name="connsiteY26" fmla="*/ 133815 h 133827"/>
                <a:gd name="connsiteX27" fmla="*/ 101257 w 136134"/>
                <a:gd name="connsiteY27" fmla="*/ 130059 h 133827"/>
                <a:gd name="connsiteX28" fmla="*/ 130881 w 136134"/>
                <a:gd name="connsiteY28" fmla="*/ 108294 h 133827"/>
                <a:gd name="connsiteX29" fmla="*/ 129283 w 136134"/>
                <a:gd name="connsiteY29" fmla="*/ 68789 h 133827"/>
                <a:gd name="connsiteX30" fmla="*/ 106612 w 136134"/>
                <a:gd name="connsiteY30" fmla="*/ 53457 h 133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36134" h="133827">
                  <a:moveTo>
                    <a:pt x="106573" y="53476"/>
                  </a:moveTo>
                  <a:cubicBezTo>
                    <a:pt x="93842" y="49450"/>
                    <a:pt x="80590" y="48410"/>
                    <a:pt x="67473" y="46465"/>
                  </a:cubicBezTo>
                  <a:cubicBezTo>
                    <a:pt x="63023" y="45810"/>
                    <a:pt x="58535" y="44847"/>
                    <a:pt x="54375" y="43209"/>
                  </a:cubicBezTo>
                  <a:cubicBezTo>
                    <a:pt x="47884" y="40667"/>
                    <a:pt x="47229" y="33001"/>
                    <a:pt x="52930" y="28898"/>
                  </a:cubicBezTo>
                  <a:cubicBezTo>
                    <a:pt x="54317" y="27897"/>
                    <a:pt x="56031" y="26876"/>
                    <a:pt x="57669" y="26722"/>
                  </a:cubicBezTo>
                  <a:cubicBezTo>
                    <a:pt x="61906" y="26317"/>
                    <a:pt x="66279" y="25797"/>
                    <a:pt x="70458" y="26375"/>
                  </a:cubicBezTo>
                  <a:cubicBezTo>
                    <a:pt x="76718" y="27242"/>
                    <a:pt x="82054" y="30150"/>
                    <a:pt x="84327" y="36622"/>
                  </a:cubicBezTo>
                  <a:cubicBezTo>
                    <a:pt x="85001" y="38529"/>
                    <a:pt x="86041" y="38760"/>
                    <a:pt x="87736" y="38587"/>
                  </a:cubicBezTo>
                  <a:cubicBezTo>
                    <a:pt x="98426" y="37489"/>
                    <a:pt x="109135" y="36449"/>
                    <a:pt x="119845" y="35370"/>
                  </a:cubicBezTo>
                  <a:cubicBezTo>
                    <a:pt x="123658" y="34985"/>
                    <a:pt x="127453" y="34580"/>
                    <a:pt x="131594" y="34157"/>
                  </a:cubicBezTo>
                  <a:cubicBezTo>
                    <a:pt x="126933" y="22060"/>
                    <a:pt x="120134" y="12256"/>
                    <a:pt x="108557" y="6401"/>
                  </a:cubicBezTo>
                  <a:cubicBezTo>
                    <a:pt x="99928" y="2028"/>
                    <a:pt x="90567" y="815"/>
                    <a:pt x="81129" y="372"/>
                  </a:cubicBezTo>
                  <a:cubicBezTo>
                    <a:pt x="69919" y="-148"/>
                    <a:pt x="58670" y="-321"/>
                    <a:pt x="47499" y="1200"/>
                  </a:cubicBezTo>
                  <a:cubicBezTo>
                    <a:pt x="39467" y="2298"/>
                    <a:pt x="31704" y="4244"/>
                    <a:pt x="24558" y="8192"/>
                  </a:cubicBezTo>
                  <a:cubicBezTo>
                    <a:pt x="9534" y="16475"/>
                    <a:pt x="2388" y="31537"/>
                    <a:pt x="6260" y="47967"/>
                  </a:cubicBezTo>
                  <a:cubicBezTo>
                    <a:pt x="9265" y="60737"/>
                    <a:pt x="17605" y="69232"/>
                    <a:pt x="29797" y="73642"/>
                  </a:cubicBezTo>
                  <a:cubicBezTo>
                    <a:pt x="41720" y="77976"/>
                    <a:pt x="54298" y="79671"/>
                    <a:pt x="66702" y="82079"/>
                  </a:cubicBezTo>
                  <a:cubicBezTo>
                    <a:pt x="72481" y="83196"/>
                    <a:pt x="78259" y="84487"/>
                    <a:pt x="83922" y="86085"/>
                  </a:cubicBezTo>
                  <a:cubicBezTo>
                    <a:pt x="87851" y="87203"/>
                    <a:pt x="90683" y="89841"/>
                    <a:pt x="91068" y="94214"/>
                  </a:cubicBezTo>
                  <a:cubicBezTo>
                    <a:pt x="91415" y="98201"/>
                    <a:pt x="89431" y="101148"/>
                    <a:pt x="86176" y="103247"/>
                  </a:cubicBezTo>
                  <a:cubicBezTo>
                    <a:pt x="80166" y="107157"/>
                    <a:pt x="73521" y="107446"/>
                    <a:pt x="66645" y="106676"/>
                  </a:cubicBezTo>
                  <a:cubicBezTo>
                    <a:pt x="58535" y="105771"/>
                    <a:pt x="53104" y="101417"/>
                    <a:pt x="49829" y="94117"/>
                  </a:cubicBezTo>
                  <a:cubicBezTo>
                    <a:pt x="49367" y="93077"/>
                    <a:pt x="48943" y="92018"/>
                    <a:pt x="48462" y="90862"/>
                  </a:cubicBezTo>
                  <a:cubicBezTo>
                    <a:pt x="32321" y="92384"/>
                    <a:pt x="16218" y="93906"/>
                    <a:pt x="0" y="95427"/>
                  </a:cubicBezTo>
                  <a:cubicBezTo>
                    <a:pt x="173" y="96294"/>
                    <a:pt x="231" y="96891"/>
                    <a:pt x="404" y="97469"/>
                  </a:cubicBezTo>
                  <a:cubicBezTo>
                    <a:pt x="5066" y="114014"/>
                    <a:pt x="15544" y="124897"/>
                    <a:pt x="32128" y="129635"/>
                  </a:cubicBezTo>
                  <a:cubicBezTo>
                    <a:pt x="44879" y="133295"/>
                    <a:pt x="57996" y="133931"/>
                    <a:pt x="71171" y="133815"/>
                  </a:cubicBezTo>
                  <a:cubicBezTo>
                    <a:pt x="81322" y="133719"/>
                    <a:pt x="91453" y="132987"/>
                    <a:pt x="101257" y="130059"/>
                  </a:cubicBezTo>
                  <a:cubicBezTo>
                    <a:pt x="113681" y="126342"/>
                    <a:pt x="124467" y="120197"/>
                    <a:pt x="130881" y="108294"/>
                  </a:cubicBezTo>
                  <a:cubicBezTo>
                    <a:pt x="138105" y="94849"/>
                    <a:pt x="138162" y="81559"/>
                    <a:pt x="129283" y="68789"/>
                  </a:cubicBezTo>
                  <a:cubicBezTo>
                    <a:pt x="123735" y="60814"/>
                    <a:pt x="115665" y="56326"/>
                    <a:pt x="106612" y="53457"/>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09" name="Freeform: Shape 408">
              <a:extLst>
                <a:ext uri="{FF2B5EF4-FFF2-40B4-BE49-F238E27FC236}">
                  <a16:creationId xmlns:a16="http://schemas.microsoft.com/office/drawing/2014/main" id="{58666D54-EA0A-426E-A632-D62221B35FEE}"/>
                </a:ext>
              </a:extLst>
            </p:cNvPr>
            <p:cNvSpPr/>
            <p:nvPr/>
          </p:nvSpPr>
          <p:spPr>
            <a:xfrm>
              <a:off x="11469296" y="4145251"/>
              <a:ext cx="148439" cy="134375"/>
            </a:xfrm>
            <a:custGeom>
              <a:avLst/>
              <a:gdLst>
                <a:gd name="connsiteX0" fmla="*/ 101326 w 148439"/>
                <a:gd name="connsiteY0" fmla="*/ 82653 h 134375"/>
                <a:gd name="connsiteX1" fmla="*/ 100825 w 148439"/>
                <a:gd name="connsiteY1" fmla="*/ 83943 h 134375"/>
                <a:gd name="connsiteX2" fmla="*/ 79676 w 148439"/>
                <a:gd name="connsiteY2" fmla="*/ 101086 h 134375"/>
                <a:gd name="connsiteX3" fmla="*/ 51631 w 148439"/>
                <a:gd name="connsiteY3" fmla="*/ 84637 h 134375"/>
                <a:gd name="connsiteX4" fmla="*/ 50668 w 148439"/>
                <a:gd name="connsiteY4" fmla="*/ 55379 h 134375"/>
                <a:gd name="connsiteX5" fmla="*/ 78982 w 148439"/>
                <a:gd name="connsiteY5" fmla="*/ 33864 h 134375"/>
                <a:gd name="connsiteX6" fmla="*/ 99091 w 148439"/>
                <a:gd name="connsiteY6" fmla="*/ 48002 h 134375"/>
                <a:gd name="connsiteX7" fmla="*/ 99881 w 148439"/>
                <a:gd name="connsiteY7" fmla="*/ 50332 h 134375"/>
                <a:gd name="connsiteX8" fmla="*/ 145569 w 148439"/>
                <a:gd name="connsiteY8" fmla="*/ 44246 h 134375"/>
                <a:gd name="connsiteX9" fmla="*/ 145685 w 148439"/>
                <a:gd name="connsiteY9" fmla="*/ 43687 h 134375"/>
                <a:gd name="connsiteX10" fmla="*/ 145473 w 148439"/>
                <a:gd name="connsiteY10" fmla="*/ 42782 h 134375"/>
                <a:gd name="connsiteX11" fmla="*/ 108549 w 148439"/>
                <a:gd name="connsiteY11" fmla="*/ 4740 h 134375"/>
                <a:gd name="connsiteX12" fmla="*/ 50167 w 148439"/>
                <a:gd name="connsiteY12" fmla="*/ 2622 h 134375"/>
                <a:gd name="connsiteX13" fmla="*/ 6887 w 148439"/>
                <a:gd name="connsiteY13" fmla="*/ 35655 h 134375"/>
                <a:gd name="connsiteX14" fmla="*/ 2187 w 148439"/>
                <a:gd name="connsiteY14" fmla="*/ 85870 h 134375"/>
                <a:gd name="connsiteX15" fmla="*/ 43715 w 148439"/>
                <a:gd name="connsiteY15" fmla="*/ 129863 h 134375"/>
                <a:gd name="connsiteX16" fmla="*/ 100555 w 148439"/>
                <a:gd name="connsiteY16" fmla="*/ 132039 h 134375"/>
                <a:gd name="connsiteX17" fmla="*/ 133897 w 148439"/>
                <a:gd name="connsiteY17" fmla="*/ 113799 h 134375"/>
                <a:gd name="connsiteX18" fmla="*/ 148439 w 148439"/>
                <a:gd name="connsiteY18" fmla="*/ 86390 h 134375"/>
                <a:gd name="connsiteX19" fmla="*/ 101942 w 148439"/>
                <a:gd name="connsiteY19" fmla="*/ 81112 h 134375"/>
                <a:gd name="connsiteX20" fmla="*/ 101326 w 148439"/>
                <a:gd name="connsiteY20" fmla="*/ 82634 h 13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8439" h="134375">
                  <a:moveTo>
                    <a:pt x="101326" y="82653"/>
                  </a:moveTo>
                  <a:cubicBezTo>
                    <a:pt x="101152" y="83077"/>
                    <a:pt x="100998" y="83520"/>
                    <a:pt x="100825" y="83943"/>
                  </a:cubicBezTo>
                  <a:cubicBezTo>
                    <a:pt x="97011" y="93651"/>
                    <a:pt x="90289" y="99564"/>
                    <a:pt x="79676" y="101086"/>
                  </a:cubicBezTo>
                  <a:cubicBezTo>
                    <a:pt x="67522" y="102839"/>
                    <a:pt x="55715" y="96194"/>
                    <a:pt x="51631" y="84637"/>
                  </a:cubicBezTo>
                  <a:cubicBezTo>
                    <a:pt x="48241" y="75006"/>
                    <a:pt x="48415" y="65164"/>
                    <a:pt x="50668" y="55379"/>
                  </a:cubicBezTo>
                  <a:cubicBezTo>
                    <a:pt x="54058" y="40702"/>
                    <a:pt x="64055" y="33228"/>
                    <a:pt x="78982" y="33864"/>
                  </a:cubicBezTo>
                  <a:cubicBezTo>
                    <a:pt x="88921" y="34287"/>
                    <a:pt x="95855" y="39161"/>
                    <a:pt x="99091" y="48002"/>
                  </a:cubicBezTo>
                  <a:cubicBezTo>
                    <a:pt x="99380" y="48772"/>
                    <a:pt x="99631" y="49562"/>
                    <a:pt x="99881" y="50332"/>
                  </a:cubicBezTo>
                  <a:cubicBezTo>
                    <a:pt x="115213" y="48291"/>
                    <a:pt x="130411" y="46268"/>
                    <a:pt x="145569" y="44246"/>
                  </a:cubicBezTo>
                  <a:cubicBezTo>
                    <a:pt x="145627" y="43976"/>
                    <a:pt x="145704" y="43822"/>
                    <a:pt x="145685" y="43687"/>
                  </a:cubicBezTo>
                  <a:cubicBezTo>
                    <a:pt x="145646" y="43379"/>
                    <a:pt x="145569" y="43090"/>
                    <a:pt x="145473" y="42782"/>
                  </a:cubicBezTo>
                  <a:cubicBezTo>
                    <a:pt x="139232" y="24214"/>
                    <a:pt x="127714" y="10577"/>
                    <a:pt x="108549" y="4740"/>
                  </a:cubicBezTo>
                  <a:cubicBezTo>
                    <a:pt x="89345" y="-1115"/>
                    <a:pt x="69698" y="-1211"/>
                    <a:pt x="50167" y="2622"/>
                  </a:cubicBezTo>
                  <a:cubicBezTo>
                    <a:pt x="30501" y="6474"/>
                    <a:pt x="15805" y="17761"/>
                    <a:pt x="6887" y="35655"/>
                  </a:cubicBezTo>
                  <a:cubicBezTo>
                    <a:pt x="-1068" y="51603"/>
                    <a:pt x="-1395" y="68862"/>
                    <a:pt x="2187" y="85870"/>
                  </a:cubicBezTo>
                  <a:cubicBezTo>
                    <a:pt x="7002" y="108675"/>
                    <a:pt x="21564" y="123352"/>
                    <a:pt x="43715" y="129863"/>
                  </a:cubicBezTo>
                  <a:cubicBezTo>
                    <a:pt x="62341" y="135352"/>
                    <a:pt x="81486" y="135526"/>
                    <a:pt x="100555" y="132039"/>
                  </a:cubicBezTo>
                  <a:cubicBezTo>
                    <a:pt x="113576" y="129670"/>
                    <a:pt x="124863" y="123622"/>
                    <a:pt x="133897" y="113799"/>
                  </a:cubicBezTo>
                  <a:cubicBezTo>
                    <a:pt x="141043" y="106036"/>
                    <a:pt x="145646" y="96868"/>
                    <a:pt x="148439" y="86390"/>
                  </a:cubicBezTo>
                  <a:cubicBezTo>
                    <a:pt x="132876" y="84618"/>
                    <a:pt x="117505" y="82884"/>
                    <a:pt x="101942" y="81112"/>
                  </a:cubicBezTo>
                  <a:cubicBezTo>
                    <a:pt x="101672" y="81805"/>
                    <a:pt x="101499" y="82210"/>
                    <a:pt x="101326" y="82634"/>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0" name="Freeform: Shape 409">
              <a:extLst>
                <a:ext uri="{FF2B5EF4-FFF2-40B4-BE49-F238E27FC236}">
                  <a16:creationId xmlns:a16="http://schemas.microsoft.com/office/drawing/2014/main" id="{9C4C6241-72E6-4655-A32B-4462B08FF984}"/>
                </a:ext>
              </a:extLst>
            </p:cNvPr>
            <p:cNvSpPr/>
            <p:nvPr/>
          </p:nvSpPr>
          <p:spPr>
            <a:xfrm>
              <a:off x="11281777" y="4099738"/>
              <a:ext cx="96037" cy="179619"/>
            </a:xfrm>
            <a:custGeom>
              <a:avLst/>
              <a:gdLst>
                <a:gd name="connsiteX0" fmla="*/ 90047 w 96037"/>
                <a:gd name="connsiteY0" fmla="*/ 142592 h 179619"/>
                <a:gd name="connsiteX1" fmla="*/ 76487 w 96037"/>
                <a:gd name="connsiteY1" fmla="*/ 144865 h 179619"/>
                <a:gd name="connsiteX2" fmla="*/ 67800 w 96037"/>
                <a:gd name="connsiteY2" fmla="*/ 138239 h 179619"/>
                <a:gd name="connsiteX3" fmla="*/ 67242 w 96037"/>
                <a:gd name="connsiteY3" fmla="*/ 132981 h 179619"/>
                <a:gd name="connsiteX4" fmla="*/ 67184 w 96037"/>
                <a:gd name="connsiteY4" fmla="*/ 86311 h 179619"/>
                <a:gd name="connsiteX5" fmla="*/ 67376 w 96037"/>
                <a:gd name="connsiteY5" fmla="*/ 84384 h 179619"/>
                <a:gd name="connsiteX6" fmla="*/ 93957 w 96037"/>
                <a:gd name="connsiteY6" fmla="*/ 84384 h 179619"/>
                <a:gd name="connsiteX7" fmla="*/ 93957 w 96037"/>
                <a:gd name="connsiteY7" fmla="*/ 48731 h 179619"/>
                <a:gd name="connsiteX8" fmla="*/ 67126 w 96037"/>
                <a:gd name="connsiteY8" fmla="*/ 48731 h 179619"/>
                <a:gd name="connsiteX9" fmla="*/ 67126 w 96037"/>
                <a:gd name="connsiteY9" fmla="*/ 0 h 179619"/>
                <a:gd name="connsiteX10" fmla="*/ 19396 w 96037"/>
                <a:gd name="connsiteY10" fmla="*/ 24443 h 179619"/>
                <a:gd name="connsiteX11" fmla="*/ 18087 w 96037"/>
                <a:gd name="connsiteY11" fmla="*/ 26947 h 179619"/>
                <a:gd name="connsiteX12" fmla="*/ 18029 w 96037"/>
                <a:gd name="connsiteY12" fmla="*/ 44513 h 179619"/>
                <a:gd name="connsiteX13" fmla="*/ 18029 w 96037"/>
                <a:gd name="connsiteY13" fmla="*/ 48866 h 179619"/>
                <a:gd name="connsiteX14" fmla="*/ 0 w 96037"/>
                <a:gd name="connsiteY14" fmla="*/ 48866 h 179619"/>
                <a:gd name="connsiteX15" fmla="*/ 0 w 96037"/>
                <a:gd name="connsiteY15" fmla="*/ 84538 h 179619"/>
                <a:gd name="connsiteX16" fmla="*/ 18029 w 96037"/>
                <a:gd name="connsiteY16" fmla="*/ 84538 h 179619"/>
                <a:gd name="connsiteX17" fmla="*/ 18029 w 96037"/>
                <a:gd name="connsiteY17" fmla="*/ 87235 h 179619"/>
                <a:gd name="connsiteX18" fmla="*/ 18106 w 96037"/>
                <a:gd name="connsiteY18" fmla="*/ 128821 h 179619"/>
                <a:gd name="connsiteX19" fmla="*/ 19724 w 96037"/>
                <a:gd name="connsiteY19" fmla="*/ 151549 h 179619"/>
                <a:gd name="connsiteX20" fmla="*/ 48173 w 96037"/>
                <a:gd name="connsiteY20" fmla="*/ 178765 h 179619"/>
                <a:gd name="connsiteX21" fmla="*/ 73714 w 96037"/>
                <a:gd name="connsiteY21" fmla="*/ 179074 h 179619"/>
                <a:gd name="connsiteX22" fmla="*/ 96037 w 96037"/>
                <a:gd name="connsiteY22" fmla="*/ 175973 h 179619"/>
                <a:gd name="connsiteX23" fmla="*/ 92416 w 96037"/>
                <a:gd name="connsiteY23" fmla="*/ 141957 h 179619"/>
                <a:gd name="connsiteX24" fmla="*/ 90066 w 96037"/>
                <a:gd name="connsiteY24" fmla="*/ 142592 h 179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6037" h="179619">
                  <a:moveTo>
                    <a:pt x="90047" y="142592"/>
                  </a:moveTo>
                  <a:cubicBezTo>
                    <a:pt x="85540" y="143401"/>
                    <a:pt x="81052" y="144538"/>
                    <a:pt x="76487" y="144865"/>
                  </a:cubicBezTo>
                  <a:cubicBezTo>
                    <a:pt x="71864" y="145193"/>
                    <a:pt x="68648" y="142419"/>
                    <a:pt x="67800" y="138239"/>
                  </a:cubicBezTo>
                  <a:cubicBezTo>
                    <a:pt x="67454" y="136525"/>
                    <a:pt x="67242" y="134734"/>
                    <a:pt x="67242" y="132981"/>
                  </a:cubicBezTo>
                  <a:cubicBezTo>
                    <a:pt x="67184" y="117418"/>
                    <a:pt x="67184" y="101874"/>
                    <a:pt x="67184" y="86311"/>
                  </a:cubicBezTo>
                  <a:cubicBezTo>
                    <a:pt x="67184" y="85733"/>
                    <a:pt x="67299" y="85155"/>
                    <a:pt x="67376" y="84384"/>
                  </a:cubicBezTo>
                  <a:lnTo>
                    <a:pt x="93957" y="84384"/>
                  </a:lnTo>
                  <a:lnTo>
                    <a:pt x="93957" y="48731"/>
                  </a:lnTo>
                  <a:lnTo>
                    <a:pt x="67126" y="48731"/>
                  </a:lnTo>
                  <a:lnTo>
                    <a:pt x="67126" y="0"/>
                  </a:lnTo>
                  <a:cubicBezTo>
                    <a:pt x="51024" y="8225"/>
                    <a:pt x="35171" y="16295"/>
                    <a:pt x="19396" y="24443"/>
                  </a:cubicBezTo>
                  <a:cubicBezTo>
                    <a:pt x="18703" y="24809"/>
                    <a:pt x="18106" y="26080"/>
                    <a:pt x="18087" y="26947"/>
                  </a:cubicBezTo>
                  <a:cubicBezTo>
                    <a:pt x="17971" y="32802"/>
                    <a:pt x="18029" y="38658"/>
                    <a:pt x="18029" y="44513"/>
                  </a:cubicBezTo>
                  <a:lnTo>
                    <a:pt x="18029" y="48866"/>
                  </a:lnTo>
                  <a:lnTo>
                    <a:pt x="0" y="48866"/>
                  </a:lnTo>
                  <a:lnTo>
                    <a:pt x="0" y="84538"/>
                  </a:lnTo>
                  <a:lnTo>
                    <a:pt x="18029" y="84538"/>
                  </a:lnTo>
                  <a:cubicBezTo>
                    <a:pt x="18029" y="85579"/>
                    <a:pt x="18029" y="86407"/>
                    <a:pt x="18029" y="87235"/>
                  </a:cubicBezTo>
                  <a:cubicBezTo>
                    <a:pt x="18029" y="101103"/>
                    <a:pt x="17855" y="114972"/>
                    <a:pt x="18106" y="128821"/>
                  </a:cubicBezTo>
                  <a:cubicBezTo>
                    <a:pt x="18241" y="136410"/>
                    <a:pt x="18703" y="144037"/>
                    <a:pt x="19724" y="151549"/>
                  </a:cubicBezTo>
                  <a:cubicBezTo>
                    <a:pt x="21842" y="167286"/>
                    <a:pt x="32398" y="176993"/>
                    <a:pt x="48173" y="178765"/>
                  </a:cubicBezTo>
                  <a:cubicBezTo>
                    <a:pt x="56706" y="179729"/>
                    <a:pt x="65219" y="179940"/>
                    <a:pt x="73714" y="179074"/>
                  </a:cubicBezTo>
                  <a:cubicBezTo>
                    <a:pt x="81091" y="178303"/>
                    <a:pt x="88410" y="177051"/>
                    <a:pt x="96037" y="175973"/>
                  </a:cubicBezTo>
                  <a:cubicBezTo>
                    <a:pt x="94805" y="164416"/>
                    <a:pt x="93630" y="153321"/>
                    <a:pt x="92416" y="141957"/>
                  </a:cubicBezTo>
                  <a:cubicBezTo>
                    <a:pt x="91492" y="142207"/>
                    <a:pt x="90798" y="142458"/>
                    <a:pt x="90066" y="142592"/>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1" name="Freeform: Shape 410">
              <a:extLst>
                <a:ext uri="{FF2B5EF4-FFF2-40B4-BE49-F238E27FC236}">
                  <a16:creationId xmlns:a16="http://schemas.microsoft.com/office/drawing/2014/main" id="{84BDE108-0013-4887-9B99-D02359E8EA33}"/>
                </a:ext>
              </a:extLst>
            </p:cNvPr>
            <p:cNvSpPr/>
            <p:nvPr/>
          </p:nvSpPr>
          <p:spPr>
            <a:xfrm>
              <a:off x="10380361" y="4148450"/>
              <a:ext cx="175471" cy="128114"/>
            </a:xfrm>
            <a:custGeom>
              <a:avLst/>
              <a:gdLst>
                <a:gd name="connsiteX0" fmla="*/ 156403 w 175471"/>
                <a:gd name="connsiteY0" fmla="*/ 19 h 128114"/>
                <a:gd name="connsiteX1" fmla="*/ 153880 w 175471"/>
                <a:gd name="connsiteY1" fmla="*/ 1888 h 128114"/>
                <a:gd name="connsiteX2" fmla="*/ 130997 w 175471"/>
                <a:gd name="connsiteY2" fmla="*/ 79184 h 128114"/>
                <a:gd name="connsiteX3" fmla="*/ 125353 w 175471"/>
                <a:gd name="connsiteY3" fmla="*/ 98060 h 128114"/>
                <a:gd name="connsiteX4" fmla="*/ 124872 w 175471"/>
                <a:gd name="connsiteY4" fmla="*/ 98099 h 128114"/>
                <a:gd name="connsiteX5" fmla="*/ 99505 w 175471"/>
                <a:gd name="connsiteY5" fmla="*/ 39 h 128114"/>
                <a:gd name="connsiteX6" fmla="*/ 78837 w 175471"/>
                <a:gd name="connsiteY6" fmla="*/ 39 h 128114"/>
                <a:gd name="connsiteX7" fmla="*/ 76795 w 175471"/>
                <a:gd name="connsiteY7" fmla="*/ 1579 h 128114"/>
                <a:gd name="connsiteX8" fmla="*/ 74426 w 175471"/>
                <a:gd name="connsiteY8" fmla="*/ 10459 h 128114"/>
                <a:gd name="connsiteX9" fmla="*/ 55511 w 175471"/>
                <a:gd name="connsiteY9" fmla="*/ 80513 h 128114"/>
                <a:gd name="connsiteX10" fmla="*/ 50426 w 175471"/>
                <a:gd name="connsiteY10" fmla="*/ 100448 h 128114"/>
                <a:gd name="connsiteX11" fmla="*/ 49887 w 175471"/>
                <a:gd name="connsiteY11" fmla="*/ 100506 h 128114"/>
                <a:gd name="connsiteX12" fmla="*/ 22208 w 175471"/>
                <a:gd name="connsiteY12" fmla="*/ 212 h 128114"/>
                <a:gd name="connsiteX13" fmla="*/ 0 w 175471"/>
                <a:gd name="connsiteY13" fmla="*/ 212 h 128114"/>
                <a:gd name="connsiteX14" fmla="*/ 424 w 175471"/>
                <a:gd name="connsiteY14" fmla="*/ 1945 h 128114"/>
                <a:gd name="connsiteX15" fmla="*/ 26003 w 175471"/>
                <a:gd name="connsiteY15" fmla="*/ 85367 h 128114"/>
                <a:gd name="connsiteX16" fmla="*/ 38581 w 175471"/>
                <a:gd name="connsiteY16" fmla="*/ 126432 h 128114"/>
                <a:gd name="connsiteX17" fmla="*/ 40237 w 175471"/>
                <a:gd name="connsiteY17" fmla="*/ 128031 h 128114"/>
                <a:gd name="connsiteX18" fmla="*/ 61579 w 175471"/>
                <a:gd name="connsiteY18" fmla="*/ 128108 h 128114"/>
                <a:gd name="connsiteX19" fmla="*/ 87331 w 175471"/>
                <a:gd name="connsiteY19" fmla="*/ 30318 h 128114"/>
                <a:gd name="connsiteX20" fmla="*/ 112853 w 175471"/>
                <a:gd name="connsiteY20" fmla="*/ 128012 h 128114"/>
                <a:gd name="connsiteX21" fmla="*/ 135466 w 175471"/>
                <a:gd name="connsiteY21" fmla="*/ 128012 h 128114"/>
                <a:gd name="connsiteX22" fmla="*/ 175472 w 175471"/>
                <a:gd name="connsiteY22" fmla="*/ 39 h 128114"/>
                <a:gd name="connsiteX23" fmla="*/ 156403 w 175471"/>
                <a:gd name="connsiteY23" fmla="*/ 0 h 128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5471" h="128114">
                  <a:moveTo>
                    <a:pt x="156403" y="19"/>
                  </a:moveTo>
                  <a:cubicBezTo>
                    <a:pt x="154939" y="19"/>
                    <a:pt x="154323" y="404"/>
                    <a:pt x="153880" y="1888"/>
                  </a:cubicBezTo>
                  <a:cubicBezTo>
                    <a:pt x="146310" y="27679"/>
                    <a:pt x="138644" y="53431"/>
                    <a:pt x="130997" y="79184"/>
                  </a:cubicBezTo>
                  <a:cubicBezTo>
                    <a:pt x="129129" y="85482"/>
                    <a:pt x="127241" y="91762"/>
                    <a:pt x="125353" y="98060"/>
                  </a:cubicBezTo>
                  <a:lnTo>
                    <a:pt x="124872" y="98099"/>
                  </a:lnTo>
                  <a:cubicBezTo>
                    <a:pt x="116435" y="65450"/>
                    <a:pt x="107980" y="32802"/>
                    <a:pt x="99505" y="39"/>
                  </a:cubicBezTo>
                  <a:cubicBezTo>
                    <a:pt x="92378" y="39"/>
                    <a:pt x="85598" y="58"/>
                    <a:pt x="78837" y="39"/>
                  </a:cubicBezTo>
                  <a:cubicBezTo>
                    <a:pt x="77662" y="39"/>
                    <a:pt x="77084" y="289"/>
                    <a:pt x="76795" y="1579"/>
                  </a:cubicBezTo>
                  <a:cubicBezTo>
                    <a:pt x="76140" y="4565"/>
                    <a:pt x="75235" y="7512"/>
                    <a:pt x="74426" y="10459"/>
                  </a:cubicBezTo>
                  <a:cubicBezTo>
                    <a:pt x="68108" y="33804"/>
                    <a:pt x="61791" y="57149"/>
                    <a:pt x="55511" y="80513"/>
                  </a:cubicBezTo>
                  <a:cubicBezTo>
                    <a:pt x="53739" y="87139"/>
                    <a:pt x="52121" y="93803"/>
                    <a:pt x="50426" y="100448"/>
                  </a:cubicBezTo>
                  <a:lnTo>
                    <a:pt x="49887" y="100506"/>
                  </a:lnTo>
                  <a:cubicBezTo>
                    <a:pt x="40661" y="67068"/>
                    <a:pt x="31435" y="33630"/>
                    <a:pt x="22208" y="212"/>
                  </a:cubicBezTo>
                  <a:lnTo>
                    <a:pt x="0" y="212"/>
                  </a:lnTo>
                  <a:cubicBezTo>
                    <a:pt x="173" y="925"/>
                    <a:pt x="270" y="1445"/>
                    <a:pt x="424" y="1945"/>
                  </a:cubicBezTo>
                  <a:cubicBezTo>
                    <a:pt x="8957" y="29759"/>
                    <a:pt x="17489" y="57553"/>
                    <a:pt x="26003" y="85367"/>
                  </a:cubicBezTo>
                  <a:cubicBezTo>
                    <a:pt x="30202" y="99062"/>
                    <a:pt x="34343" y="112756"/>
                    <a:pt x="38581" y="126432"/>
                  </a:cubicBezTo>
                  <a:cubicBezTo>
                    <a:pt x="38793" y="127087"/>
                    <a:pt x="39659" y="128031"/>
                    <a:pt x="40237" y="128031"/>
                  </a:cubicBezTo>
                  <a:cubicBezTo>
                    <a:pt x="47325" y="128146"/>
                    <a:pt x="54394" y="128108"/>
                    <a:pt x="61579" y="128108"/>
                  </a:cubicBezTo>
                  <a:cubicBezTo>
                    <a:pt x="70169" y="95498"/>
                    <a:pt x="78721" y="63004"/>
                    <a:pt x="87331" y="30318"/>
                  </a:cubicBezTo>
                  <a:cubicBezTo>
                    <a:pt x="95903" y="63139"/>
                    <a:pt x="104397" y="95595"/>
                    <a:pt x="112853" y="128012"/>
                  </a:cubicBezTo>
                  <a:lnTo>
                    <a:pt x="135466" y="128012"/>
                  </a:lnTo>
                  <a:cubicBezTo>
                    <a:pt x="148795" y="85367"/>
                    <a:pt x="162085" y="42837"/>
                    <a:pt x="175472" y="39"/>
                  </a:cubicBezTo>
                  <a:cubicBezTo>
                    <a:pt x="168865" y="39"/>
                    <a:pt x="162644" y="77"/>
                    <a:pt x="156403" y="0"/>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2" name="Freeform: Shape 411">
              <a:extLst>
                <a:ext uri="{FF2B5EF4-FFF2-40B4-BE49-F238E27FC236}">
                  <a16:creationId xmlns:a16="http://schemas.microsoft.com/office/drawing/2014/main" id="{F634AF8B-2704-4D46-9A14-A22873A53F18}"/>
                </a:ext>
              </a:extLst>
            </p:cNvPr>
            <p:cNvSpPr/>
            <p:nvPr/>
          </p:nvSpPr>
          <p:spPr>
            <a:xfrm>
              <a:off x="10817757" y="4145473"/>
              <a:ext cx="118433" cy="133914"/>
            </a:xfrm>
            <a:custGeom>
              <a:avLst/>
              <a:gdLst>
                <a:gd name="connsiteX0" fmla="*/ 89694 w 118433"/>
                <a:gd name="connsiteY0" fmla="*/ 7523 h 133914"/>
                <a:gd name="connsiteX1" fmla="*/ 50535 w 118433"/>
                <a:gd name="connsiteY1" fmla="*/ 743 h 133914"/>
                <a:gd name="connsiteX2" fmla="*/ 7428 w 118433"/>
                <a:gd name="connsiteY2" fmla="*/ 32351 h 133914"/>
                <a:gd name="connsiteX3" fmla="*/ 4308 w 118433"/>
                <a:gd name="connsiteY3" fmla="*/ 94873 h 133914"/>
                <a:gd name="connsiteX4" fmla="*/ 36436 w 118433"/>
                <a:gd name="connsiteY4" fmla="*/ 129621 h 133914"/>
                <a:gd name="connsiteX5" fmla="*/ 69296 w 118433"/>
                <a:gd name="connsiteY5" fmla="*/ 133492 h 133914"/>
                <a:gd name="connsiteX6" fmla="*/ 107838 w 118433"/>
                <a:gd name="connsiteY6" fmla="*/ 113210 h 133914"/>
                <a:gd name="connsiteX7" fmla="*/ 117546 w 118433"/>
                <a:gd name="connsiteY7" fmla="*/ 92793 h 133914"/>
                <a:gd name="connsiteX8" fmla="*/ 116544 w 118433"/>
                <a:gd name="connsiteY8" fmla="*/ 92408 h 133914"/>
                <a:gd name="connsiteX9" fmla="*/ 97340 w 118433"/>
                <a:gd name="connsiteY9" fmla="*/ 89981 h 133914"/>
                <a:gd name="connsiteX10" fmla="*/ 94413 w 118433"/>
                <a:gd name="connsiteY10" fmla="*/ 91984 h 133914"/>
                <a:gd name="connsiteX11" fmla="*/ 63864 w 118433"/>
                <a:gd name="connsiteY11" fmla="*/ 116022 h 133914"/>
                <a:gd name="connsiteX12" fmla="*/ 33200 w 118433"/>
                <a:gd name="connsiteY12" fmla="*/ 103213 h 133914"/>
                <a:gd name="connsiteX13" fmla="*/ 23665 w 118433"/>
                <a:gd name="connsiteY13" fmla="*/ 81101 h 133914"/>
                <a:gd name="connsiteX14" fmla="*/ 22587 w 118433"/>
                <a:gd name="connsiteY14" fmla="*/ 72357 h 133914"/>
                <a:gd name="connsiteX15" fmla="*/ 118316 w 118433"/>
                <a:gd name="connsiteY15" fmla="*/ 72357 h 133914"/>
                <a:gd name="connsiteX16" fmla="*/ 116544 w 118433"/>
                <a:gd name="connsiteY16" fmla="*/ 47009 h 133914"/>
                <a:gd name="connsiteX17" fmla="*/ 89713 w 118433"/>
                <a:gd name="connsiteY17" fmla="*/ 7503 h 133914"/>
                <a:gd name="connsiteX18" fmla="*/ 23935 w 118433"/>
                <a:gd name="connsiteY18" fmla="*/ 54675 h 133914"/>
                <a:gd name="connsiteX19" fmla="*/ 39826 w 118433"/>
                <a:gd name="connsiteY19" fmla="*/ 24049 h 133914"/>
                <a:gd name="connsiteX20" fmla="*/ 77308 w 118433"/>
                <a:gd name="connsiteY20" fmla="*/ 22026 h 133914"/>
                <a:gd name="connsiteX21" fmla="*/ 95260 w 118433"/>
                <a:gd name="connsiteY21" fmla="*/ 54675 h 133914"/>
                <a:gd name="connsiteX22" fmla="*/ 23935 w 118433"/>
                <a:gd name="connsiteY22" fmla="*/ 54675 h 133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8433" h="133914">
                  <a:moveTo>
                    <a:pt x="89694" y="7523"/>
                  </a:moveTo>
                  <a:cubicBezTo>
                    <a:pt x="77559" y="319"/>
                    <a:pt x="64249" y="-1126"/>
                    <a:pt x="50535" y="743"/>
                  </a:cubicBezTo>
                  <a:cubicBezTo>
                    <a:pt x="30503" y="3478"/>
                    <a:pt x="15730" y="14033"/>
                    <a:pt x="7428" y="32351"/>
                  </a:cubicBezTo>
                  <a:cubicBezTo>
                    <a:pt x="-1760" y="52594"/>
                    <a:pt x="-1972" y="73763"/>
                    <a:pt x="4308" y="94873"/>
                  </a:cubicBezTo>
                  <a:cubicBezTo>
                    <a:pt x="9258" y="111554"/>
                    <a:pt x="20179" y="123265"/>
                    <a:pt x="36436" y="129621"/>
                  </a:cubicBezTo>
                  <a:cubicBezTo>
                    <a:pt x="46991" y="133743"/>
                    <a:pt x="58047" y="134552"/>
                    <a:pt x="69296" y="133492"/>
                  </a:cubicBezTo>
                  <a:cubicBezTo>
                    <a:pt x="84936" y="132009"/>
                    <a:pt x="98111" y="125884"/>
                    <a:pt x="107838" y="113210"/>
                  </a:cubicBezTo>
                  <a:cubicBezTo>
                    <a:pt x="112499" y="107123"/>
                    <a:pt x="115581" y="100266"/>
                    <a:pt x="117546" y="92793"/>
                  </a:cubicBezTo>
                  <a:cubicBezTo>
                    <a:pt x="117083" y="92600"/>
                    <a:pt x="116833" y="92427"/>
                    <a:pt x="116544" y="92408"/>
                  </a:cubicBezTo>
                  <a:cubicBezTo>
                    <a:pt x="110149" y="91599"/>
                    <a:pt x="103735" y="90867"/>
                    <a:pt x="97340" y="89981"/>
                  </a:cubicBezTo>
                  <a:cubicBezTo>
                    <a:pt x="95549" y="89730"/>
                    <a:pt x="94990" y="90520"/>
                    <a:pt x="94413" y="91984"/>
                  </a:cubicBezTo>
                  <a:cubicBezTo>
                    <a:pt x="88962" y="105987"/>
                    <a:pt x="79639" y="115155"/>
                    <a:pt x="63864" y="116022"/>
                  </a:cubicBezTo>
                  <a:cubicBezTo>
                    <a:pt x="51594" y="116696"/>
                    <a:pt x="41251" y="112671"/>
                    <a:pt x="33200" y="103213"/>
                  </a:cubicBezTo>
                  <a:cubicBezTo>
                    <a:pt x="27768" y="96819"/>
                    <a:pt x="25033" y="89249"/>
                    <a:pt x="23665" y="81101"/>
                  </a:cubicBezTo>
                  <a:cubicBezTo>
                    <a:pt x="23184" y="78270"/>
                    <a:pt x="22953" y="75419"/>
                    <a:pt x="22587" y="72357"/>
                  </a:cubicBezTo>
                  <a:lnTo>
                    <a:pt x="118316" y="72357"/>
                  </a:lnTo>
                  <a:cubicBezTo>
                    <a:pt x="118682" y="63727"/>
                    <a:pt x="118220" y="55329"/>
                    <a:pt x="116544" y="47009"/>
                  </a:cubicBezTo>
                  <a:cubicBezTo>
                    <a:pt x="113154" y="30078"/>
                    <a:pt x="104775" y="16441"/>
                    <a:pt x="89713" y="7503"/>
                  </a:cubicBezTo>
                  <a:close/>
                  <a:moveTo>
                    <a:pt x="23935" y="54675"/>
                  </a:moveTo>
                  <a:cubicBezTo>
                    <a:pt x="24705" y="42020"/>
                    <a:pt x="29136" y="31272"/>
                    <a:pt x="39826" y="24049"/>
                  </a:cubicBezTo>
                  <a:cubicBezTo>
                    <a:pt x="51768" y="15998"/>
                    <a:pt x="64615" y="15400"/>
                    <a:pt x="77308" y="22026"/>
                  </a:cubicBezTo>
                  <a:cubicBezTo>
                    <a:pt x="88885" y="28055"/>
                    <a:pt x="94759" y="39362"/>
                    <a:pt x="95260" y="54675"/>
                  </a:cubicBezTo>
                  <a:lnTo>
                    <a:pt x="23935" y="54675"/>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3" name="Freeform: Shape 412">
              <a:extLst>
                <a:ext uri="{FF2B5EF4-FFF2-40B4-BE49-F238E27FC236}">
                  <a16:creationId xmlns:a16="http://schemas.microsoft.com/office/drawing/2014/main" id="{76863B70-E9B4-499B-B978-3508B5741531}"/>
                </a:ext>
              </a:extLst>
            </p:cNvPr>
            <p:cNvSpPr/>
            <p:nvPr/>
          </p:nvSpPr>
          <p:spPr>
            <a:xfrm>
              <a:off x="10574381" y="4099622"/>
              <a:ext cx="104072" cy="176820"/>
            </a:xfrm>
            <a:custGeom>
              <a:avLst/>
              <a:gdLst>
                <a:gd name="connsiteX0" fmla="*/ 102818 w 104072"/>
                <a:gd name="connsiteY0" fmla="*/ 78490 h 176820"/>
                <a:gd name="connsiteX1" fmla="*/ 80937 w 104072"/>
                <a:gd name="connsiteY1" fmla="*/ 49772 h 176820"/>
                <a:gd name="connsiteX2" fmla="*/ 63274 w 104072"/>
                <a:gd name="connsiteY2" fmla="*/ 45996 h 176820"/>
                <a:gd name="connsiteX3" fmla="*/ 33573 w 104072"/>
                <a:gd name="connsiteY3" fmla="*/ 53123 h 176820"/>
                <a:gd name="connsiteX4" fmla="*/ 21476 w 104072"/>
                <a:gd name="connsiteY4" fmla="*/ 62677 h 176820"/>
                <a:gd name="connsiteX5" fmla="*/ 21476 w 104072"/>
                <a:gd name="connsiteY5" fmla="*/ 0 h 176820"/>
                <a:gd name="connsiteX6" fmla="*/ 0 w 104072"/>
                <a:gd name="connsiteY6" fmla="*/ 0 h 176820"/>
                <a:gd name="connsiteX7" fmla="*/ 0 w 104072"/>
                <a:gd name="connsiteY7" fmla="*/ 176820 h 176820"/>
                <a:gd name="connsiteX8" fmla="*/ 21515 w 104072"/>
                <a:gd name="connsiteY8" fmla="*/ 176820 h 176820"/>
                <a:gd name="connsiteX9" fmla="*/ 21515 w 104072"/>
                <a:gd name="connsiteY9" fmla="*/ 174220 h 176820"/>
                <a:gd name="connsiteX10" fmla="*/ 21554 w 104072"/>
                <a:gd name="connsiteY10" fmla="*/ 106728 h 176820"/>
                <a:gd name="connsiteX11" fmla="*/ 22517 w 104072"/>
                <a:gd name="connsiteY11" fmla="*/ 92474 h 176820"/>
                <a:gd name="connsiteX12" fmla="*/ 32186 w 104072"/>
                <a:gd name="connsiteY12" fmla="*/ 73136 h 176820"/>
                <a:gd name="connsiteX13" fmla="*/ 60693 w 104072"/>
                <a:gd name="connsiteY13" fmla="*/ 64815 h 176820"/>
                <a:gd name="connsiteX14" fmla="*/ 80455 w 104072"/>
                <a:gd name="connsiteY14" fmla="*/ 80975 h 176820"/>
                <a:gd name="connsiteX15" fmla="*/ 82439 w 104072"/>
                <a:gd name="connsiteY15" fmla="*/ 94574 h 176820"/>
                <a:gd name="connsiteX16" fmla="*/ 82535 w 104072"/>
                <a:gd name="connsiteY16" fmla="*/ 174085 h 176820"/>
                <a:gd name="connsiteX17" fmla="*/ 82535 w 104072"/>
                <a:gd name="connsiteY17" fmla="*/ 176762 h 176820"/>
                <a:gd name="connsiteX18" fmla="*/ 104050 w 104072"/>
                <a:gd name="connsiteY18" fmla="*/ 176762 h 176820"/>
                <a:gd name="connsiteX19" fmla="*/ 104050 w 104072"/>
                <a:gd name="connsiteY19" fmla="*/ 173834 h 176820"/>
                <a:gd name="connsiteX20" fmla="*/ 103992 w 104072"/>
                <a:gd name="connsiteY20" fmla="*/ 96404 h 176820"/>
                <a:gd name="connsiteX21" fmla="*/ 102837 w 104072"/>
                <a:gd name="connsiteY21" fmla="*/ 78471 h 176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072" h="176820">
                  <a:moveTo>
                    <a:pt x="102818" y="78490"/>
                  </a:moveTo>
                  <a:cubicBezTo>
                    <a:pt x="101026" y="64834"/>
                    <a:pt x="93822" y="55107"/>
                    <a:pt x="80937" y="49772"/>
                  </a:cubicBezTo>
                  <a:cubicBezTo>
                    <a:pt x="75274" y="47422"/>
                    <a:pt x="69380" y="46285"/>
                    <a:pt x="63274" y="45996"/>
                  </a:cubicBezTo>
                  <a:cubicBezTo>
                    <a:pt x="52661" y="45476"/>
                    <a:pt x="42549" y="47229"/>
                    <a:pt x="33573" y="53123"/>
                  </a:cubicBezTo>
                  <a:cubicBezTo>
                    <a:pt x="29316" y="55916"/>
                    <a:pt x="25560" y="59422"/>
                    <a:pt x="21476" y="62677"/>
                  </a:cubicBezTo>
                  <a:lnTo>
                    <a:pt x="21476" y="0"/>
                  </a:lnTo>
                  <a:lnTo>
                    <a:pt x="0" y="0"/>
                  </a:lnTo>
                  <a:lnTo>
                    <a:pt x="0" y="176820"/>
                  </a:lnTo>
                  <a:lnTo>
                    <a:pt x="21515" y="176820"/>
                  </a:lnTo>
                  <a:lnTo>
                    <a:pt x="21515" y="174220"/>
                  </a:lnTo>
                  <a:cubicBezTo>
                    <a:pt x="21515" y="151722"/>
                    <a:pt x="21457" y="129225"/>
                    <a:pt x="21554" y="106728"/>
                  </a:cubicBezTo>
                  <a:cubicBezTo>
                    <a:pt x="21573" y="101970"/>
                    <a:pt x="21881" y="97193"/>
                    <a:pt x="22517" y="92474"/>
                  </a:cubicBezTo>
                  <a:cubicBezTo>
                    <a:pt x="23518" y="84981"/>
                    <a:pt x="26311" y="78240"/>
                    <a:pt x="32186" y="73136"/>
                  </a:cubicBezTo>
                  <a:cubicBezTo>
                    <a:pt x="40391" y="65990"/>
                    <a:pt x="50080" y="63447"/>
                    <a:pt x="60693" y="64815"/>
                  </a:cubicBezTo>
                  <a:cubicBezTo>
                    <a:pt x="70497" y="66067"/>
                    <a:pt x="77643" y="71210"/>
                    <a:pt x="80455" y="80975"/>
                  </a:cubicBezTo>
                  <a:cubicBezTo>
                    <a:pt x="81707" y="85347"/>
                    <a:pt x="82400" y="90028"/>
                    <a:pt x="82439" y="94574"/>
                  </a:cubicBezTo>
                  <a:cubicBezTo>
                    <a:pt x="82612" y="121077"/>
                    <a:pt x="82535" y="147581"/>
                    <a:pt x="82535" y="174085"/>
                  </a:cubicBezTo>
                  <a:lnTo>
                    <a:pt x="82535" y="176762"/>
                  </a:lnTo>
                  <a:lnTo>
                    <a:pt x="104050" y="176762"/>
                  </a:lnTo>
                  <a:lnTo>
                    <a:pt x="104050" y="173834"/>
                  </a:lnTo>
                  <a:cubicBezTo>
                    <a:pt x="104050" y="148024"/>
                    <a:pt x="104127" y="122214"/>
                    <a:pt x="103992" y="96404"/>
                  </a:cubicBezTo>
                  <a:cubicBezTo>
                    <a:pt x="103973" y="90413"/>
                    <a:pt x="103607" y="84404"/>
                    <a:pt x="102837" y="78471"/>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4" name="Freeform: Shape 413">
              <a:extLst>
                <a:ext uri="{FF2B5EF4-FFF2-40B4-BE49-F238E27FC236}">
                  <a16:creationId xmlns:a16="http://schemas.microsoft.com/office/drawing/2014/main" id="{A0649EC7-F942-4A75-A66F-6D4988E1B5B0}"/>
                </a:ext>
              </a:extLst>
            </p:cNvPr>
            <p:cNvSpPr/>
            <p:nvPr/>
          </p:nvSpPr>
          <p:spPr>
            <a:xfrm>
              <a:off x="11401371" y="4148643"/>
              <a:ext cx="48750" cy="127838"/>
            </a:xfrm>
            <a:custGeom>
              <a:avLst/>
              <a:gdLst>
                <a:gd name="connsiteX0" fmla="*/ 0 w 48750"/>
                <a:gd name="connsiteY0" fmla="*/ 127838 h 127838"/>
                <a:gd name="connsiteX1" fmla="*/ 48751 w 48750"/>
                <a:gd name="connsiteY1" fmla="*/ 127838 h 127838"/>
                <a:gd name="connsiteX2" fmla="*/ 48751 w 48750"/>
                <a:gd name="connsiteY2" fmla="*/ 0 h 127838"/>
                <a:gd name="connsiteX3" fmla="*/ 0 w 48750"/>
                <a:gd name="connsiteY3" fmla="*/ 0 h 127838"/>
                <a:gd name="connsiteX4" fmla="*/ 0 w 48750"/>
                <a:gd name="connsiteY4" fmla="*/ 127838 h 127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750" h="127838">
                  <a:moveTo>
                    <a:pt x="0" y="127838"/>
                  </a:moveTo>
                  <a:lnTo>
                    <a:pt x="48751" y="127838"/>
                  </a:lnTo>
                  <a:lnTo>
                    <a:pt x="48751" y="0"/>
                  </a:lnTo>
                  <a:lnTo>
                    <a:pt x="0" y="0"/>
                  </a:lnTo>
                  <a:lnTo>
                    <a:pt x="0" y="127838"/>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5" name="Freeform: Shape 414">
              <a:extLst>
                <a:ext uri="{FF2B5EF4-FFF2-40B4-BE49-F238E27FC236}">
                  <a16:creationId xmlns:a16="http://schemas.microsoft.com/office/drawing/2014/main" id="{FC840B34-9747-434E-A08E-8DE56050C893}"/>
                </a:ext>
              </a:extLst>
            </p:cNvPr>
            <p:cNvSpPr/>
            <p:nvPr/>
          </p:nvSpPr>
          <p:spPr>
            <a:xfrm>
              <a:off x="10747291" y="4103802"/>
              <a:ext cx="62310" cy="174305"/>
            </a:xfrm>
            <a:custGeom>
              <a:avLst/>
              <a:gdLst>
                <a:gd name="connsiteX0" fmla="*/ 57072 w 62310"/>
                <a:gd name="connsiteY0" fmla="*/ 153610 h 174305"/>
                <a:gd name="connsiteX1" fmla="*/ 49040 w 62310"/>
                <a:gd name="connsiteY1" fmla="*/ 154207 h 174305"/>
                <a:gd name="connsiteX2" fmla="*/ 37791 w 62310"/>
                <a:gd name="connsiteY2" fmla="*/ 145597 h 174305"/>
                <a:gd name="connsiteX3" fmla="*/ 37329 w 62310"/>
                <a:gd name="connsiteY3" fmla="*/ 138933 h 174305"/>
                <a:gd name="connsiteX4" fmla="*/ 37309 w 62310"/>
                <a:gd name="connsiteY4" fmla="*/ 64064 h 174305"/>
                <a:gd name="connsiteX5" fmla="*/ 37309 w 62310"/>
                <a:gd name="connsiteY5" fmla="*/ 61309 h 174305"/>
                <a:gd name="connsiteX6" fmla="*/ 59075 w 62310"/>
                <a:gd name="connsiteY6" fmla="*/ 61309 h 174305"/>
                <a:gd name="connsiteX7" fmla="*/ 59075 w 62310"/>
                <a:gd name="connsiteY7" fmla="*/ 44609 h 174305"/>
                <a:gd name="connsiteX8" fmla="*/ 37290 w 62310"/>
                <a:gd name="connsiteY8" fmla="*/ 44609 h 174305"/>
                <a:gd name="connsiteX9" fmla="*/ 37290 w 62310"/>
                <a:gd name="connsiteY9" fmla="*/ 0 h 174305"/>
                <a:gd name="connsiteX10" fmla="*/ 35711 w 62310"/>
                <a:gd name="connsiteY10" fmla="*/ 848 h 174305"/>
                <a:gd name="connsiteX11" fmla="*/ 17566 w 62310"/>
                <a:gd name="connsiteY11" fmla="*/ 11749 h 174305"/>
                <a:gd name="connsiteX12" fmla="*/ 15910 w 62310"/>
                <a:gd name="connsiteY12" fmla="*/ 14619 h 174305"/>
                <a:gd name="connsiteX13" fmla="*/ 15948 w 62310"/>
                <a:gd name="connsiteY13" fmla="*/ 42125 h 174305"/>
                <a:gd name="connsiteX14" fmla="*/ 15948 w 62310"/>
                <a:gd name="connsiteY14" fmla="*/ 44783 h 174305"/>
                <a:gd name="connsiteX15" fmla="*/ 0 w 62310"/>
                <a:gd name="connsiteY15" fmla="*/ 44783 h 174305"/>
                <a:gd name="connsiteX16" fmla="*/ 0 w 62310"/>
                <a:gd name="connsiteY16" fmla="*/ 61405 h 174305"/>
                <a:gd name="connsiteX17" fmla="*/ 15948 w 62310"/>
                <a:gd name="connsiteY17" fmla="*/ 61405 h 174305"/>
                <a:gd name="connsiteX18" fmla="*/ 15948 w 62310"/>
                <a:gd name="connsiteY18" fmla="*/ 64410 h 174305"/>
                <a:gd name="connsiteX19" fmla="*/ 15987 w 62310"/>
                <a:gd name="connsiteY19" fmla="*/ 139279 h 174305"/>
                <a:gd name="connsiteX20" fmla="*/ 16931 w 62310"/>
                <a:gd name="connsiteY20" fmla="*/ 154226 h 174305"/>
                <a:gd name="connsiteX21" fmla="*/ 33014 w 62310"/>
                <a:gd name="connsiteY21" fmla="*/ 172814 h 174305"/>
                <a:gd name="connsiteX22" fmla="*/ 52025 w 62310"/>
                <a:gd name="connsiteY22" fmla="*/ 174046 h 174305"/>
                <a:gd name="connsiteX23" fmla="*/ 62311 w 62310"/>
                <a:gd name="connsiteY23" fmla="*/ 172486 h 174305"/>
                <a:gd name="connsiteX24" fmla="*/ 59190 w 62310"/>
                <a:gd name="connsiteY24" fmla="*/ 153417 h 174305"/>
                <a:gd name="connsiteX25" fmla="*/ 57091 w 62310"/>
                <a:gd name="connsiteY25" fmla="*/ 153629 h 17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2310" h="174305">
                  <a:moveTo>
                    <a:pt x="57072" y="153610"/>
                  </a:moveTo>
                  <a:cubicBezTo>
                    <a:pt x="54394" y="153822"/>
                    <a:pt x="51698" y="154265"/>
                    <a:pt x="49040" y="154207"/>
                  </a:cubicBezTo>
                  <a:cubicBezTo>
                    <a:pt x="42375" y="154072"/>
                    <a:pt x="38542" y="151106"/>
                    <a:pt x="37791" y="145597"/>
                  </a:cubicBezTo>
                  <a:cubicBezTo>
                    <a:pt x="37483" y="143401"/>
                    <a:pt x="37329" y="141148"/>
                    <a:pt x="37329" y="138933"/>
                  </a:cubicBezTo>
                  <a:cubicBezTo>
                    <a:pt x="37290" y="113970"/>
                    <a:pt x="37309" y="89026"/>
                    <a:pt x="37309" y="64064"/>
                  </a:cubicBezTo>
                  <a:lnTo>
                    <a:pt x="37309" y="61309"/>
                  </a:lnTo>
                  <a:lnTo>
                    <a:pt x="59075" y="61309"/>
                  </a:lnTo>
                  <a:lnTo>
                    <a:pt x="59075" y="44609"/>
                  </a:lnTo>
                  <a:lnTo>
                    <a:pt x="37290" y="44609"/>
                  </a:lnTo>
                  <a:lnTo>
                    <a:pt x="37290" y="0"/>
                  </a:lnTo>
                  <a:cubicBezTo>
                    <a:pt x="36616" y="366"/>
                    <a:pt x="36134" y="578"/>
                    <a:pt x="35711" y="848"/>
                  </a:cubicBezTo>
                  <a:cubicBezTo>
                    <a:pt x="29663" y="4488"/>
                    <a:pt x="23653" y="8186"/>
                    <a:pt x="17566" y="11749"/>
                  </a:cubicBezTo>
                  <a:cubicBezTo>
                    <a:pt x="16353" y="12462"/>
                    <a:pt x="15910" y="13213"/>
                    <a:pt x="15910" y="14619"/>
                  </a:cubicBezTo>
                  <a:cubicBezTo>
                    <a:pt x="15987" y="23788"/>
                    <a:pt x="15948" y="32956"/>
                    <a:pt x="15948" y="42125"/>
                  </a:cubicBezTo>
                  <a:lnTo>
                    <a:pt x="15948" y="44783"/>
                  </a:lnTo>
                  <a:lnTo>
                    <a:pt x="0" y="44783"/>
                  </a:lnTo>
                  <a:lnTo>
                    <a:pt x="0" y="61405"/>
                  </a:lnTo>
                  <a:lnTo>
                    <a:pt x="15948" y="61405"/>
                  </a:lnTo>
                  <a:lnTo>
                    <a:pt x="15948" y="64410"/>
                  </a:lnTo>
                  <a:cubicBezTo>
                    <a:pt x="15948" y="89373"/>
                    <a:pt x="15891" y="114317"/>
                    <a:pt x="15987" y="139279"/>
                  </a:cubicBezTo>
                  <a:cubicBezTo>
                    <a:pt x="15987" y="144268"/>
                    <a:pt x="16392" y="149257"/>
                    <a:pt x="16931" y="154226"/>
                  </a:cubicBezTo>
                  <a:cubicBezTo>
                    <a:pt x="17990" y="163722"/>
                    <a:pt x="23788" y="170233"/>
                    <a:pt x="33014" y="172814"/>
                  </a:cubicBezTo>
                  <a:cubicBezTo>
                    <a:pt x="39274" y="174566"/>
                    <a:pt x="45650" y="174470"/>
                    <a:pt x="52025" y="174046"/>
                  </a:cubicBezTo>
                  <a:cubicBezTo>
                    <a:pt x="55434" y="173835"/>
                    <a:pt x="58786" y="173045"/>
                    <a:pt x="62311" y="172486"/>
                  </a:cubicBezTo>
                  <a:cubicBezTo>
                    <a:pt x="61251" y="165957"/>
                    <a:pt x="60231" y="159793"/>
                    <a:pt x="59190" y="153417"/>
                  </a:cubicBezTo>
                  <a:cubicBezTo>
                    <a:pt x="58420" y="153494"/>
                    <a:pt x="57746" y="153571"/>
                    <a:pt x="57091" y="153629"/>
                  </a:cubicBez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6" name="Freeform: Shape 415">
              <a:extLst>
                <a:ext uri="{FF2B5EF4-FFF2-40B4-BE49-F238E27FC236}">
                  <a16:creationId xmlns:a16="http://schemas.microsoft.com/office/drawing/2014/main" id="{64F7C320-EE23-4501-BE64-3037D9E635C1}"/>
                </a:ext>
              </a:extLst>
            </p:cNvPr>
            <p:cNvSpPr/>
            <p:nvPr/>
          </p:nvSpPr>
          <p:spPr>
            <a:xfrm>
              <a:off x="10704473" y="4148585"/>
              <a:ext cx="21283" cy="127857"/>
            </a:xfrm>
            <a:custGeom>
              <a:avLst/>
              <a:gdLst>
                <a:gd name="connsiteX0" fmla="*/ 0 w 21283"/>
                <a:gd name="connsiteY0" fmla="*/ 127857 h 127857"/>
                <a:gd name="connsiteX1" fmla="*/ 21284 w 21283"/>
                <a:gd name="connsiteY1" fmla="*/ 127857 h 127857"/>
                <a:gd name="connsiteX2" fmla="*/ 21284 w 21283"/>
                <a:gd name="connsiteY2" fmla="*/ 0 h 127857"/>
                <a:gd name="connsiteX3" fmla="*/ 0 w 21283"/>
                <a:gd name="connsiteY3" fmla="*/ 0 h 127857"/>
                <a:gd name="connsiteX4" fmla="*/ 0 w 21283"/>
                <a:gd name="connsiteY4" fmla="*/ 127857 h 12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3" h="127857">
                  <a:moveTo>
                    <a:pt x="0" y="127857"/>
                  </a:moveTo>
                  <a:lnTo>
                    <a:pt x="21284" y="127857"/>
                  </a:lnTo>
                  <a:lnTo>
                    <a:pt x="21284" y="0"/>
                  </a:lnTo>
                  <a:lnTo>
                    <a:pt x="0" y="0"/>
                  </a:lnTo>
                  <a:lnTo>
                    <a:pt x="0" y="127857"/>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7" name="Freeform: Shape 416">
              <a:extLst>
                <a:ext uri="{FF2B5EF4-FFF2-40B4-BE49-F238E27FC236}">
                  <a16:creationId xmlns:a16="http://schemas.microsoft.com/office/drawing/2014/main" id="{D3908900-A04C-4EDD-9CDB-D9EE91C7571F}"/>
                </a:ext>
              </a:extLst>
            </p:cNvPr>
            <p:cNvSpPr/>
            <p:nvPr/>
          </p:nvSpPr>
          <p:spPr>
            <a:xfrm>
              <a:off x="11401313" y="4099719"/>
              <a:ext cx="48808" cy="33033"/>
            </a:xfrm>
            <a:custGeom>
              <a:avLst/>
              <a:gdLst>
                <a:gd name="connsiteX0" fmla="*/ 48808 w 48808"/>
                <a:gd name="connsiteY0" fmla="*/ 0 h 33033"/>
                <a:gd name="connsiteX1" fmla="*/ 0 w 48808"/>
                <a:gd name="connsiteY1" fmla="*/ 0 h 33033"/>
                <a:gd name="connsiteX2" fmla="*/ 0 w 48808"/>
                <a:gd name="connsiteY2" fmla="*/ 33033 h 33033"/>
                <a:gd name="connsiteX3" fmla="*/ 48808 w 48808"/>
                <a:gd name="connsiteY3" fmla="*/ 33033 h 33033"/>
                <a:gd name="connsiteX4" fmla="*/ 48808 w 48808"/>
                <a:gd name="connsiteY4" fmla="*/ 0 h 33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08" h="33033">
                  <a:moveTo>
                    <a:pt x="48808" y="0"/>
                  </a:moveTo>
                  <a:lnTo>
                    <a:pt x="0" y="0"/>
                  </a:lnTo>
                  <a:lnTo>
                    <a:pt x="0" y="33033"/>
                  </a:lnTo>
                  <a:lnTo>
                    <a:pt x="48808" y="33033"/>
                  </a:lnTo>
                  <a:lnTo>
                    <a:pt x="48808"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8" name="Freeform: Shape 417">
              <a:extLst>
                <a:ext uri="{FF2B5EF4-FFF2-40B4-BE49-F238E27FC236}">
                  <a16:creationId xmlns:a16="http://schemas.microsoft.com/office/drawing/2014/main" id="{A442A866-AC32-487B-9C27-4CD0BAA438B7}"/>
                </a:ext>
              </a:extLst>
            </p:cNvPr>
            <p:cNvSpPr/>
            <p:nvPr/>
          </p:nvSpPr>
          <p:spPr>
            <a:xfrm>
              <a:off x="10704435" y="4099776"/>
              <a:ext cx="21283" cy="24616"/>
            </a:xfrm>
            <a:custGeom>
              <a:avLst/>
              <a:gdLst>
                <a:gd name="connsiteX0" fmla="*/ 21284 w 21283"/>
                <a:gd name="connsiteY0" fmla="*/ 0 h 24616"/>
                <a:gd name="connsiteX1" fmla="*/ 0 w 21283"/>
                <a:gd name="connsiteY1" fmla="*/ 0 h 24616"/>
                <a:gd name="connsiteX2" fmla="*/ 0 w 21283"/>
                <a:gd name="connsiteY2" fmla="*/ 24616 h 24616"/>
                <a:gd name="connsiteX3" fmla="*/ 21284 w 21283"/>
                <a:gd name="connsiteY3" fmla="*/ 24616 h 24616"/>
                <a:gd name="connsiteX4" fmla="*/ 21284 w 21283"/>
                <a:gd name="connsiteY4" fmla="*/ 0 h 24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83" h="24616">
                  <a:moveTo>
                    <a:pt x="21284" y="0"/>
                  </a:moveTo>
                  <a:lnTo>
                    <a:pt x="0" y="0"/>
                  </a:lnTo>
                  <a:lnTo>
                    <a:pt x="0" y="24616"/>
                  </a:lnTo>
                  <a:lnTo>
                    <a:pt x="21284" y="24616"/>
                  </a:lnTo>
                  <a:lnTo>
                    <a:pt x="21284" y="0"/>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19" name="Freeform: Shape 418">
              <a:extLst>
                <a:ext uri="{FF2B5EF4-FFF2-40B4-BE49-F238E27FC236}">
                  <a16:creationId xmlns:a16="http://schemas.microsoft.com/office/drawing/2014/main" id="{CC2C28BE-CC91-4D12-A587-56126B748755}"/>
                </a:ext>
              </a:extLst>
            </p:cNvPr>
            <p:cNvSpPr/>
            <p:nvPr/>
          </p:nvSpPr>
          <p:spPr>
            <a:xfrm>
              <a:off x="11762138" y="4084310"/>
              <a:ext cx="55607" cy="55164"/>
            </a:xfrm>
            <a:custGeom>
              <a:avLst/>
              <a:gdLst>
                <a:gd name="connsiteX0" fmla="*/ 0 w 55607"/>
                <a:gd name="connsiteY0" fmla="*/ 27467 h 55164"/>
                <a:gd name="connsiteX1" fmla="*/ 27852 w 55607"/>
                <a:gd name="connsiteY1" fmla="*/ 0 h 55164"/>
                <a:gd name="connsiteX2" fmla="*/ 55608 w 55607"/>
                <a:gd name="connsiteY2" fmla="*/ 27467 h 55164"/>
                <a:gd name="connsiteX3" fmla="*/ 27852 w 55607"/>
                <a:gd name="connsiteY3" fmla="*/ 55165 h 55164"/>
                <a:gd name="connsiteX4" fmla="*/ 0 w 55607"/>
                <a:gd name="connsiteY4" fmla="*/ 27467 h 55164"/>
                <a:gd name="connsiteX5" fmla="*/ 50214 w 55607"/>
                <a:gd name="connsiteY5" fmla="*/ 27467 h 55164"/>
                <a:gd name="connsiteX6" fmla="*/ 27871 w 55607"/>
                <a:gd name="connsiteY6" fmla="*/ 4449 h 55164"/>
                <a:gd name="connsiteX7" fmla="*/ 5374 w 55607"/>
                <a:gd name="connsiteY7" fmla="*/ 27467 h 55164"/>
                <a:gd name="connsiteX8" fmla="*/ 27871 w 55607"/>
                <a:gd name="connsiteY8" fmla="*/ 50696 h 55164"/>
                <a:gd name="connsiteX9" fmla="*/ 50214 w 55607"/>
                <a:gd name="connsiteY9" fmla="*/ 27467 h 55164"/>
                <a:gd name="connsiteX10" fmla="*/ 22208 w 55607"/>
                <a:gd name="connsiteY10" fmla="*/ 43839 h 55164"/>
                <a:gd name="connsiteX11" fmla="*/ 17316 w 55607"/>
                <a:gd name="connsiteY11" fmla="*/ 43839 h 55164"/>
                <a:gd name="connsiteX12" fmla="*/ 17316 w 55607"/>
                <a:gd name="connsiteY12" fmla="*/ 11576 h 55164"/>
                <a:gd name="connsiteX13" fmla="*/ 29586 w 55607"/>
                <a:gd name="connsiteY13" fmla="*/ 11576 h 55164"/>
                <a:gd name="connsiteX14" fmla="*/ 40738 w 55607"/>
                <a:gd name="connsiteY14" fmla="*/ 20725 h 55164"/>
                <a:gd name="connsiteX15" fmla="*/ 32918 w 55607"/>
                <a:gd name="connsiteY15" fmla="*/ 29586 h 55164"/>
                <a:gd name="connsiteX16" fmla="*/ 41643 w 55607"/>
                <a:gd name="connsiteY16" fmla="*/ 43839 h 55164"/>
                <a:gd name="connsiteX17" fmla="*/ 35788 w 55607"/>
                <a:gd name="connsiteY17" fmla="*/ 43839 h 55164"/>
                <a:gd name="connsiteX18" fmla="*/ 27216 w 55607"/>
                <a:gd name="connsiteY18" fmla="*/ 29701 h 55164"/>
                <a:gd name="connsiteX19" fmla="*/ 22228 w 55607"/>
                <a:gd name="connsiteY19" fmla="*/ 29701 h 55164"/>
                <a:gd name="connsiteX20" fmla="*/ 22228 w 55607"/>
                <a:gd name="connsiteY20" fmla="*/ 43839 h 55164"/>
                <a:gd name="connsiteX21" fmla="*/ 22208 w 55607"/>
                <a:gd name="connsiteY21" fmla="*/ 25541 h 55164"/>
                <a:gd name="connsiteX22" fmla="*/ 27563 w 55607"/>
                <a:gd name="connsiteY22" fmla="*/ 25541 h 55164"/>
                <a:gd name="connsiteX23" fmla="*/ 35846 w 55607"/>
                <a:gd name="connsiteY23" fmla="*/ 20494 h 55164"/>
                <a:gd name="connsiteX24" fmla="*/ 28777 w 55607"/>
                <a:gd name="connsiteY24" fmla="*/ 15717 h 55164"/>
                <a:gd name="connsiteX25" fmla="*/ 22208 w 55607"/>
                <a:gd name="connsiteY25" fmla="*/ 15717 h 55164"/>
                <a:gd name="connsiteX26" fmla="*/ 22208 w 55607"/>
                <a:gd name="connsiteY26" fmla="*/ 25541 h 5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5607" h="55164">
                  <a:moveTo>
                    <a:pt x="0" y="27467"/>
                  </a:moveTo>
                  <a:cubicBezTo>
                    <a:pt x="0" y="11884"/>
                    <a:pt x="12713" y="0"/>
                    <a:pt x="27852" y="0"/>
                  </a:cubicBezTo>
                  <a:cubicBezTo>
                    <a:pt x="42991" y="0"/>
                    <a:pt x="55608" y="11884"/>
                    <a:pt x="55608" y="27467"/>
                  </a:cubicBezTo>
                  <a:cubicBezTo>
                    <a:pt x="55608" y="43049"/>
                    <a:pt x="42934" y="55165"/>
                    <a:pt x="27852" y="55165"/>
                  </a:cubicBezTo>
                  <a:cubicBezTo>
                    <a:pt x="12770" y="55165"/>
                    <a:pt x="0" y="43261"/>
                    <a:pt x="0" y="27467"/>
                  </a:cubicBezTo>
                  <a:close/>
                  <a:moveTo>
                    <a:pt x="50214" y="27467"/>
                  </a:moveTo>
                  <a:cubicBezTo>
                    <a:pt x="50214" y="14504"/>
                    <a:pt x="40526" y="4449"/>
                    <a:pt x="27871" y="4449"/>
                  </a:cubicBezTo>
                  <a:cubicBezTo>
                    <a:pt x="15216" y="4449"/>
                    <a:pt x="5374" y="14485"/>
                    <a:pt x="5374" y="27467"/>
                  </a:cubicBezTo>
                  <a:cubicBezTo>
                    <a:pt x="5374" y="40449"/>
                    <a:pt x="15120" y="50696"/>
                    <a:pt x="27871" y="50696"/>
                  </a:cubicBezTo>
                  <a:cubicBezTo>
                    <a:pt x="40622" y="50696"/>
                    <a:pt x="50214" y="40699"/>
                    <a:pt x="50214" y="27467"/>
                  </a:cubicBezTo>
                  <a:close/>
                  <a:moveTo>
                    <a:pt x="22208" y="43839"/>
                  </a:moveTo>
                  <a:lnTo>
                    <a:pt x="17316" y="43839"/>
                  </a:lnTo>
                  <a:lnTo>
                    <a:pt x="17316" y="11576"/>
                  </a:lnTo>
                  <a:lnTo>
                    <a:pt x="29586" y="11576"/>
                  </a:lnTo>
                  <a:cubicBezTo>
                    <a:pt x="37001" y="11576"/>
                    <a:pt x="40738" y="14639"/>
                    <a:pt x="40738" y="20725"/>
                  </a:cubicBezTo>
                  <a:cubicBezTo>
                    <a:pt x="40738" y="26504"/>
                    <a:pt x="36963" y="29008"/>
                    <a:pt x="32918" y="29586"/>
                  </a:cubicBezTo>
                  <a:lnTo>
                    <a:pt x="41643" y="43839"/>
                  </a:lnTo>
                  <a:lnTo>
                    <a:pt x="35788" y="43839"/>
                  </a:lnTo>
                  <a:lnTo>
                    <a:pt x="27216" y="29701"/>
                  </a:lnTo>
                  <a:lnTo>
                    <a:pt x="22228" y="29701"/>
                  </a:lnTo>
                  <a:lnTo>
                    <a:pt x="22228" y="43839"/>
                  </a:lnTo>
                  <a:close/>
                  <a:moveTo>
                    <a:pt x="22208" y="25541"/>
                  </a:moveTo>
                  <a:lnTo>
                    <a:pt x="27563" y="25541"/>
                  </a:lnTo>
                  <a:cubicBezTo>
                    <a:pt x="33476" y="25541"/>
                    <a:pt x="35846" y="24809"/>
                    <a:pt x="35846" y="20494"/>
                  </a:cubicBezTo>
                  <a:cubicBezTo>
                    <a:pt x="35846" y="17239"/>
                    <a:pt x="33919" y="15717"/>
                    <a:pt x="28777" y="15717"/>
                  </a:cubicBezTo>
                  <a:lnTo>
                    <a:pt x="22208" y="15717"/>
                  </a:lnTo>
                  <a:lnTo>
                    <a:pt x="22208" y="25541"/>
                  </a:lnTo>
                  <a:close/>
                </a:path>
              </a:pathLst>
            </a:custGeom>
            <a:solidFill>
              <a:srgbClr val="A1ABB2"/>
            </a:solidFill>
            <a:ln w="191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27" name="Group 426">
            <a:extLst>
              <a:ext uri="{FF2B5EF4-FFF2-40B4-BE49-F238E27FC236}">
                <a16:creationId xmlns:a16="http://schemas.microsoft.com/office/drawing/2014/main" id="{1911564C-3659-4CDF-87CE-55B92C0DD768}"/>
              </a:ext>
            </a:extLst>
          </p:cNvPr>
          <p:cNvGrpSpPr/>
          <p:nvPr userDrawn="1"/>
        </p:nvGrpSpPr>
        <p:grpSpPr>
          <a:xfrm>
            <a:off x="3339353" y="3526492"/>
            <a:ext cx="517860" cy="341666"/>
            <a:chOff x="6268120" y="5005971"/>
            <a:chExt cx="1222533" cy="806585"/>
          </a:xfrm>
        </p:grpSpPr>
        <p:sp>
          <p:nvSpPr>
            <p:cNvPr id="428" name="Freeform: Shape 427">
              <a:extLst>
                <a:ext uri="{FF2B5EF4-FFF2-40B4-BE49-F238E27FC236}">
                  <a16:creationId xmlns:a16="http://schemas.microsoft.com/office/drawing/2014/main" id="{0C85D47F-38BF-42B1-83DE-B5FBD0613283}"/>
                </a:ext>
              </a:extLst>
            </p:cNvPr>
            <p:cNvSpPr/>
            <p:nvPr/>
          </p:nvSpPr>
          <p:spPr>
            <a:xfrm>
              <a:off x="6268120" y="5757005"/>
              <a:ext cx="487775" cy="55551"/>
            </a:xfrm>
            <a:custGeom>
              <a:avLst/>
              <a:gdLst>
                <a:gd name="connsiteX0" fmla="*/ 0 w 487775"/>
                <a:gd name="connsiteY0" fmla="*/ 7525 h 55551"/>
                <a:gd name="connsiteX1" fmla="*/ 487775 w 487775"/>
                <a:gd name="connsiteY1" fmla="*/ 0 h 55551"/>
                <a:gd name="connsiteX2" fmla="*/ 421100 w 487775"/>
                <a:gd name="connsiteY2" fmla="*/ 0 h 55551"/>
                <a:gd name="connsiteX3" fmla="*/ 0 w 487775"/>
                <a:gd name="connsiteY3" fmla="*/ 7525 h 55551"/>
              </a:gdLst>
              <a:ahLst/>
              <a:cxnLst>
                <a:cxn ang="0">
                  <a:pos x="connsiteX0" y="connsiteY0"/>
                </a:cxn>
                <a:cxn ang="0">
                  <a:pos x="connsiteX1" y="connsiteY1"/>
                </a:cxn>
                <a:cxn ang="0">
                  <a:pos x="connsiteX2" y="connsiteY2"/>
                </a:cxn>
                <a:cxn ang="0">
                  <a:pos x="connsiteX3" y="connsiteY3"/>
                </a:cxn>
              </a:cxnLst>
              <a:rect l="l" t="t" r="r" b="b"/>
              <a:pathLst>
                <a:path w="487775" h="55551">
                  <a:moveTo>
                    <a:pt x="0" y="7525"/>
                  </a:moveTo>
                  <a:cubicBezTo>
                    <a:pt x="92297" y="72485"/>
                    <a:pt x="277940" y="73057"/>
                    <a:pt x="487775" y="0"/>
                  </a:cubicBezTo>
                  <a:lnTo>
                    <a:pt x="421100" y="0"/>
                  </a:lnTo>
                  <a:cubicBezTo>
                    <a:pt x="240125" y="56388"/>
                    <a:pt x="80105" y="64960"/>
                    <a:pt x="0" y="752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29" name="Freeform: Shape 428">
              <a:extLst>
                <a:ext uri="{FF2B5EF4-FFF2-40B4-BE49-F238E27FC236}">
                  <a16:creationId xmlns:a16="http://schemas.microsoft.com/office/drawing/2014/main" id="{243FD354-4C2B-4888-923D-8B27979E675E}"/>
                </a:ext>
              </a:extLst>
            </p:cNvPr>
            <p:cNvSpPr/>
            <p:nvPr/>
          </p:nvSpPr>
          <p:spPr>
            <a:xfrm>
              <a:off x="6662550" y="5005971"/>
              <a:ext cx="795210" cy="507669"/>
            </a:xfrm>
            <a:custGeom>
              <a:avLst/>
              <a:gdLst>
                <a:gd name="connsiteX0" fmla="*/ 17717 w 795210"/>
                <a:gd name="connsiteY0" fmla="*/ 171533 h 507669"/>
                <a:gd name="connsiteX1" fmla="*/ 709517 w 795210"/>
                <a:gd name="connsiteY1" fmla="*/ 120669 h 507669"/>
                <a:gd name="connsiteX2" fmla="*/ 537210 w 795210"/>
                <a:gd name="connsiteY2" fmla="*/ 462522 h 507669"/>
                <a:gd name="connsiteX3" fmla="*/ 530352 w 795210"/>
                <a:gd name="connsiteY3" fmla="*/ 507670 h 507669"/>
                <a:gd name="connsiteX4" fmla="*/ 782003 w 795210"/>
                <a:gd name="connsiteY4" fmla="*/ 90665 h 507669"/>
                <a:gd name="connsiteX5" fmla="*/ 25241 w 795210"/>
                <a:gd name="connsiteY5" fmla="*/ 151244 h 507669"/>
                <a:gd name="connsiteX6" fmla="*/ 0 w 795210"/>
                <a:gd name="connsiteY6" fmla="*/ 164675 h 507669"/>
                <a:gd name="connsiteX7" fmla="*/ 17717 w 795210"/>
                <a:gd name="connsiteY7" fmla="*/ 171533 h 50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210" h="507669">
                  <a:moveTo>
                    <a:pt x="17717" y="171533"/>
                  </a:moveTo>
                  <a:cubicBezTo>
                    <a:pt x="319373" y="18752"/>
                    <a:pt x="640747" y="-11062"/>
                    <a:pt x="709517" y="120669"/>
                  </a:cubicBezTo>
                  <a:cubicBezTo>
                    <a:pt x="753618" y="205156"/>
                    <a:pt x="666464" y="350698"/>
                    <a:pt x="537210" y="462522"/>
                  </a:cubicBezTo>
                  <a:lnTo>
                    <a:pt x="530352" y="507670"/>
                  </a:lnTo>
                  <a:cubicBezTo>
                    <a:pt x="713613" y="366891"/>
                    <a:pt x="837057" y="196202"/>
                    <a:pt x="782003" y="90665"/>
                  </a:cubicBezTo>
                  <a:cubicBezTo>
                    <a:pt x="706850" y="-53353"/>
                    <a:pt x="353759" y="-20396"/>
                    <a:pt x="25241" y="151244"/>
                  </a:cubicBezTo>
                  <a:cubicBezTo>
                    <a:pt x="16764" y="155721"/>
                    <a:pt x="8382" y="160198"/>
                    <a:pt x="0" y="164675"/>
                  </a:cubicBezTo>
                  <a:lnTo>
                    <a:pt x="17717" y="171533"/>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0" name="Freeform: Shape 429">
              <a:extLst>
                <a:ext uri="{FF2B5EF4-FFF2-40B4-BE49-F238E27FC236}">
                  <a16:creationId xmlns:a16="http://schemas.microsoft.com/office/drawing/2014/main" id="{FC851D3A-DCAA-43C4-BB0E-2710067A53C6}"/>
                </a:ext>
              </a:extLst>
            </p:cNvPr>
            <p:cNvSpPr/>
            <p:nvPr/>
          </p:nvSpPr>
          <p:spPr>
            <a:xfrm>
              <a:off x="6506721" y="5235797"/>
              <a:ext cx="68103" cy="45815"/>
            </a:xfrm>
            <a:custGeom>
              <a:avLst/>
              <a:gdLst>
                <a:gd name="connsiteX0" fmla="*/ 47435 w 68103"/>
                <a:gd name="connsiteY0" fmla="*/ 0 h 45815"/>
                <a:gd name="connsiteX1" fmla="*/ 3143 w 68103"/>
                <a:gd name="connsiteY1" fmla="*/ 31052 h 45815"/>
                <a:gd name="connsiteX2" fmla="*/ 0 w 68103"/>
                <a:gd name="connsiteY2" fmla="*/ 45815 h 45815"/>
                <a:gd name="connsiteX3" fmla="*/ 68104 w 68103"/>
                <a:gd name="connsiteY3" fmla="*/ 381 h 45815"/>
                <a:gd name="connsiteX4" fmla="*/ 47435 w 68103"/>
                <a:gd name="connsiteY4" fmla="*/ 95 h 45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103" h="45815">
                  <a:moveTo>
                    <a:pt x="47435" y="0"/>
                  </a:moveTo>
                  <a:cubicBezTo>
                    <a:pt x="31623" y="10478"/>
                    <a:pt x="18098" y="20193"/>
                    <a:pt x="3143" y="31052"/>
                  </a:cubicBezTo>
                  <a:lnTo>
                    <a:pt x="0" y="45815"/>
                  </a:lnTo>
                  <a:cubicBezTo>
                    <a:pt x="21336" y="30766"/>
                    <a:pt x="44958" y="14669"/>
                    <a:pt x="68104" y="381"/>
                  </a:cubicBezTo>
                  <a:lnTo>
                    <a:pt x="47435" y="95"/>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1" name="Freeform: Shape 430">
              <a:extLst>
                <a:ext uri="{FF2B5EF4-FFF2-40B4-BE49-F238E27FC236}">
                  <a16:creationId xmlns:a16="http://schemas.microsoft.com/office/drawing/2014/main" id="{01D9D55F-E566-45F4-9EA1-8E9465B95775}"/>
                </a:ext>
              </a:extLst>
            </p:cNvPr>
            <p:cNvSpPr/>
            <p:nvPr/>
          </p:nvSpPr>
          <p:spPr>
            <a:xfrm>
              <a:off x="6312220" y="5619178"/>
              <a:ext cx="109537" cy="100869"/>
            </a:xfrm>
            <a:custGeom>
              <a:avLst/>
              <a:gdLst>
                <a:gd name="connsiteX0" fmla="*/ 21431 w 109537"/>
                <a:gd name="connsiteY0" fmla="*/ 100298 h 100869"/>
                <a:gd name="connsiteX1" fmla="*/ 34957 w 109537"/>
                <a:gd name="connsiteY1" fmla="*/ 100489 h 100869"/>
                <a:gd name="connsiteX2" fmla="*/ 50483 w 109537"/>
                <a:gd name="connsiteY2" fmla="*/ 100870 h 100869"/>
                <a:gd name="connsiteX3" fmla="*/ 73628 w 109537"/>
                <a:gd name="connsiteY3" fmla="*/ 96107 h 100869"/>
                <a:gd name="connsiteX4" fmla="*/ 92774 w 109537"/>
                <a:gd name="connsiteY4" fmla="*/ 82296 h 100869"/>
                <a:gd name="connsiteX5" fmla="*/ 105346 w 109537"/>
                <a:gd name="connsiteY5" fmla="*/ 61341 h 100869"/>
                <a:gd name="connsiteX6" fmla="*/ 109537 w 109537"/>
                <a:gd name="connsiteY6" fmla="*/ 38576 h 100869"/>
                <a:gd name="connsiteX7" fmla="*/ 104299 w 109537"/>
                <a:gd name="connsiteY7" fmla="*/ 17240 h 100869"/>
                <a:gd name="connsiteX8" fmla="*/ 89821 w 109537"/>
                <a:gd name="connsiteY8" fmla="*/ 4286 h 100869"/>
                <a:gd name="connsiteX9" fmla="*/ 66103 w 109537"/>
                <a:gd name="connsiteY9" fmla="*/ 286 h 100869"/>
                <a:gd name="connsiteX10" fmla="*/ 47339 w 109537"/>
                <a:gd name="connsiteY10" fmla="*/ 572 h 100869"/>
                <a:gd name="connsiteX11" fmla="*/ 27908 w 109537"/>
                <a:gd name="connsiteY11" fmla="*/ 762 h 100869"/>
                <a:gd name="connsiteX12" fmla="*/ 11335 w 109537"/>
                <a:gd name="connsiteY12" fmla="*/ 0 h 100869"/>
                <a:gd name="connsiteX13" fmla="*/ 10382 w 109537"/>
                <a:gd name="connsiteY13" fmla="*/ 5144 h 100869"/>
                <a:gd name="connsiteX14" fmla="*/ 17621 w 109537"/>
                <a:gd name="connsiteY14" fmla="*/ 5620 h 100869"/>
                <a:gd name="connsiteX15" fmla="*/ 22479 w 109537"/>
                <a:gd name="connsiteY15" fmla="*/ 6191 h 100869"/>
                <a:gd name="connsiteX16" fmla="*/ 24003 w 109537"/>
                <a:gd name="connsiteY16" fmla="*/ 7239 h 100869"/>
                <a:gd name="connsiteX17" fmla="*/ 24575 w 109537"/>
                <a:gd name="connsiteY17" fmla="*/ 9430 h 100869"/>
                <a:gd name="connsiteX18" fmla="*/ 22384 w 109537"/>
                <a:gd name="connsiteY18" fmla="*/ 26765 h 100869"/>
                <a:gd name="connsiteX19" fmla="*/ 14383 w 109537"/>
                <a:gd name="connsiteY19" fmla="*/ 72771 h 100869"/>
                <a:gd name="connsiteX20" fmla="*/ 10287 w 109537"/>
                <a:gd name="connsiteY20" fmla="*/ 92488 h 100869"/>
                <a:gd name="connsiteX21" fmla="*/ 8858 w 109537"/>
                <a:gd name="connsiteY21" fmla="*/ 94298 h 100869"/>
                <a:gd name="connsiteX22" fmla="*/ 381 w 109537"/>
                <a:gd name="connsiteY22" fmla="*/ 96298 h 100869"/>
                <a:gd name="connsiteX23" fmla="*/ 0 w 109537"/>
                <a:gd name="connsiteY23" fmla="*/ 100870 h 100869"/>
                <a:gd name="connsiteX24" fmla="*/ 12954 w 109537"/>
                <a:gd name="connsiteY24" fmla="*/ 100298 h 100869"/>
                <a:gd name="connsiteX25" fmla="*/ 21622 w 109537"/>
                <a:gd name="connsiteY25" fmla="*/ 100298 h 100869"/>
                <a:gd name="connsiteX26" fmla="*/ 37052 w 109537"/>
                <a:gd name="connsiteY26" fmla="*/ 48101 h 100869"/>
                <a:gd name="connsiteX27" fmla="*/ 44387 w 109537"/>
                <a:gd name="connsiteY27" fmla="*/ 7906 h 100869"/>
                <a:gd name="connsiteX28" fmla="*/ 58769 w 109537"/>
                <a:gd name="connsiteY28" fmla="*/ 7049 h 100869"/>
                <a:gd name="connsiteX29" fmla="*/ 72485 w 109537"/>
                <a:gd name="connsiteY29" fmla="*/ 8668 h 100869"/>
                <a:gd name="connsiteX30" fmla="*/ 81820 w 109537"/>
                <a:gd name="connsiteY30" fmla="*/ 14288 h 100869"/>
                <a:gd name="connsiteX31" fmla="*/ 87535 w 109537"/>
                <a:gd name="connsiteY31" fmla="*/ 24575 h 100869"/>
                <a:gd name="connsiteX32" fmla="*/ 89345 w 109537"/>
                <a:gd name="connsiteY32" fmla="*/ 36957 h 100869"/>
                <a:gd name="connsiteX33" fmla="*/ 87154 w 109537"/>
                <a:gd name="connsiteY33" fmla="*/ 56579 h 100869"/>
                <a:gd name="connsiteX34" fmla="*/ 81248 w 109537"/>
                <a:gd name="connsiteY34" fmla="*/ 74486 h 100869"/>
                <a:gd name="connsiteX35" fmla="*/ 72676 w 109537"/>
                <a:gd name="connsiteY35" fmla="*/ 86773 h 100869"/>
                <a:gd name="connsiteX36" fmla="*/ 65437 w 109537"/>
                <a:gd name="connsiteY36" fmla="*/ 91726 h 100869"/>
                <a:gd name="connsiteX37" fmla="*/ 51435 w 109537"/>
                <a:gd name="connsiteY37" fmla="*/ 94107 h 100869"/>
                <a:gd name="connsiteX38" fmla="*/ 44101 w 109537"/>
                <a:gd name="connsiteY38" fmla="*/ 93726 h 100869"/>
                <a:gd name="connsiteX39" fmla="*/ 29528 w 109537"/>
                <a:gd name="connsiteY39" fmla="*/ 91821 h 100869"/>
                <a:gd name="connsiteX40" fmla="*/ 37052 w 109537"/>
                <a:gd name="connsiteY40" fmla="*/ 48197 h 10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9537" h="100869">
                  <a:moveTo>
                    <a:pt x="21431" y="100298"/>
                  </a:moveTo>
                  <a:cubicBezTo>
                    <a:pt x="26003" y="100298"/>
                    <a:pt x="30480" y="100298"/>
                    <a:pt x="34957" y="100489"/>
                  </a:cubicBezTo>
                  <a:cubicBezTo>
                    <a:pt x="42577" y="100775"/>
                    <a:pt x="47720" y="100870"/>
                    <a:pt x="50483" y="100870"/>
                  </a:cubicBezTo>
                  <a:cubicBezTo>
                    <a:pt x="58769" y="100870"/>
                    <a:pt x="66484" y="99251"/>
                    <a:pt x="73628" y="96107"/>
                  </a:cubicBezTo>
                  <a:cubicBezTo>
                    <a:pt x="80772" y="92964"/>
                    <a:pt x="87154" y="88297"/>
                    <a:pt x="92774" y="82296"/>
                  </a:cubicBezTo>
                  <a:cubicBezTo>
                    <a:pt x="98393" y="76295"/>
                    <a:pt x="102584" y="69342"/>
                    <a:pt x="105346" y="61341"/>
                  </a:cubicBezTo>
                  <a:cubicBezTo>
                    <a:pt x="108109" y="53435"/>
                    <a:pt x="109537" y="45815"/>
                    <a:pt x="109537" y="38576"/>
                  </a:cubicBezTo>
                  <a:cubicBezTo>
                    <a:pt x="109537" y="30385"/>
                    <a:pt x="107823" y="23241"/>
                    <a:pt x="104299" y="17240"/>
                  </a:cubicBezTo>
                  <a:cubicBezTo>
                    <a:pt x="100775" y="11240"/>
                    <a:pt x="96012" y="6953"/>
                    <a:pt x="89821" y="4286"/>
                  </a:cubicBezTo>
                  <a:cubicBezTo>
                    <a:pt x="83630" y="1619"/>
                    <a:pt x="75724" y="286"/>
                    <a:pt x="66103" y="286"/>
                  </a:cubicBezTo>
                  <a:cubicBezTo>
                    <a:pt x="63151" y="286"/>
                    <a:pt x="56864" y="286"/>
                    <a:pt x="47339" y="572"/>
                  </a:cubicBezTo>
                  <a:cubicBezTo>
                    <a:pt x="39719" y="667"/>
                    <a:pt x="33147" y="762"/>
                    <a:pt x="27908" y="762"/>
                  </a:cubicBezTo>
                  <a:cubicBezTo>
                    <a:pt x="21526" y="762"/>
                    <a:pt x="16002" y="476"/>
                    <a:pt x="11335" y="0"/>
                  </a:cubicBezTo>
                  <a:lnTo>
                    <a:pt x="10382" y="5144"/>
                  </a:lnTo>
                  <a:cubicBezTo>
                    <a:pt x="10382" y="5144"/>
                    <a:pt x="13049" y="5334"/>
                    <a:pt x="17621" y="5620"/>
                  </a:cubicBezTo>
                  <a:cubicBezTo>
                    <a:pt x="20193" y="5810"/>
                    <a:pt x="21812" y="6001"/>
                    <a:pt x="22479" y="6191"/>
                  </a:cubicBezTo>
                  <a:cubicBezTo>
                    <a:pt x="23146" y="6382"/>
                    <a:pt x="23622" y="6763"/>
                    <a:pt x="24003" y="7239"/>
                  </a:cubicBezTo>
                  <a:cubicBezTo>
                    <a:pt x="24384" y="7715"/>
                    <a:pt x="24575" y="8477"/>
                    <a:pt x="24575" y="9430"/>
                  </a:cubicBezTo>
                  <a:cubicBezTo>
                    <a:pt x="24575" y="12192"/>
                    <a:pt x="23813" y="18002"/>
                    <a:pt x="22384" y="26765"/>
                  </a:cubicBezTo>
                  <a:cubicBezTo>
                    <a:pt x="19241" y="45434"/>
                    <a:pt x="16573" y="60865"/>
                    <a:pt x="14383" y="72771"/>
                  </a:cubicBezTo>
                  <a:cubicBezTo>
                    <a:pt x="12192" y="84677"/>
                    <a:pt x="10763" y="91250"/>
                    <a:pt x="10287" y="92488"/>
                  </a:cubicBezTo>
                  <a:cubicBezTo>
                    <a:pt x="9906" y="93250"/>
                    <a:pt x="9430" y="93917"/>
                    <a:pt x="8858" y="94298"/>
                  </a:cubicBezTo>
                  <a:cubicBezTo>
                    <a:pt x="7810" y="95060"/>
                    <a:pt x="4953" y="95631"/>
                    <a:pt x="381" y="96298"/>
                  </a:cubicBezTo>
                  <a:lnTo>
                    <a:pt x="0" y="100870"/>
                  </a:lnTo>
                  <a:lnTo>
                    <a:pt x="12954" y="100298"/>
                  </a:lnTo>
                  <a:cubicBezTo>
                    <a:pt x="15145" y="100298"/>
                    <a:pt x="18098" y="100298"/>
                    <a:pt x="21622" y="100298"/>
                  </a:cubicBezTo>
                  <a:moveTo>
                    <a:pt x="37052" y="48101"/>
                  </a:moveTo>
                  <a:lnTo>
                    <a:pt x="44387" y="7906"/>
                  </a:lnTo>
                  <a:cubicBezTo>
                    <a:pt x="48577" y="7334"/>
                    <a:pt x="53340" y="7049"/>
                    <a:pt x="58769" y="7049"/>
                  </a:cubicBezTo>
                  <a:cubicBezTo>
                    <a:pt x="64198" y="7049"/>
                    <a:pt x="68866" y="7620"/>
                    <a:pt x="72485" y="8668"/>
                  </a:cubicBezTo>
                  <a:cubicBezTo>
                    <a:pt x="76105" y="9716"/>
                    <a:pt x="79248" y="11621"/>
                    <a:pt x="81820" y="14288"/>
                  </a:cubicBezTo>
                  <a:cubicBezTo>
                    <a:pt x="84392" y="16955"/>
                    <a:pt x="86392" y="20383"/>
                    <a:pt x="87535" y="24575"/>
                  </a:cubicBezTo>
                  <a:cubicBezTo>
                    <a:pt x="88773" y="28766"/>
                    <a:pt x="89345" y="32861"/>
                    <a:pt x="89345" y="36957"/>
                  </a:cubicBezTo>
                  <a:cubicBezTo>
                    <a:pt x="89345" y="43053"/>
                    <a:pt x="88583" y="49625"/>
                    <a:pt x="87154" y="56579"/>
                  </a:cubicBezTo>
                  <a:cubicBezTo>
                    <a:pt x="85725" y="63627"/>
                    <a:pt x="83725" y="69628"/>
                    <a:pt x="81248" y="74486"/>
                  </a:cubicBezTo>
                  <a:cubicBezTo>
                    <a:pt x="78772" y="79343"/>
                    <a:pt x="75914" y="83439"/>
                    <a:pt x="72676" y="86773"/>
                  </a:cubicBezTo>
                  <a:cubicBezTo>
                    <a:pt x="70580" y="88868"/>
                    <a:pt x="68199" y="90583"/>
                    <a:pt x="65437" y="91726"/>
                  </a:cubicBezTo>
                  <a:cubicBezTo>
                    <a:pt x="61532" y="93250"/>
                    <a:pt x="56864" y="94107"/>
                    <a:pt x="51435" y="94107"/>
                  </a:cubicBezTo>
                  <a:cubicBezTo>
                    <a:pt x="49149" y="94107"/>
                    <a:pt x="46672" y="94012"/>
                    <a:pt x="44101" y="93726"/>
                  </a:cubicBezTo>
                  <a:lnTo>
                    <a:pt x="29528" y="91821"/>
                  </a:lnTo>
                  <a:cubicBezTo>
                    <a:pt x="30480" y="85154"/>
                    <a:pt x="32957" y="70580"/>
                    <a:pt x="37052" y="4819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2" name="Freeform: Shape 431">
              <a:extLst>
                <a:ext uri="{FF2B5EF4-FFF2-40B4-BE49-F238E27FC236}">
                  <a16:creationId xmlns:a16="http://schemas.microsoft.com/office/drawing/2014/main" id="{A4412700-2AD3-4791-BE18-79CC8B08EF00}"/>
                </a:ext>
              </a:extLst>
            </p:cNvPr>
            <p:cNvSpPr/>
            <p:nvPr/>
          </p:nvSpPr>
          <p:spPr>
            <a:xfrm>
              <a:off x="6403374" y="5636037"/>
              <a:ext cx="88391" cy="84105"/>
            </a:xfrm>
            <a:custGeom>
              <a:avLst/>
              <a:gdLst>
                <a:gd name="connsiteX0" fmla="*/ 28670 w 88391"/>
                <a:gd name="connsiteY0" fmla="*/ 84106 h 84105"/>
                <a:gd name="connsiteX1" fmla="*/ 29051 w 88391"/>
                <a:gd name="connsiteY1" fmla="*/ 80105 h 84105"/>
                <a:gd name="connsiteX2" fmla="*/ 22098 w 88391"/>
                <a:gd name="connsiteY2" fmla="*/ 79724 h 84105"/>
                <a:gd name="connsiteX3" fmla="*/ 19050 w 88391"/>
                <a:gd name="connsiteY3" fmla="*/ 78677 h 84105"/>
                <a:gd name="connsiteX4" fmla="*/ 18478 w 88391"/>
                <a:gd name="connsiteY4" fmla="*/ 77343 h 84105"/>
                <a:gd name="connsiteX5" fmla="*/ 20288 w 88391"/>
                <a:gd name="connsiteY5" fmla="*/ 72390 h 84105"/>
                <a:gd name="connsiteX6" fmla="*/ 31433 w 88391"/>
                <a:gd name="connsiteY6" fmla="*/ 51435 h 84105"/>
                <a:gd name="connsiteX7" fmla="*/ 53626 w 88391"/>
                <a:gd name="connsiteY7" fmla="*/ 51435 h 84105"/>
                <a:gd name="connsiteX8" fmla="*/ 58579 w 88391"/>
                <a:gd name="connsiteY8" fmla="*/ 51435 h 84105"/>
                <a:gd name="connsiteX9" fmla="*/ 61436 w 88391"/>
                <a:gd name="connsiteY9" fmla="*/ 76867 h 84105"/>
                <a:gd name="connsiteX10" fmla="*/ 61055 w 88391"/>
                <a:gd name="connsiteY10" fmla="*/ 78772 h 84105"/>
                <a:gd name="connsiteX11" fmla="*/ 59150 w 88391"/>
                <a:gd name="connsiteY11" fmla="*/ 79629 h 84105"/>
                <a:gd name="connsiteX12" fmla="*/ 51435 w 88391"/>
                <a:gd name="connsiteY12" fmla="*/ 80105 h 84105"/>
                <a:gd name="connsiteX13" fmla="*/ 51435 w 88391"/>
                <a:gd name="connsiteY13" fmla="*/ 84106 h 84105"/>
                <a:gd name="connsiteX14" fmla="*/ 69437 w 88391"/>
                <a:gd name="connsiteY14" fmla="*/ 83725 h 84105"/>
                <a:gd name="connsiteX15" fmla="*/ 88392 w 88391"/>
                <a:gd name="connsiteY15" fmla="*/ 84106 h 84105"/>
                <a:gd name="connsiteX16" fmla="*/ 88392 w 88391"/>
                <a:gd name="connsiteY16" fmla="*/ 80105 h 84105"/>
                <a:gd name="connsiteX17" fmla="*/ 80296 w 88391"/>
                <a:gd name="connsiteY17" fmla="*/ 79343 h 84105"/>
                <a:gd name="connsiteX18" fmla="*/ 79153 w 88391"/>
                <a:gd name="connsiteY18" fmla="*/ 78486 h 84105"/>
                <a:gd name="connsiteX19" fmla="*/ 77534 w 88391"/>
                <a:gd name="connsiteY19" fmla="*/ 72580 h 84105"/>
                <a:gd name="connsiteX20" fmla="*/ 71342 w 88391"/>
                <a:gd name="connsiteY20" fmla="*/ 32099 h 84105"/>
                <a:gd name="connsiteX21" fmla="*/ 66865 w 88391"/>
                <a:gd name="connsiteY21" fmla="*/ 0 h 84105"/>
                <a:gd name="connsiteX22" fmla="*/ 55150 w 88391"/>
                <a:gd name="connsiteY22" fmla="*/ 0 h 84105"/>
                <a:gd name="connsiteX23" fmla="*/ 40196 w 88391"/>
                <a:gd name="connsiteY23" fmla="*/ 25527 h 84105"/>
                <a:gd name="connsiteX24" fmla="*/ 15526 w 88391"/>
                <a:gd name="connsiteY24" fmla="*/ 66961 h 84105"/>
                <a:gd name="connsiteX25" fmla="*/ 8477 w 88391"/>
                <a:gd name="connsiteY25" fmla="*/ 78391 h 84105"/>
                <a:gd name="connsiteX26" fmla="*/ 6953 w 88391"/>
                <a:gd name="connsiteY26" fmla="*/ 79248 h 84105"/>
                <a:gd name="connsiteX27" fmla="*/ 0 w 88391"/>
                <a:gd name="connsiteY27" fmla="*/ 80010 h 84105"/>
                <a:gd name="connsiteX28" fmla="*/ 0 w 88391"/>
                <a:gd name="connsiteY28" fmla="*/ 84011 h 84105"/>
                <a:gd name="connsiteX29" fmla="*/ 14954 w 88391"/>
                <a:gd name="connsiteY29" fmla="*/ 83629 h 84105"/>
                <a:gd name="connsiteX30" fmla="*/ 28765 w 88391"/>
                <a:gd name="connsiteY30" fmla="*/ 84011 h 84105"/>
                <a:gd name="connsiteX31" fmla="*/ 58007 w 88391"/>
                <a:gd name="connsiteY31" fmla="*/ 45815 h 84105"/>
                <a:gd name="connsiteX32" fmla="*/ 38290 w 88391"/>
                <a:gd name="connsiteY32" fmla="*/ 45910 h 84105"/>
                <a:gd name="connsiteX33" fmla="*/ 34385 w 88391"/>
                <a:gd name="connsiteY33" fmla="*/ 45815 h 84105"/>
                <a:gd name="connsiteX34" fmla="*/ 53340 w 88391"/>
                <a:gd name="connsiteY34" fmla="*/ 13811 h 84105"/>
                <a:gd name="connsiteX35" fmla="*/ 58007 w 88391"/>
                <a:gd name="connsiteY35" fmla="*/ 45815 h 8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8391" h="84105">
                  <a:moveTo>
                    <a:pt x="28670" y="84106"/>
                  </a:moveTo>
                  <a:lnTo>
                    <a:pt x="29051" y="80105"/>
                  </a:lnTo>
                  <a:cubicBezTo>
                    <a:pt x="25241" y="79915"/>
                    <a:pt x="22955" y="79819"/>
                    <a:pt x="22098" y="79724"/>
                  </a:cubicBezTo>
                  <a:cubicBezTo>
                    <a:pt x="20669" y="79534"/>
                    <a:pt x="19622" y="79248"/>
                    <a:pt x="19050" y="78677"/>
                  </a:cubicBezTo>
                  <a:cubicBezTo>
                    <a:pt x="18669" y="78391"/>
                    <a:pt x="18478" y="77915"/>
                    <a:pt x="18478" y="77343"/>
                  </a:cubicBezTo>
                  <a:cubicBezTo>
                    <a:pt x="18478" y="76581"/>
                    <a:pt x="19050" y="74867"/>
                    <a:pt x="20288" y="72390"/>
                  </a:cubicBezTo>
                  <a:cubicBezTo>
                    <a:pt x="23146" y="66199"/>
                    <a:pt x="26861" y="59246"/>
                    <a:pt x="31433" y="51435"/>
                  </a:cubicBezTo>
                  <a:lnTo>
                    <a:pt x="53626" y="51435"/>
                  </a:lnTo>
                  <a:cubicBezTo>
                    <a:pt x="54674" y="51435"/>
                    <a:pt x="56293" y="51435"/>
                    <a:pt x="58579" y="51435"/>
                  </a:cubicBezTo>
                  <a:cubicBezTo>
                    <a:pt x="60484" y="65532"/>
                    <a:pt x="61436" y="73914"/>
                    <a:pt x="61436" y="76867"/>
                  </a:cubicBezTo>
                  <a:cubicBezTo>
                    <a:pt x="61436" y="77819"/>
                    <a:pt x="61341" y="78486"/>
                    <a:pt x="61055" y="78772"/>
                  </a:cubicBezTo>
                  <a:cubicBezTo>
                    <a:pt x="60770" y="79153"/>
                    <a:pt x="60103" y="79438"/>
                    <a:pt x="59150" y="79629"/>
                  </a:cubicBezTo>
                  <a:cubicBezTo>
                    <a:pt x="57626" y="80010"/>
                    <a:pt x="55054" y="80105"/>
                    <a:pt x="51435" y="80105"/>
                  </a:cubicBezTo>
                  <a:lnTo>
                    <a:pt x="51435" y="84106"/>
                  </a:lnTo>
                  <a:cubicBezTo>
                    <a:pt x="62484" y="83820"/>
                    <a:pt x="68485" y="83725"/>
                    <a:pt x="69437" y="83725"/>
                  </a:cubicBezTo>
                  <a:lnTo>
                    <a:pt x="88392" y="84106"/>
                  </a:lnTo>
                  <a:lnTo>
                    <a:pt x="88392" y="80105"/>
                  </a:lnTo>
                  <a:cubicBezTo>
                    <a:pt x="83725" y="79915"/>
                    <a:pt x="80963" y="79629"/>
                    <a:pt x="80296" y="79343"/>
                  </a:cubicBezTo>
                  <a:cubicBezTo>
                    <a:pt x="79820" y="79153"/>
                    <a:pt x="79439" y="78867"/>
                    <a:pt x="79153" y="78486"/>
                  </a:cubicBezTo>
                  <a:cubicBezTo>
                    <a:pt x="78581" y="77724"/>
                    <a:pt x="78105" y="75819"/>
                    <a:pt x="77534" y="72580"/>
                  </a:cubicBezTo>
                  <a:cubicBezTo>
                    <a:pt x="76200" y="64484"/>
                    <a:pt x="74105" y="51054"/>
                    <a:pt x="71342" y="32099"/>
                  </a:cubicBezTo>
                  <a:cubicBezTo>
                    <a:pt x="69723" y="21146"/>
                    <a:pt x="68199" y="10477"/>
                    <a:pt x="66865" y="0"/>
                  </a:cubicBezTo>
                  <a:lnTo>
                    <a:pt x="55150" y="0"/>
                  </a:lnTo>
                  <a:cubicBezTo>
                    <a:pt x="54388" y="1524"/>
                    <a:pt x="49435" y="10001"/>
                    <a:pt x="40196" y="25527"/>
                  </a:cubicBezTo>
                  <a:lnTo>
                    <a:pt x="15526" y="66961"/>
                  </a:lnTo>
                  <a:cubicBezTo>
                    <a:pt x="11335" y="74009"/>
                    <a:pt x="8954" y="77819"/>
                    <a:pt x="8477" y="78391"/>
                  </a:cubicBezTo>
                  <a:cubicBezTo>
                    <a:pt x="8001" y="78772"/>
                    <a:pt x="7525" y="79057"/>
                    <a:pt x="6953" y="79248"/>
                  </a:cubicBezTo>
                  <a:cubicBezTo>
                    <a:pt x="6572" y="79343"/>
                    <a:pt x="4286" y="79629"/>
                    <a:pt x="0" y="80010"/>
                  </a:cubicBezTo>
                  <a:lnTo>
                    <a:pt x="0" y="84011"/>
                  </a:lnTo>
                  <a:lnTo>
                    <a:pt x="14954" y="83629"/>
                  </a:lnTo>
                  <a:lnTo>
                    <a:pt x="28765" y="84011"/>
                  </a:lnTo>
                  <a:moveTo>
                    <a:pt x="58007" y="45815"/>
                  </a:moveTo>
                  <a:cubicBezTo>
                    <a:pt x="56674" y="45815"/>
                    <a:pt x="50101" y="45910"/>
                    <a:pt x="38290" y="45910"/>
                  </a:cubicBezTo>
                  <a:cubicBezTo>
                    <a:pt x="36862" y="45910"/>
                    <a:pt x="35528" y="45910"/>
                    <a:pt x="34385" y="45815"/>
                  </a:cubicBezTo>
                  <a:lnTo>
                    <a:pt x="53340" y="13811"/>
                  </a:lnTo>
                  <a:lnTo>
                    <a:pt x="58007" y="4581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3" name="Freeform: Shape 432">
              <a:extLst>
                <a:ext uri="{FF2B5EF4-FFF2-40B4-BE49-F238E27FC236}">
                  <a16:creationId xmlns:a16="http://schemas.microsoft.com/office/drawing/2014/main" id="{9A5B7B28-61FC-43B2-B836-D553F9018E64}"/>
                </a:ext>
              </a:extLst>
            </p:cNvPr>
            <p:cNvSpPr/>
            <p:nvPr/>
          </p:nvSpPr>
          <p:spPr>
            <a:xfrm>
              <a:off x="6496053" y="5636133"/>
              <a:ext cx="85153" cy="84010"/>
            </a:xfrm>
            <a:custGeom>
              <a:avLst/>
              <a:gdLst>
                <a:gd name="connsiteX0" fmla="*/ 0 w 85153"/>
                <a:gd name="connsiteY0" fmla="*/ 84011 h 84010"/>
                <a:gd name="connsiteX1" fmla="*/ 381 w 85153"/>
                <a:gd name="connsiteY1" fmla="*/ 79819 h 84010"/>
                <a:gd name="connsiteX2" fmla="*/ 1429 w 85153"/>
                <a:gd name="connsiteY2" fmla="*/ 79819 h 84010"/>
                <a:gd name="connsiteX3" fmla="*/ 8763 w 85153"/>
                <a:gd name="connsiteY3" fmla="*/ 79248 h 84010"/>
                <a:gd name="connsiteX4" fmla="*/ 10001 w 85153"/>
                <a:gd name="connsiteY4" fmla="*/ 78486 h 84010"/>
                <a:gd name="connsiteX5" fmla="*/ 11430 w 85153"/>
                <a:gd name="connsiteY5" fmla="*/ 75057 h 84010"/>
                <a:gd name="connsiteX6" fmla="*/ 15621 w 85153"/>
                <a:gd name="connsiteY6" fmla="*/ 52292 h 84010"/>
                <a:gd name="connsiteX7" fmla="*/ 19431 w 85153"/>
                <a:gd name="connsiteY7" fmla="*/ 30575 h 84010"/>
                <a:gd name="connsiteX8" fmla="*/ 22955 w 85153"/>
                <a:gd name="connsiteY8" fmla="*/ 7906 h 84010"/>
                <a:gd name="connsiteX9" fmla="*/ 22289 w 85153"/>
                <a:gd name="connsiteY9" fmla="*/ 5905 h 84010"/>
                <a:gd name="connsiteX10" fmla="*/ 20193 w 85153"/>
                <a:gd name="connsiteY10" fmla="*/ 4763 h 84010"/>
                <a:gd name="connsiteX11" fmla="*/ 11811 w 85153"/>
                <a:gd name="connsiteY11" fmla="*/ 4381 h 84010"/>
                <a:gd name="connsiteX12" fmla="*/ 12478 w 85153"/>
                <a:gd name="connsiteY12" fmla="*/ 0 h 84010"/>
                <a:gd name="connsiteX13" fmla="*/ 24765 w 85153"/>
                <a:gd name="connsiteY13" fmla="*/ 571 h 84010"/>
                <a:gd name="connsiteX14" fmla="*/ 32004 w 85153"/>
                <a:gd name="connsiteY14" fmla="*/ 762 h 84010"/>
                <a:gd name="connsiteX15" fmla="*/ 45625 w 85153"/>
                <a:gd name="connsiteY15" fmla="*/ 286 h 84010"/>
                <a:gd name="connsiteX16" fmla="*/ 56483 w 85153"/>
                <a:gd name="connsiteY16" fmla="*/ 190 h 84010"/>
                <a:gd name="connsiteX17" fmla="*/ 69723 w 85153"/>
                <a:gd name="connsiteY17" fmla="*/ 1905 h 84010"/>
                <a:gd name="connsiteX18" fmla="*/ 77248 w 85153"/>
                <a:gd name="connsiteY18" fmla="*/ 7810 h 84010"/>
                <a:gd name="connsiteX19" fmla="*/ 80105 w 85153"/>
                <a:gd name="connsiteY19" fmla="*/ 17526 h 84010"/>
                <a:gd name="connsiteX20" fmla="*/ 74581 w 85153"/>
                <a:gd name="connsiteY20" fmla="*/ 31432 h 84010"/>
                <a:gd name="connsiteX21" fmla="*/ 54959 w 85153"/>
                <a:gd name="connsiteY21" fmla="*/ 40291 h 84010"/>
                <a:gd name="connsiteX22" fmla="*/ 68961 w 85153"/>
                <a:gd name="connsiteY22" fmla="*/ 63817 h 84010"/>
                <a:gd name="connsiteX23" fmla="*/ 77533 w 85153"/>
                <a:gd name="connsiteY23" fmla="*/ 77343 h 84010"/>
                <a:gd name="connsiteX24" fmla="*/ 79915 w 85153"/>
                <a:gd name="connsiteY24" fmla="*/ 79153 h 84010"/>
                <a:gd name="connsiteX25" fmla="*/ 85153 w 85153"/>
                <a:gd name="connsiteY25" fmla="*/ 79724 h 84010"/>
                <a:gd name="connsiteX26" fmla="*/ 84773 w 85153"/>
                <a:gd name="connsiteY26" fmla="*/ 83915 h 84010"/>
                <a:gd name="connsiteX27" fmla="*/ 71818 w 85153"/>
                <a:gd name="connsiteY27" fmla="*/ 83534 h 84010"/>
                <a:gd name="connsiteX28" fmla="*/ 64675 w 85153"/>
                <a:gd name="connsiteY28" fmla="*/ 83820 h 84010"/>
                <a:gd name="connsiteX29" fmla="*/ 62484 w 85153"/>
                <a:gd name="connsiteY29" fmla="*/ 83820 h 84010"/>
                <a:gd name="connsiteX30" fmla="*/ 54769 w 85153"/>
                <a:gd name="connsiteY30" fmla="*/ 69437 h 84010"/>
                <a:gd name="connsiteX31" fmla="*/ 44577 w 85153"/>
                <a:gd name="connsiteY31" fmla="*/ 51816 h 84010"/>
                <a:gd name="connsiteX32" fmla="*/ 42386 w 85153"/>
                <a:gd name="connsiteY32" fmla="*/ 48101 h 84010"/>
                <a:gd name="connsiteX33" fmla="*/ 37243 w 85153"/>
                <a:gd name="connsiteY33" fmla="*/ 40100 h 84010"/>
                <a:gd name="connsiteX34" fmla="*/ 37719 w 85153"/>
                <a:gd name="connsiteY34" fmla="*/ 38195 h 84010"/>
                <a:gd name="connsiteX35" fmla="*/ 41529 w 85153"/>
                <a:gd name="connsiteY35" fmla="*/ 38386 h 84010"/>
                <a:gd name="connsiteX36" fmla="*/ 53245 w 85153"/>
                <a:gd name="connsiteY36" fmla="*/ 36100 h 84010"/>
                <a:gd name="connsiteX37" fmla="*/ 61151 w 85153"/>
                <a:gd name="connsiteY37" fmla="*/ 29146 h 84010"/>
                <a:gd name="connsiteX38" fmla="*/ 63817 w 85153"/>
                <a:gd name="connsiteY38" fmla="*/ 18288 h 84010"/>
                <a:gd name="connsiteX39" fmla="*/ 60293 w 85153"/>
                <a:gd name="connsiteY39" fmla="*/ 8668 h 84010"/>
                <a:gd name="connsiteX40" fmla="*/ 48863 w 85153"/>
                <a:gd name="connsiteY40" fmla="*/ 5429 h 84010"/>
                <a:gd name="connsiteX41" fmla="*/ 39338 w 85153"/>
                <a:gd name="connsiteY41" fmla="*/ 6286 h 84010"/>
                <a:gd name="connsiteX42" fmla="*/ 33242 w 85153"/>
                <a:gd name="connsiteY42" fmla="*/ 39624 h 84010"/>
                <a:gd name="connsiteX43" fmla="*/ 28766 w 85153"/>
                <a:gd name="connsiteY43" fmla="*/ 65722 h 84010"/>
                <a:gd name="connsiteX44" fmla="*/ 27432 w 85153"/>
                <a:gd name="connsiteY44" fmla="*/ 74486 h 84010"/>
                <a:gd name="connsiteX45" fmla="*/ 27432 w 85153"/>
                <a:gd name="connsiteY45" fmla="*/ 76105 h 84010"/>
                <a:gd name="connsiteX46" fmla="*/ 28004 w 85153"/>
                <a:gd name="connsiteY46" fmla="*/ 78200 h 84010"/>
                <a:gd name="connsiteX47" fmla="*/ 30099 w 85153"/>
                <a:gd name="connsiteY47" fmla="*/ 79248 h 84010"/>
                <a:gd name="connsiteX48" fmla="*/ 38671 w 85153"/>
                <a:gd name="connsiteY48" fmla="*/ 79724 h 84010"/>
                <a:gd name="connsiteX49" fmla="*/ 38291 w 85153"/>
                <a:gd name="connsiteY49" fmla="*/ 83915 h 84010"/>
                <a:gd name="connsiteX50" fmla="*/ 17050 w 85153"/>
                <a:gd name="connsiteY50" fmla="*/ 83344 h 84010"/>
                <a:gd name="connsiteX51" fmla="*/ 286 w 85153"/>
                <a:gd name="connsiteY51" fmla="*/ 83915 h 8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85153" h="84010">
                  <a:moveTo>
                    <a:pt x="0" y="84011"/>
                  </a:moveTo>
                  <a:lnTo>
                    <a:pt x="381" y="79819"/>
                  </a:lnTo>
                  <a:lnTo>
                    <a:pt x="1429" y="79819"/>
                  </a:lnTo>
                  <a:cubicBezTo>
                    <a:pt x="5143" y="79819"/>
                    <a:pt x="7620" y="79629"/>
                    <a:pt x="8763" y="79248"/>
                  </a:cubicBezTo>
                  <a:cubicBezTo>
                    <a:pt x="9239" y="79057"/>
                    <a:pt x="9620" y="78867"/>
                    <a:pt x="10001" y="78486"/>
                  </a:cubicBezTo>
                  <a:cubicBezTo>
                    <a:pt x="10573" y="77819"/>
                    <a:pt x="11049" y="76771"/>
                    <a:pt x="11430" y="75057"/>
                  </a:cubicBezTo>
                  <a:cubicBezTo>
                    <a:pt x="11811" y="73438"/>
                    <a:pt x="13240" y="65818"/>
                    <a:pt x="15621" y="52292"/>
                  </a:cubicBezTo>
                  <a:lnTo>
                    <a:pt x="19431" y="30575"/>
                  </a:lnTo>
                  <a:cubicBezTo>
                    <a:pt x="21717" y="17716"/>
                    <a:pt x="22955" y="10192"/>
                    <a:pt x="22955" y="7906"/>
                  </a:cubicBezTo>
                  <a:cubicBezTo>
                    <a:pt x="22955" y="7048"/>
                    <a:pt x="22765" y="6382"/>
                    <a:pt x="22289" y="5905"/>
                  </a:cubicBezTo>
                  <a:cubicBezTo>
                    <a:pt x="21907" y="5429"/>
                    <a:pt x="21145" y="5048"/>
                    <a:pt x="20193" y="4763"/>
                  </a:cubicBezTo>
                  <a:cubicBezTo>
                    <a:pt x="19241" y="4572"/>
                    <a:pt x="16383" y="4381"/>
                    <a:pt x="11811" y="4381"/>
                  </a:cubicBezTo>
                  <a:lnTo>
                    <a:pt x="12478" y="0"/>
                  </a:lnTo>
                  <a:lnTo>
                    <a:pt x="24765" y="571"/>
                  </a:lnTo>
                  <a:cubicBezTo>
                    <a:pt x="27908" y="667"/>
                    <a:pt x="30290" y="762"/>
                    <a:pt x="32004" y="762"/>
                  </a:cubicBezTo>
                  <a:cubicBezTo>
                    <a:pt x="32956" y="762"/>
                    <a:pt x="37433" y="571"/>
                    <a:pt x="45625" y="286"/>
                  </a:cubicBezTo>
                  <a:cubicBezTo>
                    <a:pt x="49244" y="286"/>
                    <a:pt x="52864" y="190"/>
                    <a:pt x="56483" y="190"/>
                  </a:cubicBezTo>
                  <a:cubicBezTo>
                    <a:pt x="62293" y="190"/>
                    <a:pt x="66675" y="762"/>
                    <a:pt x="69723" y="1905"/>
                  </a:cubicBezTo>
                  <a:cubicBezTo>
                    <a:pt x="72771" y="3048"/>
                    <a:pt x="75343" y="5048"/>
                    <a:pt x="77248" y="7810"/>
                  </a:cubicBezTo>
                  <a:cubicBezTo>
                    <a:pt x="79153" y="10668"/>
                    <a:pt x="80105" y="13811"/>
                    <a:pt x="80105" y="17526"/>
                  </a:cubicBezTo>
                  <a:cubicBezTo>
                    <a:pt x="80105" y="22574"/>
                    <a:pt x="78296" y="27146"/>
                    <a:pt x="74581" y="31432"/>
                  </a:cubicBezTo>
                  <a:cubicBezTo>
                    <a:pt x="70866" y="35719"/>
                    <a:pt x="64294" y="38671"/>
                    <a:pt x="54959" y="40291"/>
                  </a:cubicBezTo>
                  <a:cubicBezTo>
                    <a:pt x="57055" y="43815"/>
                    <a:pt x="61722" y="51625"/>
                    <a:pt x="68961" y="63817"/>
                  </a:cubicBezTo>
                  <a:cubicBezTo>
                    <a:pt x="73533" y="71533"/>
                    <a:pt x="76391" y="76105"/>
                    <a:pt x="77533" y="77343"/>
                  </a:cubicBezTo>
                  <a:cubicBezTo>
                    <a:pt x="78296" y="78200"/>
                    <a:pt x="79057" y="78867"/>
                    <a:pt x="79915" y="79153"/>
                  </a:cubicBezTo>
                  <a:cubicBezTo>
                    <a:pt x="80772" y="79534"/>
                    <a:pt x="82487" y="79724"/>
                    <a:pt x="85153" y="79724"/>
                  </a:cubicBezTo>
                  <a:lnTo>
                    <a:pt x="84773" y="83915"/>
                  </a:lnTo>
                  <a:lnTo>
                    <a:pt x="71818" y="83534"/>
                  </a:lnTo>
                  <a:lnTo>
                    <a:pt x="64675" y="83820"/>
                  </a:lnTo>
                  <a:cubicBezTo>
                    <a:pt x="64675" y="83820"/>
                    <a:pt x="63437" y="83820"/>
                    <a:pt x="62484" y="83820"/>
                  </a:cubicBezTo>
                  <a:lnTo>
                    <a:pt x="54769" y="69437"/>
                  </a:lnTo>
                  <a:cubicBezTo>
                    <a:pt x="50197" y="61341"/>
                    <a:pt x="46768" y="55435"/>
                    <a:pt x="44577" y="51816"/>
                  </a:cubicBezTo>
                  <a:cubicBezTo>
                    <a:pt x="43720" y="50292"/>
                    <a:pt x="42958" y="49054"/>
                    <a:pt x="42386" y="48101"/>
                  </a:cubicBezTo>
                  <a:cubicBezTo>
                    <a:pt x="41434" y="46577"/>
                    <a:pt x="39719" y="43910"/>
                    <a:pt x="37243" y="40100"/>
                  </a:cubicBezTo>
                  <a:lnTo>
                    <a:pt x="37719" y="38195"/>
                  </a:lnTo>
                  <a:cubicBezTo>
                    <a:pt x="39338" y="38386"/>
                    <a:pt x="40577" y="38386"/>
                    <a:pt x="41529" y="38386"/>
                  </a:cubicBezTo>
                  <a:cubicBezTo>
                    <a:pt x="45910" y="38386"/>
                    <a:pt x="49816" y="37624"/>
                    <a:pt x="53245" y="36100"/>
                  </a:cubicBezTo>
                  <a:cubicBezTo>
                    <a:pt x="56674" y="34576"/>
                    <a:pt x="59341" y="32290"/>
                    <a:pt x="61151" y="29146"/>
                  </a:cubicBezTo>
                  <a:cubicBezTo>
                    <a:pt x="62960" y="26003"/>
                    <a:pt x="63817" y="22384"/>
                    <a:pt x="63817" y="18288"/>
                  </a:cubicBezTo>
                  <a:cubicBezTo>
                    <a:pt x="63817" y="14192"/>
                    <a:pt x="62675" y="10858"/>
                    <a:pt x="60293" y="8668"/>
                  </a:cubicBezTo>
                  <a:cubicBezTo>
                    <a:pt x="57912" y="6477"/>
                    <a:pt x="54102" y="5429"/>
                    <a:pt x="48863" y="5429"/>
                  </a:cubicBezTo>
                  <a:cubicBezTo>
                    <a:pt x="44958" y="5429"/>
                    <a:pt x="41815" y="5715"/>
                    <a:pt x="39338" y="6286"/>
                  </a:cubicBezTo>
                  <a:cubicBezTo>
                    <a:pt x="38481" y="10668"/>
                    <a:pt x="36385" y="21812"/>
                    <a:pt x="33242" y="39624"/>
                  </a:cubicBezTo>
                  <a:cubicBezTo>
                    <a:pt x="31623" y="48482"/>
                    <a:pt x="30194" y="57150"/>
                    <a:pt x="28766" y="65722"/>
                  </a:cubicBezTo>
                  <a:cubicBezTo>
                    <a:pt x="27908" y="70961"/>
                    <a:pt x="27432" y="73914"/>
                    <a:pt x="27432" y="74486"/>
                  </a:cubicBezTo>
                  <a:cubicBezTo>
                    <a:pt x="27432" y="75057"/>
                    <a:pt x="27432" y="75628"/>
                    <a:pt x="27432" y="76105"/>
                  </a:cubicBezTo>
                  <a:cubicBezTo>
                    <a:pt x="27432" y="76962"/>
                    <a:pt x="27622" y="77724"/>
                    <a:pt x="28004" y="78200"/>
                  </a:cubicBezTo>
                  <a:cubicBezTo>
                    <a:pt x="28384" y="78676"/>
                    <a:pt x="29051" y="79057"/>
                    <a:pt x="30099" y="79248"/>
                  </a:cubicBezTo>
                  <a:cubicBezTo>
                    <a:pt x="31528" y="79629"/>
                    <a:pt x="34385" y="79724"/>
                    <a:pt x="38671" y="79724"/>
                  </a:cubicBezTo>
                  <a:lnTo>
                    <a:pt x="38291" y="83915"/>
                  </a:lnTo>
                  <a:lnTo>
                    <a:pt x="17050" y="83344"/>
                  </a:lnTo>
                  <a:cubicBezTo>
                    <a:pt x="15049" y="83344"/>
                    <a:pt x="9430" y="83534"/>
                    <a:pt x="286" y="8391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4" name="Freeform: Shape 433">
              <a:extLst>
                <a:ext uri="{FF2B5EF4-FFF2-40B4-BE49-F238E27FC236}">
                  <a16:creationId xmlns:a16="http://schemas.microsoft.com/office/drawing/2014/main" id="{75410CBB-A3D1-4976-9F94-DA0948ED566C}"/>
                </a:ext>
              </a:extLst>
            </p:cNvPr>
            <p:cNvSpPr/>
            <p:nvPr/>
          </p:nvSpPr>
          <p:spPr>
            <a:xfrm>
              <a:off x="6582921" y="5636037"/>
              <a:ext cx="92868" cy="84200"/>
            </a:xfrm>
            <a:custGeom>
              <a:avLst/>
              <a:gdLst>
                <a:gd name="connsiteX0" fmla="*/ 95 w 92868"/>
                <a:gd name="connsiteY0" fmla="*/ 84106 h 84200"/>
                <a:gd name="connsiteX1" fmla="*/ 667 w 92868"/>
                <a:gd name="connsiteY1" fmla="*/ 79724 h 84200"/>
                <a:gd name="connsiteX2" fmla="*/ 10192 w 92868"/>
                <a:gd name="connsiteY2" fmla="*/ 78867 h 84200"/>
                <a:gd name="connsiteX3" fmla="*/ 11716 w 92868"/>
                <a:gd name="connsiteY3" fmla="*/ 76105 h 84200"/>
                <a:gd name="connsiteX4" fmla="*/ 19526 w 92868"/>
                <a:gd name="connsiteY4" fmla="*/ 34195 h 84200"/>
                <a:gd name="connsiteX5" fmla="*/ 23527 w 92868"/>
                <a:gd name="connsiteY5" fmla="*/ 8001 h 84200"/>
                <a:gd name="connsiteX6" fmla="*/ 22574 w 92868"/>
                <a:gd name="connsiteY6" fmla="*/ 5429 h 84200"/>
                <a:gd name="connsiteX7" fmla="*/ 18859 w 92868"/>
                <a:gd name="connsiteY7" fmla="*/ 4572 h 84200"/>
                <a:gd name="connsiteX8" fmla="*/ 12192 w 92868"/>
                <a:gd name="connsiteY8" fmla="*/ 4381 h 84200"/>
                <a:gd name="connsiteX9" fmla="*/ 12954 w 92868"/>
                <a:gd name="connsiteY9" fmla="*/ 0 h 84200"/>
                <a:gd name="connsiteX10" fmla="*/ 33052 w 92868"/>
                <a:gd name="connsiteY10" fmla="*/ 286 h 84200"/>
                <a:gd name="connsiteX11" fmla="*/ 51435 w 92868"/>
                <a:gd name="connsiteY11" fmla="*/ 0 h 84200"/>
                <a:gd name="connsiteX12" fmla="*/ 50768 w 92868"/>
                <a:gd name="connsiteY12" fmla="*/ 4381 h 84200"/>
                <a:gd name="connsiteX13" fmla="*/ 41434 w 92868"/>
                <a:gd name="connsiteY13" fmla="*/ 5334 h 84200"/>
                <a:gd name="connsiteX14" fmla="*/ 40386 w 92868"/>
                <a:gd name="connsiteY14" fmla="*/ 6572 h 84200"/>
                <a:gd name="connsiteX15" fmla="*/ 37243 w 92868"/>
                <a:gd name="connsiteY15" fmla="*/ 20860 h 84200"/>
                <a:gd name="connsiteX16" fmla="*/ 33242 w 92868"/>
                <a:gd name="connsiteY16" fmla="*/ 42386 h 84200"/>
                <a:gd name="connsiteX17" fmla="*/ 45339 w 92868"/>
                <a:gd name="connsiteY17" fmla="*/ 32575 h 84200"/>
                <a:gd name="connsiteX18" fmla="*/ 58388 w 92868"/>
                <a:gd name="connsiteY18" fmla="*/ 20098 h 84200"/>
                <a:gd name="connsiteX19" fmla="*/ 70771 w 92868"/>
                <a:gd name="connsiteY19" fmla="*/ 7429 h 84200"/>
                <a:gd name="connsiteX20" fmla="*/ 72962 w 92868"/>
                <a:gd name="connsiteY20" fmla="*/ 4381 h 84200"/>
                <a:gd name="connsiteX21" fmla="*/ 73152 w 92868"/>
                <a:gd name="connsiteY21" fmla="*/ 2096 h 84200"/>
                <a:gd name="connsiteX22" fmla="*/ 73152 w 92868"/>
                <a:gd name="connsiteY22" fmla="*/ 0 h 84200"/>
                <a:gd name="connsiteX23" fmla="*/ 77343 w 92868"/>
                <a:gd name="connsiteY23" fmla="*/ 476 h 84200"/>
                <a:gd name="connsiteX24" fmla="*/ 81344 w 92868"/>
                <a:gd name="connsiteY24" fmla="*/ 476 h 84200"/>
                <a:gd name="connsiteX25" fmla="*/ 90488 w 92868"/>
                <a:gd name="connsiteY25" fmla="*/ 190 h 84200"/>
                <a:gd name="connsiteX26" fmla="*/ 92869 w 92868"/>
                <a:gd name="connsiteY26" fmla="*/ 95 h 84200"/>
                <a:gd name="connsiteX27" fmla="*/ 92869 w 92868"/>
                <a:gd name="connsiteY27" fmla="*/ 4477 h 84200"/>
                <a:gd name="connsiteX28" fmla="*/ 86392 w 92868"/>
                <a:gd name="connsiteY28" fmla="*/ 5048 h 84200"/>
                <a:gd name="connsiteX29" fmla="*/ 83058 w 92868"/>
                <a:gd name="connsiteY29" fmla="*/ 6667 h 84200"/>
                <a:gd name="connsiteX30" fmla="*/ 69437 w 92868"/>
                <a:gd name="connsiteY30" fmla="*/ 18002 h 84200"/>
                <a:gd name="connsiteX31" fmla="*/ 48387 w 92868"/>
                <a:gd name="connsiteY31" fmla="*/ 37624 h 84200"/>
                <a:gd name="connsiteX32" fmla="*/ 71914 w 92868"/>
                <a:gd name="connsiteY32" fmla="*/ 70675 h 84200"/>
                <a:gd name="connsiteX33" fmla="*/ 78772 w 92868"/>
                <a:gd name="connsiteY33" fmla="*/ 78962 h 84200"/>
                <a:gd name="connsiteX34" fmla="*/ 85249 w 92868"/>
                <a:gd name="connsiteY34" fmla="*/ 80200 h 84200"/>
                <a:gd name="connsiteX35" fmla="*/ 84868 w 92868"/>
                <a:gd name="connsiteY35" fmla="*/ 84201 h 84200"/>
                <a:gd name="connsiteX36" fmla="*/ 77819 w 92868"/>
                <a:gd name="connsiteY36" fmla="*/ 83915 h 84200"/>
                <a:gd name="connsiteX37" fmla="*/ 69628 w 92868"/>
                <a:gd name="connsiteY37" fmla="*/ 83629 h 84200"/>
                <a:gd name="connsiteX38" fmla="*/ 62389 w 92868"/>
                <a:gd name="connsiteY38" fmla="*/ 84106 h 84200"/>
                <a:gd name="connsiteX39" fmla="*/ 54864 w 92868"/>
                <a:gd name="connsiteY39" fmla="*/ 72580 h 84200"/>
                <a:gd name="connsiteX40" fmla="*/ 43910 w 92868"/>
                <a:gd name="connsiteY40" fmla="*/ 57055 h 84200"/>
                <a:gd name="connsiteX41" fmla="*/ 33242 w 92868"/>
                <a:gd name="connsiteY41" fmla="*/ 43148 h 84200"/>
                <a:gd name="connsiteX42" fmla="*/ 28289 w 92868"/>
                <a:gd name="connsiteY42" fmla="*/ 70771 h 84200"/>
                <a:gd name="connsiteX43" fmla="*/ 27623 w 92868"/>
                <a:gd name="connsiteY43" fmla="*/ 76200 h 84200"/>
                <a:gd name="connsiteX44" fmla="*/ 28099 w 92868"/>
                <a:gd name="connsiteY44" fmla="*/ 78105 h 84200"/>
                <a:gd name="connsiteX45" fmla="*/ 29528 w 92868"/>
                <a:gd name="connsiteY45" fmla="*/ 79153 h 84200"/>
                <a:gd name="connsiteX46" fmla="*/ 32480 w 92868"/>
                <a:gd name="connsiteY46" fmla="*/ 79629 h 84200"/>
                <a:gd name="connsiteX47" fmla="*/ 38576 w 92868"/>
                <a:gd name="connsiteY47" fmla="*/ 79629 h 84200"/>
                <a:gd name="connsiteX48" fmla="*/ 38005 w 92868"/>
                <a:gd name="connsiteY48" fmla="*/ 84106 h 84200"/>
                <a:gd name="connsiteX49" fmla="*/ 17526 w 92868"/>
                <a:gd name="connsiteY49" fmla="*/ 83629 h 84200"/>
                <a:gd name="connsiteX50" fmla="*/ 0 w 92868"/>
                <a:gd name="connsiteY50" fmla="*/ 84106 h 8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92868" h="84200">
                  <a:moveTo>
                    <a:pt x="95" y="84106"/>
                  </a:moveTo>
                  <a:lnTo>
                    <a:pt x="667" y="79724"/>
                  </a:lnTo>
                  <a:cubicBezTo>
                    <a:pt x="6001" y="79819"/>
                    <a:pt x="9144" y="79534"/>
                    <a:pt x="10192" y="78867"/>
                  </a:cubicBezTo>
                  <a:cubicBezTo>
                    <a:pt x="10763" y="78486"/>
                    <a:pt x="11240" y="77533"/>
                    <a:pt x="11716" y="76105"/>
                  </a:cubicBezTo>
                  <a:cubicBezTo>
                    <a:pt x="12573" y="72866"/>
                    <a:pt x="15240" y="58865"/>
                    <a:pt x="19526" y="34195"/>
                  </a:cubicBezTo>
                  <a:cubicBezTo>
                    <a:pt x="22193" y="19050"/>
                    <a:pt x="23527" y="10382"/>
                    <a:pt x="23527" y="8001"/>
                  </a:cubicBezTo>
                  <a:cubicBezTo>
                    <a:pt x="23527" y="6858"/>
                    <a:pt x="23241" y="6001"/>
                    <a:pt x="22574" y="5429"/>
                  </a:cubicBezTo>
                  <a:cubicBezTo>
                    <a:pt x="22003" y="4858"/>
                    <a:pt x="20765" y="4572"/>
                    <a:pt x="18859" y="4572"/>
                  </a:cubicBezTo>
                  <a:cubicBezTo>
                    <a:pt x="14669" y="4477"/>
                    <a:pt x="12382" y="4381"/>
                    <a:pt x="12192" y="4381"/>
                  </a:cubicBezTo>
                  <a:lnTo>
                    <a:pt x="12954" y="0"/>
                  </a:lnTo>
                  <a:cubicBezTo>
                    <a:pt x="25146" y="190"/>
                    <a:pt x="31909" y="286"/>
                    <a:pt x="33052" y="286"/>
                  </a:cubicBezTo>
                  <a:cubicBezTo>
                    <a:pt x="36481" y="286"/>
                    <a:pt x="42577" y="286"/>
                    <a:pt x="51435" y="0"/>
                  </a:cubicBezTo>
                  <a:lnTo>
                    <a:pt x="50768" y="4381"/>
                  </a:lnTo>
                  <a:cubicBezTo>
                    <a:pt x="45530" y="4381"/>
                    <a:pt x="42481" y="4763"/>
                    <a:pt x="41434" y="5334"/>
                  </a:cubicBezTo>
                  <a:cubicBezTo>
                    <a:pt x="40957" y="5525"/>
                    <a:pt x="40672" y="6001"/>
                    <a:pt x="40386" y="6572"/>
                  </a:cubicBezTo>
                  <a:cubicBezTo>
                    <a:pt x="39910" y="7715"/>
                    <a:pt x="38862" y="12382"/>
                    <a:pt x="37243" y="20860"/>
                  </a:cubicBezTo>
                  <a:lnTo>
                    <a:pt x="33242" y="42386"/>
                  </a:lnTo>
                  <a:cubicBezTo>
                    <a:pt x="35909" y="40672"/>
                    <a:pt x="39910" y="37433"/>
                    <a:pt x="45339" y="32575"/>
                  </a:cubicBezTo>
                  <a:cubicBezTo>
                    <a:pt x="47054" y="30956"/>
                    <a:pt x="51435" y="26860"/>
                    <a:pt x="58388" y="20098"/>
                  </a:cubicBezTo>
                  <a:cubicBezTo>
                    <a:pt x="64389" y="14288"/>
                    <a:pt x="68485" y="10096"/>
                    <a:pt x="70771" y="7429"/>
                  </a:cubicBezTo>
                  <a:cubicBezTo>
                    <a:pt x="71914" y="6096"/>
                    <a:pt x="72676" y="5048"/>
                    <a:pt x="72962" y="4381"/>
                  </a:cubicBezTo>
                  <a:cubicBezTo>
                    <a:pt x="73152" y="3905"/>
                    <a:pt x="73152" y="3143"/>
                    <a:pt x="73152" y="2096"/>
                  </a:cubicBezTo>
                  <a:lnTo>
                    <a:pt x="73152" y="0"/>
                  </a:lnTo>
                  <a:cubicBezTo>
                    <a:pt x="75248" y="286"/>
                    <a:pt x="76676" y="476"/>
                    <a:pt x="77343" y="476"/>
                  </a:cubicBezTo>
                  <a:lnTo>
                    <a:pt x="81344" y="476"/>
                  </a:lnTo>
                  <a:cubicBezTo>
                    <a:pt x="83249" y="286"/>
                    <a:pt x="86297" y="190"/>
                    <a:pt x="90488" y="190"/>
                  </a:cubicBezTo>
                  <a:cubicBezTo>
                    <a:pt x="90964" y="190"/>
                    <a:pt x="91726" y="190"/>
                    <a:pt x="92869" y="95"/>
                  </a:cubicBezTo>
                  <a:lnTo>
                    <a:pt x="92869" y="4477"/>
                  </a:lnTo>
                  <a:cubicBezTo>
                    <a:pt x="89535" y="4477"/>
                    <a:pt x="87344" y="4763"/>
                    <a:pt x="86392" y="5048"/>
                  </a:cubicBezTo>
                  <a:cubicBezTo>
                    <a:pt x="85439" y="5334"/>
                    <a:pt x="84296" y="5905"/>
                    <a:pt x="83058" y="6667"/>
                  </a:cubicBezTo>
                  <a:cubicBezTo>
                    <a:pt x="80581" y="8382"/>
                    <a:pt x="76105" y="12192"/>
                    <a:pt x="69437" y="18002"/>
                  </a:cubicBezTo>
                  <a:cubicBezTo>
                    <a:pt x="65723" y="21336"/>
                    <a:pt x="58769" y="27813"/>
                    <a:pt x="48387" y="37624"/>
                  </a:cubicBezTo>
                  <a:lnTo>
                    <a:pt x="71914" y="70675"/>
                  </a:lnTo>
                  <a:cubicBezTo>
                    <a:pt x="75438" y="75533"/>
                    <a:pt x="77724" y="78296"/>
                    <a:pt x="78772" y="78962"/>
                  </a:cubicBezTo>
                  <a:cubicBezTo>
                    <a:pt x="79820" y="79629"/>
                    <a:pt x="82010" y="80105"/>
                    <a:pt x="85249" y="80200"/>
                  </a:cubicBezTo>
                  <a:lnTo>
                    <a:pt x="84868" y="84201"/>
                  </a:lnTo>
                  <a:lnTo>
                    <a:pt x="77819" y="83915"/>
                  </a:lnTo>
                  <a:cubicBezTo>
                    <a:pt x="73628" y="83725"/>
                    <a:pt x="70866" y="83629"/>
                    <a:pt x="69628" y="83629"/>
                  </a:cubicBezTo>
                  <a:cubicBezTo>
                    <a:pt x="67723" y="83629"/>
                    <a:pt x="65342" y="83820"/>
                    <a:pt x="62389" y="84106"/>
                  </a:cubicBezTo>
                  <a:lnTo>
                    <a:pt x="54864" y="72580"/>
                  </a:lnTo>
                  <a:cubicBezTo>
                    <a:pt x="52673" y="69247"/>
                    <a:pt x="48958" y="64103"/>
                    <a:pt x="43910" y="57055"/>
                  </a:cubicBezTo>
                  <a:cubicBezTo>
                    <a:pt x="39910" y="51530"/>
                    <a:pt x="36385" y="46863"/>
                    <a:pt x="33242" y="43148"/>
                  </a:cubicBezTo>
                  <a:cubicBezTo>
                    <a:pt x="31432" y="52388"/>
                    <a:pt x="29813" y="61627"/>
                    <a:pt x="28289" y="70771"/>
                  </a:cubicBezTo>
                  <a:cubicBezTo>
                    <a:pt x="27813" y="73533"/>
                    <a:pt x="27623" y="75343"/>
                    <a:pt x="27623" y="76200"/>
                  </a:cubicBezTo>
                  <a:cubicBezTo>
                    <a:pt x="27623" y="77057"/>
                    <a:pt x="27813" y="77724"/>
                    <a:pt x="28099" y="78105"/>
                  </a:cubicBezTo>
                  <a:cubicBezTo>
                    <a:pt x="28384" y="78581"/>
                    <a:pt x="28861" y="78867"/>
                    <a:pt x="29528" y="79153"/>
                  </a:cubicBezTo>
                  <a:cubicBezTo>
                    <a:pt x="30194" y="79438"/>
                    <a:pt x="31147" y="79534"/>
                    <a:pt x="32480" y="79629"/>
                  </a:cubicBezTo>
                  <a:lnTo>
                    <a:pt x="38576" y="79629"/>
                  </a:lnTo>
                  <a:lnTo>
                    <a:pt x="38005" y="84106"/>
                  </a:lnTo>
                  <a:cubicBezTo>
                    <a:pt x="26289" y="83725"/>
                    <a:pt x="19431" y="83629"/>
                    <a:pt x="17526" y="83629"/>
                  </a:cubicBezTo>
                  <a:cubicBezTo>
                    <a:pt x="13145" y="83629"/>
                    <a:pt x="7239" y="83820"/>
                    <a:pt x="0" y="84106"/>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5" name="Freeform: Shape 434">
              <a:extLst>
                <a:ext uri="{FF2B5EF4-FFF2-40B4-BE49-F238E27FC236}">
                  <a16:creationId xmlns:a16="http://schemas.microsoft.com/office/drawing/2014/main" id="{0B9B2B1A-A778-41AE-BB9C-477A686E82F1}"/>
                </a:ext>
              </a:extLst>
            </p:cNvPr>
            <p:cNvSpPr/>
            <p:nvPr/>
          </p:nvSpPr>
          <p:spPr>
            <a:xfrm>
              <a:off x="6708460" y="5619178"/>
              <a:ext cx="90678" cy="100965"/>
            </a:xfrm>
            <a:custGeom>
              <a:avLst/>
              <a:gdLst>
                <a:gd name="connsiteX0" fmla="*/ 6572 w 90678"/>
                <a:gd name="connsiteY0" fmla="*/ 100965 h 100965"/>
                <a:gd name="connsiteX1" fmla="*/ 7144 w 90678"/>
                <a:gd name="connsiteY1" fmla="*/ 95822 h 100965"/>
                <a:gd name="connsiteX2" fmla="*/ 18383 w 90678"/>
                <a:gd name="connsiteY2" fmla="*/ 95155 h 100965"/>
                <a:gd name="connsiteX3" fmla="*/ 20193 w 90678"/>
                <a:gd name="connsiteY3" fmla="*/ 93917 h 100965"/>
                <a:gd name="connsiteX4" fmla="*/ 22098 w 90678"/>
                <a:gd name="connsiteY4" fmla="*/ 88487 h 100965"/>
                <a:gd name="connsiteX5" fmla="*/ 28956 w 90678"/>
                <a:gd name="connsiteY5" fmla="*/ 51245 h 100965"/>
                <a:gd name="connsiteX6" fmla="*/ 36385 w 90678"/>
                <a:gd name="connsiteY6" fmla="*/ 8192 h 100965"/>
                <a:gd name="connsiteX7" fmla="*/ 32099 w 90678"/>
                <a:gd name="connsiteY7" fmla="*/ 8192 h 100965"/>
                <a:gd name="connsiteX8" fmla="*/ 10954 w 90678"/>
                <a:gd name="connsiteY8" fmla="*/ 10001 h 100965"/>
                <a:gd name="connsiteX9" fmla="*/ 5334 w 90678"/>
                <a:gd name="connsiteY9" fmla="*/ 25813 h 100965"/>
                <a:gd name="connsiteX10" fmla="*/ 0 w 90678"/>
                <a:gd name="connsiteY10" fmla="*/ 25813 h 100965"/>
                <a:gd name="connsiteX11" fmla="*/ 3715 w 90678"/>
                <a:gd name="connsiteY11" fmla="*/ 1238 h 100965"/>
                <a:gd name="connsiteX12" fmla="*/ 4477 w 90678"/>
                <a:gd name="connsiteY12" fmla="*/ 381 h 100965"/>
                <a:gd name="connsiteX13" fmla="*/ 22860 w 90678"/>
                <a:gd name="connsiteY13" fmla="*/ 1143 h 100965"/>
                <a:gd name="connsiteX14" fmla="*/ 41910 w 90678"/>
                <a:gd name="connsiteY14" fmla="*/ 1429 h 100965"/>
                <a:gd name="connsiteX15" fmla="*/ 74581 w 90678"/>
                <a:gd name="connsiteY15" fmla="*/ 953 h 100965"/>
                <a:gd name="connsiteX16" fmla="*/ 89630 w 90678"/>
                <a:gd name="connsiteY16" fmla="*/ 0 h 100965"/>
                <a:gd name="connsiteX17" fmla="*/ 90678 w 90678"/>
                <a:gd name="connsiteY17" fmla="*/ 1238 h 100965"/>
                <a:gd name="connsiteX18" fmla="*/ 87058 w 90678"/>
                <a:gd name="connsiteY18" fmla="*/ 20098 h 100965"/>
                <a:gd name="connsiteX19" fmla="*/ 86297 w 90678"/>
                <a:gd name="connsiteY19" fmla="*/ 25813 h 100965"/>
                <a:gd name="connsiteX20" fmla="*/ 80867 w 90678"/>
                <a:gd name="connsiteY20" fmla="*/ 25813 h 100965"/>
                <a:gd name="connsiteX21" fmla="*/ 81629 w 90678"/>
                <a:gd name="connsiteY21" fmla="*/ 14669 h 100965"/>
                <a:gd name="connsiteX22" fmla="*/ 80963 w 90678"/>
                <a:gd name="connsiteY22" fmla="*/ 10097 h 100965"/>
                <a:gd name="connsiteX23" fmla="*/ 78391 w 90678"/>
                <a:gd name="connsiteY23" fmla="*/ 8763 h 100965"/>
                <a:gd name="connsiteX24" fmla="*/ 63818 w 90678"/>
                <a:gd name="connsiteY24" fmla="*/ 8001 h 100965"/>
                <a:gd name="connsiteX25" fmla="*/ 55817 w 90678"/>
                <a:gd name="connsiteY25" fmla="*/ 8001 h 100965"/>
                <a:gd name="connsiteX26" fmla="*/ 49435 w 90678"/>
                <a:gd name="connsiteY26" fmla="*/ 41243 h 100965"/>
                <a:gd name="connsiteX27" fmla="*/ 43720 w 90678"/>
                <a:gd name="connsiteY27" fmla="*/ 73724 h 100965"/>
                <a:gd name="connsiteX28" fmla="*/ 41529 w 90678"/>
                <a:gd name="connsiteY28" fmla="*/ 88773 h 100965"/>
                <a:gd name="connsiteX29" fmla="*/ 41434 w 90678"/>
                <a:gd name="connsiteY29" fmla="*/ 91535 h 100965"/>
                <a:gd name="connsiteX30" fmla="*/ 42101 w 90678"/>
                <a:gd name="connsiteY30" fmla="*/ 94012 h 100965"/>
                <a:gd name="connsiteX31" fmla="*/ 44482 w 90678"/>
                <a:gd name="connsiteY31" fmla="*/ 95155 h 100965"/>
                <a:gd name="connsiteX32" fmla="*/ 55435 w 90678"/>
                <a:gd name="connsiteY32" fmla="*/ 95631 h 100965"/>
                <a:gd name="connsiteX33" fmla="*/ 54864 w 90678"/>
                <a:gd name="connsiteY33" fmla="*/ 100775 h 100965"/>
                <a:gd name="connsiteX34" fmla="*/ 30004 w 90678"/>
                <a:gd name="connsiteY34" fmla="*/ 100203 h 100965"/>
                <a:gd name="connsiteX35" fmla="*/ 6763 w 90678"/>
                <a:gd name="connsiteY35" fmla="*/ 100775 h 100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0678" h="100965">
                  <a:moveTo>
                    <a:pt x="6572" y="100965"/>
                  </a:moveTo>
                  <a:lnTo>
                    <a:pt x="7144" y="95822"/>
                  </a:lnTo>
                  <a:cubicBezTo>
                    <a:pt x="13240" y="95822"/>
                    <a:pt x="16954" y="95726"/>
                    <a:pt x="18383" y="95155"/>
                  </a:cubicBezTo>
                  <a:cubicBezTo>
                    <a:pt x="19145" y="94869"/>
                    <a:pt x="19717" y="94488"/>
                    <a:pt x="20193" y="93917"/>
                  </a:cubicBezTo>
                  <a:cubicBezTo>
                    <a:pt x="20860" y="93059"/>
                    <a:pt x="21527" y="91250"/>
                    <a:pt x="22098" y="88487"/>
                  </a:cubicBezTo>
                  <a:cubicBezTo>
                    <a:pt x="23717" y="80772"/>
                    <a:pt x="26003" y="68390"/>
                    <a:pt x="28956" y="51245"/>
                  </a:cubicBezTo>
                  <a:cubicBezTo>
                    <a:pt x="32004" y="34100"/>
                    <a:pt x="34480" y="19812"/>
                    <a:pt x="36385" y="8192"/>
                  </a:cubicBezTo>
                  <a:lnTo>
                    <a:pt x="32099" y="8192"/>
                  </a:lnTo>
                  <a:cubicBezTo>
                    <a:pt x="19717" y="8192"/>
                    <a:pt x="12668" y="8763"/>
                    <a:pt x="10954" y="10001"/>
                  </a:cubicBezTo>
                  <a:cubicBezTo>
                    <a:pt x="9144" y="11335"/>
                    <a:pt x="7334" y="16574"/>
                    <a:pt x="5334" y="25813"/>
                  </a:cubicBezTo>
                  <a:lnTo>
                    <a:pt x="0" y="25813"/>
                  </a:lnTo>
                  <a:cubicBezTo>
                    <a:pt x="1238" y="18860"/>
                    <a:pt x="2477" y="10668"/>
                    <a:pt x="3715" y="1238"/>
                  </a:cubicBezTo>
                  <a:lnTo>
                    <a:pt x="4477" y="381"/>
                  </a:lnTo>
                  <a:lnTo>
                    <a:pt x="22860" y="1143"/>
                  </a:lnTo>
                  <a:cubicBezTo>
                    <a:pt x="28384" y="1333"/>
                    <a:pt x="34766" y="1429"/>
                    <a:pt x="41910" y="1429"/>
                  </a:cubicBezTo>
                  <a:cubicBezTo>
                    <a:pt x="51911" y="1429"/>
                    <a:pt x="62770" y="1238"/>
                    <a:pt x="74581" y="953"/>
                  </a:cubicBezTo>
                  <a:cubicBezTo>
                    <a:pt x="80772" y="762"/>
                    <a:pt x="85820" y="476"/>
                    <a:pt x="89630" y="0"/>
                  </a:cubicBezTo>
                  <a:lnTo>
                    <a:pt x="90678" y="1238"/>
                  </a:lnTo>
                  <a:cubicBezTo>
                    <a:pt x="88582" y="11716"/>
                    <a:pt x="87440" y="18002"/>
                    <a:pt x="87058" y="20098"/>
                  </a:cubicBezTo>
                  <a:cubicBezTo>
                    <a:pt x="86678" y="22193"/>
                    <a:pt x="86392" y="24098"/>
                    <a:pt x="86297" y="25813"/>
                  </a:cubicBezTo>
                  <a:lnTo>
                    <a:pt x="80867" y="25813"/>
                  </a:lnTo>
                  <a:cubicBezTo>
                    <a:pt x="81344" y="21717"/>
                    <a:pt x="81629" y="18002"/>
                    <a:pt x="81629" y="14669"/>
                  </a:cubicBezTo>
                  <a:cubicBezTo>
                    <a:pt x="81629" y="12192"/>
                    <a:pt x="81439" y="10668"/>
                    <a:pt x="80963" y="10097"/>
                  </a:cubicBezTo>
                  <a:cubicBezTo>
                    <a:pt x="80486" y="9525"/>
                    <a:pt x="79629" y="9049"/>
                    <a:pt x="78391" y="8763"/>
                  </a:cubicBezTo>
                  <a:cubicBezTo>
                    <a:pt x="76200" y="8287"/>
                    <a:pt x="71342" y="8001"/>
                    <a:pt x="63818" y="8001"/>
                  </a:cubicBezTo>
                  <a:cubicBezTo>
                    <a:pt x="60293" y="8001"/>
                    <a:pt x="57626" y="8001"/>
                    <a:pt x="55817" y="8001"/>
                  </a:cubicBezTo>
                  <a:lnTo>
                    <a:pt x="49435" y="41243"/>
                  </a:lnTo>
                  <a:cubicBezTo>
                    <a:pt x="47530" y="51149"/>
                    <a:pt x="45625" y="61913"/>
                    <a:pt x="43720" y="73724"/>
                  </a:cubicBezTo>
                  <a:cubicBezTo>
                    <a:pt x="42386" y="81534"/>
                    <a:pt x="41720" y="86582"/>
                    <a:pt x="41529" y="88773"/>
                  </a:cubicBezTo>
                  <a:cubicBezTo>
                    <a:pt x="41434" y="89726"/>
                    <a:pt x="41434" y="90678"/>
                    <a:pt x="41434" y="91535"/>
                  </a:cubicBezTo>
                  <a:cubicBezTo>
                    <a:pt x="41434" y="92678"/>
                    <a:pt x="41624" y="93440"/>
                    <a:pt x="42101" y="94012"/>
                  </a:cubicBezTo>
                  <a:cubicBezTo>
                    <a:pt x="42577" y="94488"/>
                    <a:pt x="43339" y="94964"/>
                    <a:pt x="44482" y="95155"/>
                  </a:cubicBezTo>
                  <a:cubicBezTo>
                    <a:pt x="46196" y="95536"/>
                    <a:pt x="49816" y="95631"/>
                    <a:pt x="55435" y="95631"/>
                  </a:cubicBezTo>
                  <a:lnTo>
                    <a:pt x="54864" y="100775"/>
                  </a:lnTo>
                  <a:cubicBezTo>
                    <a:pt x="42386" y="100394"/>
                    <a:pt x="34100" y="100203"/>
                    <a:pt x="30004" y="100203"/>
                  </a:cubicBezTo>
                  <a:cubicBezTo>
                    <a:pt x="24860" y="100203"/>
                    <a:pt x="17145" y="100394"/>
                    <a:pt x="6763" y="100775"/>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6" name="Freeform: Shape 435">
              <a:extLst>
                <a:ext uri="{FF2B5EF4-FFF2-40B4-BE49-F238E27FC236}">
                  <a16:creationId xmlns:a16="http://schemas.microsoft.com/office/drawing/2014/main" id="{77D2883C-6E96-4B0C-9305-55E9842D233E}"/>
                </a:ext>
              </a:extLst>
            </p:cNvPr>
            <p:cNvSpPr/>
            <p:nvPr/>
          </p:nvSpPr>
          <p:spPr>
            <a:xfrm>
              <a:off x="6781422" y="5634609"/>
              <a:ext cx="87915" cy="87629"/>
            </a:xfrm>
            <a:custGeom>
              <a:avLst/>
              <a:gdLst>
                <a:gd name="connsiteX0" fmla="*/ 2286 w 87915"/>
                <a:gd name="connsiteY0" fmla="*/ 67627 h 87629"/>
                <a:gd name="connsiteX1" fmla="*/ 9144 w 87915"/>
                <a:gd name="connsiteY1" fmla="*/ 78296 h 87629"/>
                <a:gd name="connsiteX2" fmla="*/ 20765 w 87915"/>
                <a:gd name="connsiteY2" fmla="*/ 85249 h 87629"/>
                <a:gd name="connsiteX3" fmla="*/ 36290 w 87915"/>
                <a:gd name="connsiteY3" fmla="*/ 87630 h 87629"/>
                <a:gd name="connsiteX4" fmla="*/ 64294 w 87915"/>
                <a:gd name="connsiteY4" fmla="*/ 79629 h 87629"/>
                <a:gd name="connsiteX5" fmla="*/ 82487 w 87915"/>
                <a:gd name="connsiteY5" fmla="*/ 58198 h 87629"/>
                <a:gd name="connsiteX6" fmla="*/ 87916 w 87915"/>
                <a:gd name="connsiteY6" fmla="*/ 34290 h 87629"/>
                <a:gd name="connsiteX7" fmla="*/ 78200 w 87915"/>
                <a:gd name="connsiteY7" fmla="*/ 9239 h 87629"/>
                <a:gd name="connsiteX8" fmla="*/ 50673 w 87915"/>
                <a:gd name="connsiteY8" fmla="*/ 0 h 87629"/>
                <a:gd name="connsiteX9" fmla="*/ 32099 w 87915"/>
                <a:gd name="connsiteY9" fmla="*/ 3048 h 87629"/>
                <a:gd name="connsiteX10" fmla="*/ 18764 w 87915"/>
                <a:gd name="connsiteY10" fmla="*/ 10477 h 87629"/>
                <a:gd name="connsiteX11" fmla="*/ 9716 w 87915"/>
                <a:gd name="connsiteY11" fmla="*/ 20383 h 87629"/>
                <a:gd name="connsiteX12" fmla="*/ 2381 w 87915"/>
                <a:gd name="connsiteY12" fmla="*/ 36576 h 87629"/>
                <a:gd name="connsiteX13" fmla="*/ 0 w 87915"/>
                <a:gd name="connsiteY13" fmla="*/ 53531 h 87629"/>
                <a:gd name="connsiteX14" fmla="*/ 2191 w 87915"/>
                <a:gd name="connsiteY14" fmla="*/ 67627 h 87629"/>
                <a:gd name="connsiteX15" fmla="*/ 18193 w 87915"/>
                <a:gd name="connsiteY15" fmla="*/ 42196 h 87629"/>
                <a:gd name="connsiteX16" fmla="*/ 22670 w 87915"/>
                <a:gd name="connsiteY16" fmla="*/ 25908 h 87629"/>
                <a:gd name="connsiteX17" fmla="*/ 29337 w 87915"/>
                <a:gd name="connsiteY17" fmla="*/ 14097 h 87629"/>
                <a:gd name="connsiteX18" fmla="*/ 37529 w 87915"/>
                <a:gd name="connsiteY18" fmla="*/ 7620 h 87629"/>
                <a:gd name="connsiteX19" fmla="*/ 48673 w 87915"/>
                <a:gd name="connsiteY19" fmla="*/ 5525 h 87629"/>
                <a:gd name="connsiteX20" fmla="*/ 59246 w 87915"/>
                <a:gd name="connsiteY20" fmla="*/ 7620 h 87629"/>
                <a:gd name="connsiteX21" fmla="*/ 66199 w 87915"/>
                <a:gd name="connsiteY21" fmla="*/ 12859 h 87629"/>
                <a:gd name="connsiteX22" fmla="*/ 69723 w 87915"/>
                <a:gd name="connsiteY22" fmla="*/ 20574 h 87629"/>
                <a:gd name="connsiteX23" fmla="*/ 70866 w 87915"/>
                <a:gd name="connsiteY23" fmla="*/ 30766 h 87629"/>
                <a:gd name="connsiteX24" fmla="*/ 68485 w 87915"/>
                <a:gd name="connsiteY24" fmla="*/ 49244 h 87629"/>
                <a:gd name="connsiteX25" fmla="*/ 62675 w 87915"/>
                <a:gd name="connsiteY25" fmla="*/ 66008 h 87629"/>
                <a:gd name="connsiteX26" fmla="*/ 57055 w 87915"/>
                <a:gd name="connsiteY26" fmla="*/ 74771 h 87629"/>
                <a:gd name="connsiteX27" fmla="*/ 49721 w 87915"/>
                <a:gd name="connsiteY27" fmla="*/ 80200 h 87629"/>
                <a:gd name="connsiteX28" fmla="*/ 39338 w 87915"/>
                <a:gd name="connsiteY28" fmla="*/ 82201 h 87629"/>
                <a:gd name="connsiteX29" fmla="*/ 31337 w 87915"/>
                <a:gd name="connsiteY29" fmla="*/ 80963 h 87629"/>
                <a:gd name="connsiteX30" fmla="*/ 24670 w 87915"/>
                <a:gd name="connsiteY30" fmla="*/ 77819 h 87629"/>
                <a:gd name="connsiteX31" fmla="*/ 20288 w 87915"/>
                <a:gd name="connsiteY31" fmla="*/ 73057 h 87629"/>
                <a:gd name="connsiteX32" fmla="*/ 17621 w 87915"/>
                <a:gd name="connsiteY32" fmla="*/ 66199 h 87629"/>
                <a:gd name="connsiteX33" fmla="*/ 16669 w 87915"/>
                <a:gd name="connsiteY33" fmla="*/ 57245 h 87629"/>
                <a:gd name="connsiteX34" fmla="*/ 18098 w 87915"/>
                <a:gd name="connsiteY34" fmla="*/ 42100 h 8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87915" h="87629">
                  <a:moveTo>
                    <a:pt x="2286" y="67627"/>
                  </a:moveTo>
                  <a:cubicBezTo>
                    <a:pt x="3715" y="71723"/>
                    <a:pt x="6001" y="75248"/>
                    <a:pt x="9144" y="78296"/>
                  </a:cubicBezTo>
                  <a:cubicBezTo>
                    <a:pt x="12287" y="81344"/>
                    <a:pt x="16193" y="83629"/>
                    <a:pt x="20765" y="85249"/>
                  </a:cubicBezTo>
                  <a:cubicBezTo>
                    <a:pt x="25432" y="86868"/>
                    <a:pt x="30575" y="87630"/>
                    <a:pt x="36290" y="87630"/>
                  </a:cubicBezTo>
                  <a:cubicBezTo>
                    <a:pt x="47149" y="87630"/>
                    <a:pt x="56388" y="84963"/>
                    <a:pt x="64294" y="79629"/>
                  </a:cubicBezTo>
                  <a:cubicBezTo>
                    <a:pt x="72200" y="74295"/>
                    <a:pt x="78200" y="67151"/>
                    <a:pt x="82487" y="58198"/>
                  </a:cubicBezTo>
                  <a:cubicBezTo>
                    <a:pt x="86106" y="50578"/>
                    <a:pt x="87916" y="42577"/>
                    <a:pt x="87916" y="34290"/>
                  </a:cubicBezTo>
                  <a:cubicBezTo>
                    <a:pt x="87916" y="23813"/>
                    <a:pt x="84677" y="15431"/>
                    <a:pt x="78200" y="9239"/>
                  </a:cubicBezTo>
                  <a:cubicBezTo>
                    <a:pt x="71723" y="3048"/>
                    <a:pt x="62484" y="0"/>
                    <a:pt x="50673" y="0"/>
                  </a:cubicBezTo>
                  <a:cubicBezTo>
                    <a:pt x="43529" y="0"/>
                    <a:pt x="37433" y="1048"/>
                    <a:pt x="32099" y="3048"/>
                  </a:cubicBezTo>
                  <a:cubicBezTo>
                    <a:pt x="26860" y="5048"/>
                    <a:pt x="22384" y="7525"/>
                    <a:pt x="18764" y="10477"/>
                  </a:cubicBezTo>
                  <a:cubicBezTo>
                    <a:pt x="15145" y="13430"/>
                    <a:pt x="12192" y="16764"/>
                    <a:pt x="9716" y="20383"/>
                  </a:cubicBezTo>
                  <a:cubicBezTo>
                    <a:pt x="6477" y="25241"/>
                    <a:pt x="4001" y="30671"/>
                    <a:pt x="2381" y="36576"/>
                  </a:cubicBezTo>
                  <a:cubicBezTo>
                    <a:pt x="762" y="42481"/>
                    <a:pt x="0" y="48101"/>
                    <a:pt x="0" y="53531"/>
                  </a:cubicBezTo>
                  <a:cubicBezTo>
                    <a:pt x="0" y="58960"/>
                    <a:pt x="762" y="63532"/>
                    <a:pt x="2191" y="67627"/>
                  </a:cubicBezTo>
                  <a:moveTo>
                    <a:pt x="18193" y="42196"/>
                  </a:moveTo>
                  <a:cubicBezTo>
                    <a:pt x="19145" y="36290"/>
                    <a:pt x="20669" y="30861"/>
                    <a:pt x="22670" y="25908"/>
                  </a:cubicBezTo>
                  <a:cubicBezTo>
                    <a:pt x="24670" y="20955"/>
                    <a:pt x="26956" y="17050"/>
                    <a:pt x="29337" y="14097"/>
                  </a:cubicBezTo>
                  <a:cubicBezTo>
                    <a:pt x="31718" y="11240"/>
                    <a:pt x="34480" y="9049"/>
                    <a:pt x="37529" y="7620"/>
                  </a:cubicBezTo>
                  <a:cubicBezTo>
                    <a:pt x="40577" y="6191"/>
                    <a:pt x="44291" y="5525"/>
                    <a:pt x="48673" y="5525"/>
                  </a:cubicBezTo>
                  <a:cubicBezTo>
                    <a:pt x="52673" y="5525"/>
                    <a:pt x="56198" y="6191"/>
                    <a:pt x="59246" y="7620"/>
                  </a:cubicBezTo>
                  <a:cubicBezTo>
                    <a:pt x="62294" y="9049"/>
                    <a:pt x="64579" y="10763"/>
                    <a:pt x="66199" y="12859"/>
                  </a:cubicBezTo>
                  <a:cubicBezTo>
                    <a:pt x="67818" y="14954"/>
                    <a:pt x="68961" y="17526"/>
                    <a:pt x="69723" y="20574"/>
                  </a:cubicBezTo>
                  <a:cubicBezTo>
                    <a:pt x="70485" y="23622"/>
                    <a:pt x="70866" y="27051"/>
                    <a:pt x="70866" y="30766"/>
                  </a:cubicBezTo>
                  <a:cubicBezTo>
                    <a:pt x="70866" y="36671"/>
                    <a:pt x="70104" y="42863"/>
                    <a:pt x="68485" y="49244"/>
                  </a:cubicBezTo>
                  <a:cubicBezTo>
                    <a:pt x="66961" y="55721"/>
                    <a:pt x="64960" y="61246"/>
                    <a:pt x="62675" y="66008"/>
                  </a:cubicBezTo>
                  <a:cubicBezTo>
                    <a:pt x="60960" y="69628"/>
                    <a:pt x="59055" y="72485"/>
                    <a:pt x="57055" y="74771"/>
                  </a:cubicBezTo>
                  <a:cubicBezTo>
                    <a:pt x="55054" y="77057"/>
                    <a:pt x="52578" y="78867"/>
                    <a:pt x="49721" y="80200"/>
                  </a:cubicBezTo>
                  <a:cubicBezTo>
                    <a:pt x="46863" y="81534"/>
                    <a:pt x="43339" y="82201"/>
                    <a:pt x="39338" y="82201"/>
                  </a:cubicBezTo>
                  <a:cubicBezTo>
                    <a:pt x="36671" y="82201"/>
                    <a:pt x="34004" y="81820"/>
                    <a:pt x="31337" y="80963"/>
                  </a:cubicBezTo>
                  <a:cubicBezTo>
                    <a:pt x="28670" y="80200"/>
                    <a:pt x="26479" y="79058"/>
                    <a:pt x="24670" y="77819"/>
                  </a:cubicBezTo>
                  <a:cubicBezTo>
                    <a:pt x="22860" y="76486"/>
                    <a:pt x="21431" y="74962"/>
                    <a:pt x="20288" y="73057"/>
                  </a:cubicBezTo>
                  <a:cubicBezTo>
                    <a:pt x="19145" y="71247"/>
                    <a:pt x="18288" y="68961"/>
                    <a:pt x="17621" y="66199"/>
                  </a:cubicBezTo>
                  <a:cubicBezTo>
                    <a:pt x="16954" y="63437"/>
                    <a:pt x="16669" y="60484"/>
                    <a:pt x="16669" y="57245"/>
                  </a:cubicBezTo>
                  <a:cubicBezTo>
                    <a:pt x="16669" y="53054"/>
                    <a:pt x="17145" y="48006"/>
                    <a:pt x="18098" y="4210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7" name="Freeform: Shape 436">
              <a:extLst>
                <a:ext uri="{FF2B5EF4-FFF2-40B4-BE49-F238E27FC236}">
                  <a16:creationId xmlns:a16="http://schemas.microsoft.com/office/drawing/2014/main" id="{CD78774C-DEEC-449D-B448-E8D5B75D615B}"/>
                </a:ext>
              </a:extLst>
            </p:cNvPr>
            <p:cNvSpPr/>
            <p:nvPr/>
          </p:nvSpPr>
          <p:spPr>
            <a:xfrm>
              <a:off x="6906676" y="5619273"/>
              <a:ext cx="82010" cy="101060"/>
            </a:xfrm>
            <a:custGeom>
              <a:avLst/>
              <a:gdLst>
                <a:gd name="connsiteX0" fmla="*/ 95 w 82010"/>
                <a:gd name="connsiteY0" fmla="*/ 100870 h 101060"/>
                <a:gd name="connsiteX1" fmla="*/ 857 w 82010"/>
                <a:gd name="connsiteY1" fmla="*/ 96393 h 101060"/>
                <a:gd name="connsiteX2" fmla="*/ 9430 w 82010"/>
                <a:gd name="connsiteY2" fmla="*/ 94012 h 101060"/>
                <a:gd name="connsiteX3" fmla="*/ 10668 w 82010"/>
                <a:gd name="connsiteY3" fmla="*/ 92488 h 101060"/>
                <a:gd name="connsiteX4" fmla="*/ 14002 w 82010"/>
                <a:gd name="connsiteY4" fmla="*/ 77438 h 101060"/>
                <a:gd name="connsiteX5" fmla="*/ 21431 w 82010"/>
                <a:gd name="connsiteY5" fmla="*/ 34290 h 101060"/>
                <a:gd name="connsiteX6" fmla="*/ 25051 w 82010"/>
                <a:gd name="connsiteY6" fmla="*/ 9144 h 101060"/>
                <a:gd name="connsiteX7" fmla="*/ 24289 w 82010"/>
                <a:gd name="connsiteY7" fmla="*/ 6667 h 101060"/>
                <a:gd name="connsiteX8" fmla="*/ 20860 w 82010"/>
                <a:gd name="connsiteY8" fmla="*/ 5620 h 101060"/>
                <a:gd name="connsiteX9" fmla="*/ 11716 w 82010"/>
                <a:gd name="connsiteY9" fmla="*/ 4953 h 101060"/>
                <a:gd name="connsiteX10" fmla="*/ 12573 w 82010"/>
                <a:gd name="connsiteY10" fmla="*/ 0 h 101060"/>
                <a:gd name="connsiteX11" fmla="*/ 26670 w 82010"/>
                <a:gd name="connsiteY11" fmla="*/ 381 h 101060"/>
                <a:gd name="connsiteX12" fmla="*/ 40291 w 82010"/>
                <a:gd name="connsiteY12" fmla="*/ 762 h 101060"/>
                <a:gd name="connsiteX13" fmla="*/ 48292 w 82010"/>
                <a:gd name="connsiteY13" fmla="*/ 571 h 101060"/>
                <a:gd name="connsiteX14" fmla="*/ 60007 w 82010"/>
                <a:gd name="connsiteY14" fmla="*/ 0 h 101060"/>
                <a:gd name="connsiteX15" fmla="*/ 59246 w 82010"/>
                <a:gd name="connsiteY15" fmla="*/ 5429 h 101060"/>
                <a:gd name="connsiteX16" fmla="*/ 57626 w 82010"/>
                <a:gd name="connsiteY16" fmla="*/ 5429 h 101060"/>
                <a:gd name="connsiteX17" fmla="*/ 47244 w 82010"/>
                <a:gd name="connsiteY17" fmla="*/ 6477 h 101060"/>
                <a:gd name="connsiteX18" fmla="*/ 45815 w 82010"/>
                <a:gd name="connsiteY18" fmla="*/ 7906 h 101060"/>
                <a:gd name="connsiteX19" fmla="*/ 42672 w 82010"/>
                <a:gd name="connsiteY19" fmla="*/ 20479 h 101060"/>
                <a:gd name="connsiteX20" fmla="*/ 37624 w 82010"/>
                <a:gd name="connsiteY20" fmla="*/ 48958 h 101060"/>
                <a:gd name="connsiteX21" fmla="*/ 30385 w 82010"/>
                <a:gd name="connsiteY21" fmla="*/ 92773 h 101060"/>
                <a:gd name="connsiteX22" fmla="*/ 48387 w 82010"/>
                <a:gd name="connsiteY22" fmla="*/ 93536 h 101060"/>
                <a:gd name="connsiteX23" fmla="*/ 67246 w 82010"/>
                <a:gd name="connsiteY23" fmla="*/ 92012 h 101060"/>
                <a:gd name="connsiteX24" fmla="*/ 70961 w 82010"/>
                <a:gd name="connsiteY24" fmla="*/ 90011 h 101060"/>
                <a:gd name="connsiteX25" fmla="*/ 76867 w 82010"/>
                <a:gd name="connsiteY25" fmla="*/ 74486 h 101060"/>
                <a:gd name="connsiteX26" fmla="*/ 82010 w 82010"/>
                <a:gd name="connsiteY26" fmla="*/ 74486 h 101060"/>
                <a:gd name="connsiteX27" fmla="*/ 76867 w 82010"/>
                <a:gd name="connsiteY27" fmla="*/ 100489 h 101060"/>
                <a:gd name="connsiteX28" fmla="*/ 68104 w 82010"/>
                <a:gd name="connsiteY28" fmla="*/ 101060 h 101060"/>
                <a:gd name="connsiteX29" fmla="*/ 50959 w 82010"/>
                <a:gd name="connsiteY29" fmla="*/ 100775 h 101060"/>
                <a:gd name="connsiteX30" fmla="*/ 26479 w 82010"/>
                <a:gd name="connsiteY30" fmla="*/ 100298 h 101060"/>
                <a:gd name="connsiteX31" fmla="*/ 0 w 82010"/>
                <a:gd name="connsiteY31" fmla="*/ 101060 h 10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2010" h="101060">
                  <a:moveTo>
                    <a:pt x="95" y="100870"/>
                  </a:moveTo>
                  <a:lnTo>
                    <a:pt x="857" y="96393"/>
                  </a:lnTo>
                  <a:cubicBezTo>
                    <a:pt x="6191" y="95060"/>
                    <a:pt x="9049" y="94298"/>
                    <a:pt x="9430" y="94012"/>
                  </a:cubicBezTo>
                  <a:cubicBezTo>
                    <a:pt x="9906" y="93726"/>
                    <a:pt x="10382" y="93154"/>
                    <a:pt x="10668" y="92488"/>
                  </a:cubicBezTo>
                  <a:cubicBezTo>
                    <a:pt x="11240" y="91250"/>
                    <a:pt x="12382" y="86201"/>
                    <a:pt x="14002" y="77438"/>
                  </a:cubicBezTo>
                  <a:cubicBezTo>
                    <a:pt x="18193" y="53340"/>
                    <a:pt x="20669" y="38957"/>
                    <a:pt x="21431" y="34290"/>
                  </a:cubicBezTo>
                  <a:cubicBezTo>
                    <a:pt x="23813" y="18955"/>
                    <a:pt x="25051" y="10573"/>
                    <a:pt x="25051" y="9144"/>
                  </a:cubicBezTo>
                  <a:cubicBezTo>
                    <a:pt x="25051" y="8001"/>
                    <a:pt x="24765" y="7144"/>
                    <a:pt x="24289" y="6667"/>
                  </a:cubicBezTo>
                  <a:cubicBezTo>
                    <a:pt x="23717" y="6191"/>
                    <a:pt x="22669" y="5810"/>
                    <a:pt x="20860" y="5620"/>
                  </a:cubicBezTo>
                  <a:lnTo>
                    <a:pt x="11716" y="4953"/>
                  </a:lnTo>
                  <a:lnTo>
                    <a:pt x="12573" y="0"/>
                  </a:lnTo>
                  <a:cubicBezTo>
                    <a:pt x="15335" y="0"/>
                    <a:pt x="20002" y="95"/>
                    <a:pt x="26670" y="381"/>
                  </a:cubicBezTo>
                  <a:cubicBezTo>
                    <a:pt x="33338" y="667"/>
                    <a:pt x="37909" y="762"/>
                    <a:pt x="40291" y="762"/>
                  </a:cubicBezTo>
                  <a:cubicBezTo>
                    <a:pt x="42863" y="762"/>
                    <a:pt x="45529" y="762"/>
                    <a:pt x="48292" y="571"/>
                  </a:cubicBezTo>
                  <a:lnTo>
                    <a:pt x="60007" y="0"/>
                  </a:lnTo>
                  <a:lnTo>
                    <a:pt x="59246" y="5429"/>
                  </a:lnTo>
                  <a:lnTo>
                    <a:pt x="57626" y="5429"/>
                  </a:lnTo>
                  <a:cubicBezTo>
                    <a:pt x="52102" y="5429"/>
                    <a:pt x="48673" y="5715"/>
                    <a:pt x="47244" y="6477"/>
                  </a:cubicBezTo>
                  <a:cubicBezTo>
                    <a:pt x="46673" y="6763"/>
                    <a:pt x="46196" y="7239"/>
                    <a:pt x="45815" y="7906"/>
                  </a:cubicBezTo>
                  <a:cubicBezTo>
                    <a:pt x="45053" y="9049"/>
                    <a:pt x="44006" y="13240"/>
                    <a:pt x="42672" y="20479"/>
                  </a:cubicBezTo>
                  <a:cubicBezTo>
                    <a:pt x="40957" y="29813"/>
                    <a:pt x="39243" y="39338"/>
                    <a:pt x="37624" y="48958"/>
                  </a:cubicBezTo>
                  <a:lnTo>
                    <a:pt x="30385" y="92773"/>
                  </a:lnTo>
                  <a:cubicBezTo>
                    <a:pt x="37624" y="93250"/>
                    <a:pt x="43720" y="93536"/>
                    <a:pt x="48387" y="93536"/>
                  </a:cubicBezTo>
                  <a:cubicBezTo>
                    <a:pt x="56483" y="93536"/>
                    <a:pt x="62770" y="93059"/>
                    <a:pt x="67246" y="92012"/>
                  </a:cubicBezTo>
                  <a:cubicBezTo>
                    <a:pt x="69056" y="91535"/>
                    <a:pt x="70199" y="90964"/>
                    <a:pt x="70961" y="90011"/>
                  </a:cubicBezTo>
                  <a:cubicBezTo>
                    <a:pt x="71819" y="88773"/>
                    <a:pt x="73819" y="83629"/>
                    <a:pt x="76867" y="74486"/>
                  </a:cubicBezTo>
                  <a:lnTo>
                    <a:pt x="82010" y="74486"/>
                  </a:lnTo>
                  <a:cubicBezTo>
                    <a:pt x="79343" y="85725"/>
                    <a:pt x="77629" y="94393"/>
                    <a:pt x="76867" y="100489"/>
                  </a:cubicBezTo>
                  <a:cubicBezTo>
                    <a:pt x="74200" y="100870"/>
                    <a:pt x="71247" y="101060"/>
                    <a:pt x="68104" y="101060"/>
                  </a:cubicBezTo>
                  <a:cubicBezTo>
                    <a:pt x="64198" y="101060"/>
                    <a:pt x="58579" y="101060"/>
                    <a:pt x="50959" y="100775"/>
                  </a:cubicBezTo>
                  <a:cubicBezTo>
                    <a:pt x="36671" y="100489"/>
                    <a:pt x="28575" y="100298"/>
                    <a:pt x="26479" y="100298"/>
                  </a:cubicBezTo>
                  <a:cubicBezTo>
                    <a:pt x="15145" y="100298"/>
                    <a:pt x="6286" y="100584"/>
                    <a:pt x="0" y="101060"/>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8" name="Freeform: Shape 437">
              <a:extLst>
                <a:ext uri="{FF2B5EF4-FFF2-40B4-BE49-F238E27FC236}">
                  <a16:creationId xmlns:a16="http://schemas.microsoft.com/office/drawing/2014/main" id="{B70AB495-F6E3-465D-BF5C-983183E1DEE5}"/>
                </a:ext>
              </a:extLst>
            </p:cNvPr>
            <p:cNvSpPr/>
            <p:nvPr/>
          </p:nvSpPr>
          <p:spPr>
            <a:xfrm>
              <a:off x="6990972" y="5636037"/>
              <a:ext cx="52006" cy="84105"/>
            </a:xfrm>
            <a:custGeom>
              <a:avLst/>
              <a:gdLst>
                <a:gd name="connsiteX0" fmla="*/ 95 w 52006"/>
                <a:gd name="connsiteY0" fmla="*/ 84106 h 84105"/>
                <a:gd name="connsiteX1" fmla="*/ 571 w 52006"/>
                <a:gd name="connsiteY1" fmla="*/ 79915 h 84105"/>
                <a:gd name="connsiteX2" fmla="*/ 9144 w 52006"/>
                <a:gd name="connsiteY2" fmla="*/ 79248 h 84105"/>
                <a:gd name="connsiteX3" fmla="*/ 10192 w 52006"/>
                <a:gd name="connsiteY3" fmla="*/ 78677 h 84105"/>
                <a:gd name="connsiteX4" fmla="*/ 11716 w 52006"/>
                <a:gd name="connsiteY4" fmla="*/ 76105 h 84105"/>
                <a:gd name="connsiteX5" fmla="*/ 14764 w 52006"/>
                <a:gd name="connsiteY5" fmla="*/ 60960 h 84105"/>
                <a:gd name="connsiteX6" fmla="*/ 20383 w 52006"/>
                <a:gd name="connsiteY6" fmla="*/ 29146 h 84105"/>
                <a:gd name="connsiteX7" fmla="*/ 23431 w 52006"/>
                <a:gd name="connsiteY7" fmla="*/ 7715 h 84105"/>
                <a:gd name="connsiteX8" fmla="*/ 22669 w 52006"/>
                <a:gd name="connsiteY8" fmla="*/ 5525 h 84105"/>
                <a:gd name="connsiteX9" fmla="*/ 19621 w 52006"/>
                <a:gd name="connsiteY9" fmla="*/ 4572 h 84105"/>
                <a:gd name="connsiteX10" fmla="*/ 12002 w 52006"/>
                <a:gd name="connsiteY10" fmla="*/ 4191 h 84105"/>
                <a:gd name="connsiteX11" fmla="*/ 12668 w 52006"/>
                <a:gd name="connsiteY11" fmla="*/ 0 h 84105"/>
                <a:gd name="connsiteX12" fmla="*/ 30004 w 52006"/>
                <a:gd name="connsiteY12" fmla="*/ 381 h 84105"/>
                <a:gd name="connsiteX13" fmla="*/ 52006 w 52006"/>
                <a:gd name="connsiteY13" fmla="*/ 0 h 84105"/>
                <a:gd name="connsiteX14" fmla="*/ 51340 w 52006"/>
                <a:gd name="connsiteY14" fmla="*/ 4191 h 84105"/>
                <a:gd name="connsiteX15" fmla="*/ 42958 w 52006"/>
                <a:gd name="connsiteY15" fmla="*/ 4667 h 84105"/>
                <a:gd name="connsiteX16" fmla="*/ 41339 w 52006"/>
                <a:gd name="connsiteY16" fmla="*/ 5620 h 84105"/>
                <a:gd name="connsiteX17" fmla="*/ 40196 w 52006"/>
                <a:gd name="connsiteY17" fmla="*/ 7810 h 84105"/>
                <a:gd name="connsiteX18" fmla="*/ 35909 w 52006"/>
                <a:gd name="connsiteY18" fmla="*/ 29146 h 84105"/>
                <a:gd name="connsiteX19" fmla="*/ 30290 w 52006"/>
                <a:gd name="connsiteY19" fmla="*/ 61341 h 84105"/>
                <a:gd name="connsiteX20" fmla="*/ 28289 w 52006"/>
                <a:gd name="connsiteY20" fmla="*/ 76105 h 84105"/>
                <a:gd name="connsiteX21" fmla="*/ 28956 w 52006"/>
                <a:gd name="connsiteY21" fmla="*/ 78296 h 84105"/>
                <a:gd name="connsiteX22" fmla="*/ 31337 w 52006"/>
                <a:gd name="connsiteY22" fmla="*/ 79534 h 84105"/>
                <a:gd name="connsiteX23" fmla="*/ 40196 w 52006"/>
                <a:gd name="connsiteY23" fmla="*/ 79915 h 84105"/>
                <a:gd name="connsiteX24" fmla="*/ 39624 w 52006"/>
                <a:gd name="connsiteY24" fmla="*/ 84106 h 84105"/>
                <a:gd name="connsiteX25" fmla="*/ 20574 w 52006"/>
                <a:gd name="connsiteY25" fmla="*/ 83629 h 84105"/>
                <a:gd name="connsiteX26" fmla="*/ 0 w 52006"/>
                <a:gd name="connsiteY26" fmla="*/ 84106 h 8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2006" h="84105">
                  <a:moveTo>
                    <a:pt x="95" y="84106"/>
                  </a:moveTo>
                  <a:lnTo>
                    <a:pt x="571" y="79915"/>
                  </a:lnTo>
                  <a:cubicBezTo>
                    <a:pt x="4286" y="79915"/>
                    <a:pt x="7144" y="79819"/>
                    <a:pt x="9144" y="79248"/>
                  </a:cubicBezTo>
                  <a:cubicBezTo>
                    <a:pt x="9620" y="79153"/>
                    <a:pt x="9906" y="78962"/>
                    <a:pt x="10192" y="78677"/>
                  </a:cubicBezTo>
                  <a:cubicBezTo>
                    <a:pt x="10763" y="78105"/>
                    <a:pt x="11335" y="77248"/>
                    <a:pt x="11716" y="76105"/>
                  </a:cubicBezTo>
                  <a:cubicBezTo>
                    <a:pt x="12097" y="74962"/>
                    <a:pt x="13144" y="69913"/>
                    <a:pt x="14764" y="60960"/>
                  </a:cubicBezTo>
                  <a:lnTo>
                    <a:pt x="20383" y="29146"/>
                  </a:lnTo>
                  <a:cubicBezTo>
                    <a:pt x="22384" y="17431"/>
                    <a:pt x="23431" y="10192"/>
                    <a:pt x="23431" y="7715"/>
                  </a:cubicBezTo>
                  <a:cubicBezTo>
                    <a:pt x="23431" y="6763"/>
                    <a:pt x="23146" y="6001"/>
                    <a:pt x="22669" y="5525"/>
                  </a:cubicBezTo>
                  <a:cubicBezTo>
                    <a:pt x="22098" y="5048"/>
                    <a:pt x="21146" y="4763"/>
                    <a:pt x="19621" y="4572"/>
                  </a:cubicBezTo>
                  <a:cubicBezTo>
                    <a:pt x="18669" y="4572"/>
                    <a:pt x="16192" y="4381"/>
                    <a:pt x="12002" y="4191"/>
                  </a:cubicBezTo>
                  <a:lnTo>
                    <a:pt x="12668" y="0"/>
                  </a:lnTo>
                  <a:cubicBezTo>
                    <a:pt x="18860" y="286"/>
                    <a:pt x="24670" y="381"/>
                    <a:pt x="30004" y="381"/>
                  </a:cubicBezTo>
                  <a:cubicBezTo>
                    <a:pt x="33623" y="381"/>
                    <a:pt x="40958" y="286"/>
                    <a:pt x="52006" y="0"/>
                  </a:cubicBezTo>
                  <a:lnTo>
                    <a:pt x="51340" y="4191"/>
                  </a:lnTo>
                  <a:cubicBezTo>
                    <a:pt x="46768" y="4191"/>
                    <a:pt x="44006" y="4381"/>
                    <a:pt x="42958" y="4667"/>
                  </a:cubicBezTo>
                  <a:cubicBezTo>
                    <a:pt x="42386" y="4858"/>
                    <a:pt x="41815" y="5239"/>
                    <a:pt x="41339" y="5620"/>
                  </a:cubicBezTo>
                  <a:cubicBezTo>
                    <a:pt x="40862" y="6096"/>
                    <a:pt x="40481" y="6763"/>
                    <a:pt x="40196" y="7810"/>
                  </a:cubicBezTo>
                  <a:cubicBezTo>
                    <a:pt x="39433" y="9906"/>
                    <a:pt x="38005" y="17050"/>
                    <a:pt x="35909" y="29146"/>
                  </a:cubicBezTo>
                  <a:cubicBezTo>
                    <a:pt x="33147" y="44672"/>
                    <a:pt x="31337" y="55435"/>
                    <a:pt x="30290" y="61341"/>
                  </a:cubicBezTo>
                  <a:cubicBezTo>
                    <a:pt x="28956" y="69247"/>
                    <a:pt x="28289" y="74104"/>
                    <a:pt x="28289" y="76105"/>
                  </a:cubicBezTo>
                  <a:cubicBezTo>
                    <a:pt x="28289" y="77057"/>
                    <a:pt x="28480" y="77724"/>
                    <a:pt x="28956" y="78296"/>
                  </a:cubicBezTo>
                  <a:cubicBezTo>
                    <a:pt x="29337" y="78772"/>
                    <a:pt x="30194" y="79248"/>
                    <a:pt x="31337" y="79534"/>
                  </a:cubicBezTo>
                  <a:cubicBezTo>
                    <a:pt x="32480" y="79819"/>
                    <a:pt x="35433" y="79915"/>
                    <a:pt x="40196" y="79915"/>
                  </a:cubicBezTo>
                  <a:lnTo>
                    <a:pt x="39624" y="84106"/>
                  </a:lnTo>
                  <a:cubicBezTo>
                    <a:pt x="29813" y="83820"/>
                    <a:pt x="23527" y="83629"/>
                    <a:pt x="20574" y="83629"/>
                  </a:cubicBezTo>
                  <a:cubicBezTo>
                    <a:pt x="18574" y="83629"/>
                    <a:pt x="11716" y="83820"/>
                    <a:pt x="0" y="84106"/>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39" name="Freeform: Shape 438">
              <a:extLst>
                <a:ext uri="{FF2B5EF4-FFF2-40B4-BE49-F238E27FC236}">
                  <a16:creationId xmlns:a16="http://schemas.microsoft.com/office/drawing/2014/main" id="{80CA10DB-DCD2-49D0-8B27-B8C81E85B617}"/>
                </a:ext>
              </a:extLst>
            </p:cNvPr>
            <p:cNvSpPr/>
            <p:nvPr/>
          </p:nvSpPr>
          <p:spPr>
            <a:xfrm>
              <a:off x="7046122" y="5634799"/>
              <a:ext cx="83248" cy="87534"/>
            </a:xfrm>
            <a:custGeom>
              <a:avLst/>
              <a:gdLst>
                <a:gd name="connsiteX0" fmla="*/ 71152 w 83248"/>
                <a:gd name="connsiteY0" fmla="*/ 79343 h 87534"/>
                <a:gd name="connsiteX1" fmla="*/ 70771 w 83248"/>
                <a:gd name="connsiteY1" fmla="*/ 79820 h 87534"/>
                <a:gd name="connsiteX2" fmla="*/ 61055 w 83248"/>
                <a:gd name="connsiteY2" fmla="*/ 82582 h 87534"/>
                <a:gd name="connsiteX3" fmla="*/ 47149 w 83248"/>
                <a:gd name="connsiteY3" fmla="*/ 86487 h 87534"/>
                <a:gd name="connsiteX4" fmla="*/ 35623 w 83248"/>
                <a:gd name="connsiteY4" fmla="*/ 87535 h 87534"/>
                <a:gd name="connsiteX5" fmla="*/ 9144 w 83248"/>
                <a:gd name="connsiteY5" fmla="*/ 78772 h 87534"/>
                <a:gd name="connsiteX6" fmla="*/ 0 w 83248"/>
                <a:gd name="connsiteY6" fmla="*/ 54674 h 87534"/>
                <a:gd name="connsiteX7" fmla="*/ 3715 w 83248"/>
                <a:gd name="connsiteY7" fmla="*/ 35528 h 87534"/>
                <a:gd name="connsiteX8" fmla="*/ 12763 w 83248"/>
                <a:gd name="connsiteY8" fmla="*/ 20479 h 87534"/>
                <a:gd name="connsiteX9" fmla="*/ 24479 w 83248"/>
                <a:gd name="connsiteY9" fmla="*/ 9811 h 87534"/>
                <a:gd name="connsiteX10" fmla="*/ 38290 w 83248"/>
                <a:gd name="connsiteY10" fmla="*/ 2762 h 87534"/>
                <a:gd name="connsiteX11" fmla="*/ 54959 w 83248"/>
                <a:gd name="connsiteY11" fmla="*/ 0 h 87534"/>
                <a:gd name="connsiteX12" fmla="*/ 69056 w 83248"/>
                <a:gd name="connsiteY12" fmla="*/ 1619 h 87534"/>
                <a:gd name="connsiteX13" fmla="*/ 79629 w 83248"/>
                <a:gd name="connsiteY13" fmla="*/ 5525 h 87534"/>
                <a:gd name="connsiteX14" fmla="*/ 80105 w 83248"/>
                <a:gd name="connsiteY14" fmla="*/ 6382 h 87534"/>
                <a:gd name="connsiteX15" fmla="*/ 76581 w 83248"/>
                <a:gd name="connsiteY15" fmla="*/ 19526 h 87534"/>
                <a:gd name="connsiteX16" fmla="*/ 75438 w 83248"/>
                <a:gd name="connsiteY16" fmla="*/ 26099 h 87534"/>
                <a:gd name="connsiteX17" fmla="*/ 71152 w 83248"/>
                <a:gd name="connsiteY17" fmla="*/ 26099 h 87534"/>
                <a:gd name="connsiteX18" fmla="*/ 71723 w 83248"/>
                <a:gd name="connsiteY18" fmla="*/ 14288 h 87534"/>
                <a:gd name="connsiteX19" fmla="*/ 63341 w 83248"/>
                <a:gd name="connsiteY19" fmla="*/ 9525 h 87534"/>
                <a:gd name="connsiteX20" fmla="*/ 50483 w 83248"/>
                <a:gd name="connsiteY20" fmla="*/ 7525 h 87534"/>
                <a:gd name="connsiteX21" fmla="*/ 38195 w 83248"/>
                <a:gd name="connsiteY21" fmla="*/ 9335 h 87534"/>
                <a:gd name="connsiteX22" fmla="*/ 29813 w 83248"/>
                <a:gd name="connsiteY22" fmla="*/ 14383 h 87534"/>
                <a:gd name="connsiteX23" fmla="*/ 23813 w 83248"/>
                <a:gd name="connsiteY23" fmla="*/ 22384 h 87534"/>
                <a:gd name="connsiteX24" fmla="*/ 18764 w 83248"/>
                <a:gd name="connsiteY24" fmla="*/ 35052 h 87534"/>
                <a:gd name="connsiteX25" fmla="*/ 16764 w 83248"/>
                <a:gd name="connsiteY25" fmla="*/ 54007 h 87534"/>
                <a:gd name="connsiteX26" fmla="*/ 23050 w 83248"/>
                <a:gd name="connsiteY26" fmla="*/ 74581 h 87534"/>
                <a:gd name="connsiteX27" fmla="*/ 40291 w 83248"/>
                <a:gd name="connsiteY27" fmla="*/ 81344 h 87534"/>
                <a:gd name="connsiteX28" fmla="*/ 54673 w 83248"/>
                <a:gd name="connsiteY28" fmla="*/ 77915 h 87534"/>
                <a:gd name="connsiteX29" fmla="*/ 56960 w 83248"/>
                <a:gd name="connsiteY29" fmla="*/ 68675 h 87534"/>
                <a:gd name="connsiteX30" fmla="*/ 58388 w 83248"/>
                <a:gd name="connsiteY30" fmla="*/ 61151 h 87534"/>
                <a:gd name="connsiteX31" fmla="*/ 58865 w 83248"/>
                <a:gd name="connsiteY31" fmla="*/ 57341 h 87534"/>
                <a:gd name="connsiteX32" fmla="*/ 58293 w 83248"/>
                <a:gd name="connsiteY32" fmla="*/ 55721 h 87534"/>
                <a:gd name="connsiteX33" fmla="*/ 56483 w 83248"/>
                <a:gd name="connsiteY33" fmla="*/ 54769 h 87534"/>
                <a:gd name="connsiteX34" fmla="*/ 46196 w 83248"/>
                <a:gd name="connsiteY34" fmla="*/ 54293 h 87534"/>
                <a:gd name="connsiteX35" fmla="*/ 46958 w 83248"/>
                <a:gd name="connsiteY35" fmla="*/ 50102 h 87534"/>
                <a:gd name="connsiteX36" fmla="*/ 64198 w 83248"/>
                <a:gd name="connsiteY36" fmla="*/ 50483 h 87534"/>
                <a:gd name="connsiteX37" fmla="*/ 83248 w 83248"/>
                <a:gd name="connsiteY37" fmla="*/ 50102 h 87534"/>
                <a:gd name="connsiteX38" fmla="*/ 82582 w 83248"/>
                <a:gd name="connsiteY38" fmla="*/ 54293 h 87534"/>
                <a:gd name="connsiteX39" fmla="*/ 77248 w 83248"/>
                <a:gd name="connsiteY39" fmla="*/ 54959 h 87534"/>
                <a:gd name="connsiteX40" fmla="*/ 75057 w 83248"/>
                <a:gd name="connsiteY40" fmla="*/ 56674 h 87534"/>
                <a:gd name="connsiteX41" fmla="*/ 73247 w 83248"/>
                <a:gd name="connsiteY41" fmla="*/ 62770 h 87534"/>
                <a:gd name="connsiteX42" fmla="*/ 72200 w 83248"/>
                <a:gd name="connsiteY42" fmla="*/ 67913 h 87534"/>
                <a:gd name="connsiteX43" fmla="*/ 70961 w 83248"/>
                <a:gd name="connsiteY43" fmla="*/ 74009 h 87534"/>
                <a:gd name="connsiteX44" fmla="*/ 70771 w 83248"/>
                <a:gd name="connsiteY44" fmla="*/ 76772 h 87534"/>
                <a:gd name="connsiteX45" fmla="*/ 71152 w 83248"/>
                <a:gd name="connsiteY45" fmla="*/ 79248 h 8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83248" h="87534">
                  <a:moveTo>
                    <a:pt x="71152" y="79343"/>
                  </a:moveTo>
                  <a:lnTo>
                    <a:pt x="70771" y="79820"/>
                  </a:lnTo>
                  <a:cubicBezTo>
                    <a:pt x="68485" y="80296"/>
                    <a:pt x="65342" y="81153"/>
                    <a:pt x="61055" y="82582"/>
                  </a:cubicBezTo>
                  <a:cubicBezTo>
                    <a:pt x="55531" y="84487"/>
                    <a:pt x="50863" y="85725"/>
                    <a:pt x="47149" y="86487"/>
                  </a:cubicBezTo>
                  <a:cubicBezTo>
                    <a:pt x="43434" y="87154"/>
                    <a:pt x="39624" y="87535"/>
                    <a:pt x="35623" y="87535"/>
                  </a:cubicBezTo>
                  <a:cubicBezTo>
                    <a:pt x="24098" y="87535"/>
                    <a:pt x="15240" y="84582"/>
                    <a:pt x="9144" y="78772"/>
                  </a:cubicBezTo>
                  <a:cubicBezTo>
                    <a:pt x="3048" y="72962"/>
                    <a:pt x="0" y="64960"/>
                    <a:pt x="0" y="54674"/>
                  </a:cubicBezTo>
                  <a:cubicBezTo>
                    <a:pt x="0" y="47530"/>
                    <a:pt x="1238" y="41148"/>
                    <a:pt x="3715" y="35528"/>
                  </a:cubicBezTo>
                  <a:cubicBezTo>
                    <a:pt x="6191" y="29813"/>
                    <a:pt x="9239" y="24765"/>
                    <a:pt x="12763" y="20479"/>
                  </a:cubicBezTo>
                  <a:cubicBezTo>
                    <a:pt x="16288" y="16097"/>
                    <a:pt x="20193" y="12573"/>
                    <a:pt x="24479" y="9811"/>
                  </a:cubicBezTo>
                  <a:cubicBezTo>
                    <a:pt x="28765" y="7049"/>
                    <a:pt x="33433" y="4667"/>
                    <a:pt x="38290" y="2762"/>
                  </a:cubicBezTo>
                  <a:cubicBezTo>
                    <a:pt x="43625" y="953"/>
                    <a:pt x="49149" y="0"/>
                    <a:pt x="54959" y="0"/>
                  </a:cubicBezTo>
                  <a:cubicBezTo>
                    <a:pt x="59817" y="0"/>
                    <a:pt x="64484" y="572"/>
                    <a:pt x="69056" y="1619"/>
                  </a:cubicBezTo>
                  <a:cubicBezTo>
                    <a:pt x="73628" y="2667"/>
                    <a:pt x="77152" y="4001"/>
                    <a:pt x="79629" y="5525"/>
                  </a:cubicBezTo>
                  <a:lnTo>
                    <a:pt x="80105" y="6382"/>
                  </a:lnTo>
                  <a:cubicBezTo>
                    <a:pt x="77819" y="14573"/>
                    <a:pt x="76676" y="18955"/>
                    <a:pt x="76581" y="19526"/>
                  </a:cubicBezTo>
                  <a:cubicBezTo>
                    <a:pt x="76200" y="21527"/>
                    <a:pt x="75724" y="23717"/>
                    <a:pt x="75438" y="26099"/>
                  </a:cubicBezTo>
                  <a:lnTo>
                    <a:pt x="71152" y="26099"/>
                  </a:lnTo>
                  <a:cubicBezTo>
                    <a:pt x="71438" y="21812"/>
                    <a:pt x="71628" y="17907"/>
                    <a:pt x="71723" y="14288"/>
                  </a:cubicBezTo>
                  <a:cubicBezTo>
                    <a:pt x="68771" y="12097"/>
                    <a:pt x="66008" y="10478"/>
                    <a:pt x="63341" y="9525"/>
                  </a:cubicBezTo>
                  <a:cubicBezTo>
                    <a:pt x="59531" y="8192"/>
                    <a:pt x="55245" y="7525"/>
                    <a:pt x="50483" y="7525"/>
                  </a:cubicBezTo>
                  <a:cubicBezTo>
                    <a:pt x="45720" y="7525"/>
                    <a:pt x="41529" y="8096"/>
                    <a:pt x="38195" y="9335"/>
                  </a:cubicBezTo>
                  <a:cubicBezTo>
                    <a:pt x="34861" y="10573"/>
                    <a:pt x="32004" y="12287"/>
                    <a:pt x="29813" y="14383"/>
                  </a:cubicBezTo>
                  <a:cubicBezTo>
                    <a:pt x="27623" y="16478"/>
                    <a:pt x="25622" y="19145"/>
                    <a:pt x="23813" y="22384"/>
                  </a:cubicBezTo>
                  <a:cubicBezTo>
                    <a:pt x="22003" y="25622"/>
                    <a:pt x="20383" y="29813"/>
                    <a:pt x="18764" y="35052"/>
                  </a:cubicBezTo>
                  <a:cubicBezTo>
                    <a:pt x="17431" y="41339"/>
                    <a:pt x="16764" y="47720"/>
                    <a:pt x="16764" y="54007"/>
                  </a:cubicBezTo>
                  <a:cubicBezTo>
                    <a:pt x="16764" y="63246"/>
                    <a:pt x="18860" y="70104"/>
                    <a:pt x="23050" y="74581"/>
                  </a:cubicBezTo>
                  <a:cubicBezTo>
                    <a:pt x="27242" y="79058"/>
                    <a:pt x="32956" y="81344"/>
                    <a:pt x="40291" y="81344"/>
                  </a:cubicBezTo>
                  <a:cubicBezTo>
                    <a:pt x="45815" y="81344"/>
                    <a:pt x="50578" y="80201"/>
                    <a:pt x="54673" y="77915"/>
                  </a:cubicBezTo>
                  <a:lnTo>
                    <a:pt x="56960" y="68675"/>
                  </a:lnTo>
                  <a:cubicBezTo>
                    <a:pt x="57340" y="66961"/>
                    <a:pt x="57817" y="64484"/>
                    <a:pt x="58388" y="61151"/>
                  </a:cubicBezTo>
                  <a:cubicBezTo>
                    <a:pt x="58674" y="59246"/>
                    <a:pt x="58865" y="57912"/>
                    <a:pt x="58865" y="57341"/>
                  </a:cubicBezTo>
                  <a:cubicBezTo>
                    <a:pt x="58865" y="56674"/>
                    <a:pt x="58674" y="56102"/>
                    <a:pt x="58293" y="55721"/>
                  </a:cubicBezTo>
                  <a:cubicBezTo>
                    <a:pt x="57912" y="55245"/>
                    <a:pt x="57340" y="54959"/>
                    <a:pt x="56483" y="54769"/>
                  </a:cubicBezTo>
                  <a:cubicBezTo>
                    <a:pt x="55245" y="54578"/>
                    <a:pt x="51721" y="54388"/>
                    <a:pt x="46196" y="54293"/>
                  </a:cubicBezTo>
                  <a:lnTo>
                    <a:pt x="46958" y="50102"/>
                  </a:lnTo>
                  <a:cubicBezTo>
                    <a:pt x="54197" y="50387"/>
                    <a:pt x="59912" y="50483"/>
                    <a:pt x="64198" y="50483"/>
                  </a:cubicBezTo>
                  <a:cubicBezTo>
                    <a:pt x="67342" y="50483"/>
                    <a:pt x="73723" y="50387"/>
                    <a:pt x="83248" y="50102"/>
                  </a:cubicBezTo>
                  <a:lnTo>
                    <a:pt x="82582" y="54293"/>
                  </a:lnTo>
                  <a:cubicBezTo>
                    <a:pt x="80010" y="54293"/>
                    <a:pt x="78200" y="54578"/>
                    <a:pt x="77248" y="54959"/>
                  </a:cubicBezTo>
                  <a:cubicBezTo>
                    <a:pt x="76295" y="55340"/>
                    <a:pt x="75533" y="55912"/>
                    <a:pt x="75057" y="56674"/>
                  </a:cubicBezTo>
                  <a:cubicBezTo>
                    <a:pt x="74581" y="57436"/>
                    <a:pt x="74009" y="59531"/>
                    <a:pt x="73247" y="62770"/>
                  </a:cubicBezTo>
                  <a:lnTo>
                    <a:pt x="72200" y="67913"/>
                  </a:lnTo>
                  <a:cubicBezTo>
                    <a:pt x="71533" y="71057"/>
                    <a:pt x="71152" y="73152"/>
                    <a:pt x="70961" y="74009"/>
                  </a:cubicBezTo>
                  <a:cubicBezTo>
                    <a:pt x="70866" y="74962"/>
                    <a:pt x="70771" y="75819"/>
                    <a:pt x="70771" y="76772"/>
                  </a:cubicBezTo>
                  <a:cubicBezTo>
                    <a:pt x="70771" y="77534"/>
                    <a:pt x="70866" y="78296"/>
                    <a:pt x="71152" y="79248"/>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0" name="Freeform: Shape 439">
              <a:extLst>
                <a:ext uri="{FF2B5EF4-FFF2-40B4-BE49-F238E27FC236}">
                  <a16:creationId xmlns:a16="http://schemas.microsoft.com/office/drawing/2014/main" id="{8DE15DFE-93ED-4737-80F0-B3D05DD0B873}"/>
                </a:ext>
              </a:extLst>
            </p:cNvPr>
            <p:cNvSpPr/>
            <p:nvPr/>
          </p:nvSpPr>
          <p:spPr>
            <a:xfrm>
              <a:off x="7128322" y="5635942"/>
              <a:ext cx="103346" cy="84201"/>
            </a:xfrm>
            <a:custGeom>
              <a:avLst/>
              <a:gdLst>
                <a:gd name="connsiteX0" fmla="*/ 86297 w 103346"/>
                <a:gd name="connsiteY0" fmla="*/ 571 h 84201"/>
                <a:gd name="connsiteX1" fmla="*/ 103346 w 103346"/>
                <a:gd name="connsiteY1" fmla="*/ 95 h 84201"/>
                <a:gd name="connsiteX2" fmla="*/ 102679 w 103346"/>
                <a:gd name="connsiteY2" fmla="*/ 4572 h 84201"/>
                <a:gd name="connsiteX3" fmla="*/ 100775 w 103346"/>
                <a:gd name="connsiteY3" fmla="*/ 4572 h 84201"/>
                <a:gd name="connsiteX4" fmla="*/ 93821 w 103346"/>
                <a:gd name="connsiteY4" fmla="*/ 5334 h 84201"/>
                <a:gd name="connsiteX5" fmla="*/ 92774 w 103346"/>
                <a:gd name="connsiteY5" fmla="*/ 6191 h 84201"/>
                <a:gd name="connsiteX6" fmla="*/ 91535 w 103346"/>
                <a:gd name="connsiteY6" fmla="*/ 9239 h 84201"/>
                <a:gd name="connsiteX7" fmla="*/ 86773 w 103346"/>
                <a:gd name="connsiteY7" fmla="*/ 33909 h 84201"/>
                <a:gd name="connsiteX8" fmla="*/ 82296 w 103346"/>
                <a:gd name="connsiteY8" fmla="*/ 58865 h 84201"/>
                <a:gd name="connsiteX9" fmla="*/ 79629 w 103346"/>
                <a:gd name="connsiteY9" fmla="*/ 76581 h 84201"/>
                <a:gd name="connsiteX10" fmla="*/ 81534 w 103346"/>
                <a:gd name="connsiteY10" fmla="*/ 79058 h 84201"/>
                <a:gd name="connsiteX11" fmla="*/ 91059 w 103346"/>
                <a:gd name="connsiteY11" fmla="*/ 80010 h 84201"/>
                <a:gd name="connsiteX12" fmla="*/ 90297 w 103346"/>
                <a:gd name="connsiteY12" fmla="*/ 84201 h 84201"/>
                <a:gd name="connsiteX13" fmla="*/ 70009 w 103346"/>
                <a:gd name="connsiteY13" fmla="*/ 83725 h 84201"/>
                <a:gd name="connsiteX14" fmla="*/ 51530 w 103346"/>
                <a:gd name="connsiteY14" fmla="*/ 84201 h 84201"/>
                <a:gd name="connsiteX15" fmla="*/ 52197 w 103346"/>
                <a:gd name="connsiteY15" fmla="*/ 80010 h 84201"/>
                <a:gd name="connsiteX16" fmla="*/ 60865 w 103346"/>
                <a:gd name="connsiteY16" fmla="*/ 79248 h 84201"/>
                <a:gd name="connsiteX17" fmla="*/ 62008 w 103346"/>
                <a:gd name="connsiteY17" fmla="*/ 78486 h 84201"/>
                <a:gd name="connsiteX18" fmla="*/ 63341 w 103346"/>
                <a:gd name="connsiteY18" fmla="*/ 74867 h 84201"/>
                <a:gd name="connsiteX19" fmla="*/ 66008 w 103346"/>
                <a:gd name="connsiteY19" fmla="*/ 61817 h 84201"/>
                <a:gd name="connsiteX20" fmla="*/ 69628 w 103346"/>
                <a:gd name="connsiteY20" fmla="*/ 42481 h 84201"/>
                <a:gd name="connsiteX21" fmla="*/ 33909 w 103346"/>
                <a:gd name="connsiteY21" fmla="*/ 42481 h 84201"/>
                <a:gd name="connsiteX22" fmla="*/ 32290 w 103346"/>
                <a:gd name="connsiteY22" fmla="*/ 52769 h 84201"/>
                <a:gd name="connsiteX23" fmla="*/ 29813 w 103346"/>
                <a:gd name="connsiteY23" fmla="*/ 68199 h 84201"/>
                <a:gd name="connsiteX24" fmla="*/ 28766 w 103346"/>
                <a:gd name="connsiteY24" fmla="*/ 74390 h 84201"/>
                <a:gd name="connsiteX25" fmla="*/ 28575 w 103346"/>
                <a:gd name="connsiteY25" fmla="*/ 76105 h 84201"/>
                <a:gd name="connsiteX26" fmla="*/ 29337 w 103346"/>
                <a:gd name="connsiteY26" fmla="*/ 78200 h 84201"/>
                <a:gd name="connsiteX27" fmla="*/ 31433 w 103346"/>
                <a:gd name="connsiteY27" fmla="*/ 79439 h 84201"/>
                <a:gd name="connsiteX28" fmla="*/ 39529 w 103346"/>
                <a:gd name="connsiteY28" fmla="*/ 80010 h 84201"/>
                <a:gd name="connsiteX29" fmla="*/ 38767 w 103346"/>
                <a:gd name="connsiteY29" fmla="*/ 84201 h 84201"/>
                <a:gd name="connsiteX30" fmla="*/ 18479 w 103346"/>
                <a:gd name="connsiteY30" fmla="*/ 83725 h 84201"/>
                <a:gd name="connsiteX31" fmla="*/ 0 w 103346"/>
                <a:gd name="connsiteY31" fmla="*/ 84201 h 84201"/>
                <a:gd name="connsiteX32" fmla="*/ 667 w 103346"/>
                <a:gd name="connsiteY32" fmla="*/ 80010 h 84201"/>
                <a:gd name="connsiteX33" fmla="*/ 10382 w 103346"/>
                <a:gd name="connsiteY33" fmla="*/ 78772 h 84201"/>
                <a:gd name="connsiteX34" fmla="*/ 11621 w 103346"/>
                <a:gd name="connsiteY34" fmla="*/ 77343 h 84201"/>
                <a:gd name="connsiteX35" fmla="*/ 14764 w 103346"/>
                <a:gd name="connsiteY35" fmla="*/ 63722 h 84201"/>
                <a:gd name="connsiteX36" fmla="*/ 19907 w 103346"/>
                <a:gd name="connsiteY36" fmla="*/ 34576 h 84201"/>
                <a:gd name="connsiteX37" fmla="*/ 24003 w 103346"/>
                <a:gd name="connsiteY37" fmla="*/ 8001 h 84201"/>
                <a:gd name="connsiteX38" fmla="*/ 23527 w 103346"/>
                <a:gd name="connsiteY38" fmla="*/ 6096 h 84201"/>
                <a:gd name="connsiteX39" fmla="*/ 22003 w 103346"/>
                <a:gd name="connsiteY39" fmla="*/ 5144 h 84201"/>
                <a:gd name="connsiteX40" fmla="*/ 17145 w 103346"/>
                <a:gd name="connsiteY40" fmla="*/ 4667 h 84201"/>
                <a:gd name="connsiteX41" fmla="*/ 12954 w 103346"/>
                <a:gd name="connsiteY41" fmla="*/ 4667 h 84201"/>
                <a:gd name="connsiteX42" fmla="*/ 13716 w 103346"/>
                <a:gd name="connsiteY42" fmla="*/ 191 h 84201"/>
                <a:gd name="connsiteX43" fmla="*/ 14383 w 103346"/>
                <a:gd name="connsiteY43" fmla="*/ 191 h 84201"/>
                <a:gd name="connsiteX44" fmla="*/ 34957 w 103346"/>
                <a:gd name="connsiteY44" fmla="*/ 667 h 84201"/>
                <a:gd name="connsiteX45" fmla="*/ 52006 w 103346"/>
                <a:gd name="connsiteY45" fmla="*/ 191 h 84201"/>
                <a:gd name="connsiteX46" fmla="*/ 51340 w 103346"/>
                <a:gd name="connsiteY46" fmla="*/ 4667 h 84201"/>
                <a:gd name="connsiteX47" fmla="*/ 49625 w 103346"/>
                <a:gd name="connsiteY47" fmla="*/ 4667 h 84201"/>
                <a:gd name="connsiteX48" fmla="*/ 43053 w 103346"/>
                <a:gd name="connsiteY48" fmla="*/ 5048 h 84201"/>
                <a:gd name="connsiteX49" fmla="*/ 41815 w 103346"/>
                <a:gd name="connsiteY49" fmla="*/ 5620 h 84201"/>
                <a:gd name="connsiteX50" fmla="*/ 40862 w 103346"/>
                <a:gd name="connsiteY50" fmla="*/ 7429 h 84201"/>
                <a:gd name="connsiteX51" fmla="*/ 38291 w 103346"/>
                <a:gd name="connsiteY51" fmla="*/ 19050 h 84201"/>
                <a:gd name="connsiteX52" fmla="*/ 34957 w 103346"/>
                <a:gd name="connsiteY52" fmla="*/ 36671 h 84201"/>
                <a:gd name="connsiteX53" fmla="*/ 52959 w 103346"/>
                <a:gd name="connsiteY53" fmla="*/ 37148 h 84201"/>
                <a:gd name="connsiteX54" fmla="*/ 70580 w 103346"/>
                <a:gd name="connsiteY54" fmla="*/ 36671 h 84201"/>
                <a:gd name="connsiteX55" fmla="*/ 72485 w 103346"/>
                <a:gd name="connsiteY55" fmla="*/ 25146 h 84201"/>
                <a:gd name="connsiteX56" fmla="*/ 74009 w 103346"/>
                <a:gd name="connsiteY56" fmla="*/ 14669 h 84201"/>
                <a:gd name="connsiteX57" fmla="*/ 74581 w 103346"/>
                <a:gd name="connsiteY57" fmla="*/ 10382 h 84201"/>
                <a:gd name="connsiteX58" fmla="*/ 74581 w 103346"/>
                <a:gd name="connsiteY58" fmla="*/ 7906 h 84201"/>
                <a:gd name="connsiteX59" fmla="*/ 74104 w 103346"/>
                <a:gd name="connsiteY59" fmla="*/ 6096 h 84201"/>
                <a:gd name="connsiteX60" fmla="*/ 72390 w 103346"/>
                <a:gd name="connsiteY60" fmla="*/ 5239 h 84201"/>
                <a:gd name="connsiteX61" fmla="*/ 63913 w 103346"/>
                <a:gd name="connsiteY61" fmla="*/ 4477 h 84201"/>
                <a:gd name="connsiteX62" fmla="*/ 64675 w 103346"/>
                <a:gd name="connsiteY62" fmla="*/ 0 h 84201"/>
                <a:gd name="connsiteX63" fmla="*/ 65437 w 103346"/>
                <a:gd name="connsiteY63" fmla="*/ 0 h 84201"/>
                <a:gd name="connsiteX64" fmla="*/ 86011 w 103346"/>
                <a:gd name="connsiteY64" fmla="*/ 476 h 8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03346" h="84201">
                  <a:moveTo>
                    <a:pt x="86297" y="571"/>
                  </a:moveTo>
                  <a:lnTo>
                    <a:pt x="103346" y="95"/>
                  </a:lnTo>
                  <a:lnTo>
                    <a:pt x="102679" y="4572"/>
                  </a:lnTo>
                  <a:lnTo>
                    <a:pt x="100775" y="4572"/>
                  </a:lnTo>
                  <a:cubicBezTo>
                    <a:pt x="97536" y="4572"/>
                    <a:pt x="95155" y="4763"/>
                    <a:pt x="93821" y="5334"/>
                  </a:cubicBezTo>
                  <a:cubicBezTo>
                    <a:pt x="93345" y="5525"/>
                    <a:pt x="93059" y="5810"/>
                    <a:pt x="92774" y="6191"/>
                  </a:cubicBezTo>
                  <a:cubicBezTo>
                    <a:pt x="92297" y="6763"/>
                    <a:pt x="91916" y="7810"/>
                    <a:pt x="91535" y="9239"/>
                  </a:cubicBezTo>
                  <a:cubicBezTo>
                    <a:pt x="90773" y="12478"/>
                    <a:pt x="89154" y="20765"/>
                    <a:pt x="86773" y="33909"/>
                  </a:cubicBezTo>
                  <a:cubicBezTo>
                    <a:pt x="84677" y="45434"/>
                    <a:pt x="83153" y="53721"/>
                    <a:pt x="82296" y="58865"/>
                  </a:cubicBezTo>
                  <a:cubicBezTo>
                    <a:pt x="80581" y="69437"/>
                    <a:pt x="79629" y="75343"/>
                    <a:pt x="79629" y="76581"/>
                  </a:cubicBezTo>
                  <a:cubicBezTo>
                    <a:pt x="79629" y="77724"/>
                    <a:pt x="80296" y="78581"/>
                    <a:pt x="81534" y="79058"/>
                  </a:cubicBezTo>
                  <a:cubicBezTo>
                    <a:pt x="82772" y="79534"/>
                    <a:pt x="85916" y="79819"/>
                    <a:pt x="91059" y="80010"/>
                  </a:cubicBezTo>
                  <a:lnTo>
                    <a:pt x="90297" y="84201"/>
                  </a:lnTo>
                  <a:cubicBezTo>
                    <a:pt x="84582" y="83915"/>
                    <a:pt x="77819" y="83725"/>
                    <a:pt x="70009" y="83725"/>
                  </a:cubicBezTo>
                  <a:cubicBezTo>
                    <a:pt x="62770" y="83725"/>
                    <a:pt x="56579" y="83915"/>
                    <a:pt x="51530" y="84201"/>
                  </a:cubicBezTo>
                  <a:lnTo>
                    <a:pt x="52197" y="80010"/>
                  </a:lnTo>
                  <a:cubicBezTo>
                    <a:pt x="56769" y="80010"/>
                    <a:pt x="59627" y="79724"/>
                    <a:pt x="60865" y="79248"/>
                  </a:cubicBezTo>
                  <a:cubicBezTo>
                    <a:pt x="61436" y="79058"/>
                    <a:pt x="61817" y="78772"/>
                    <a:pt x="62008" y="78486"/>
                  </a:cubicBezTo>
                  <a:cubicBezTo>
                    <a:pt x="62389" y="78010"/>
                    <a:pt x="62865" y="76771"/>
                    <a:pt x="63341" y="74867"/>
                  </a:cubicBezTo>
                  <a:cubicBezTo>
                    <a:pt x="63532" y="74295"/>
                    <a:pt x="64389" y="69914"/>
                    <a:pt x="66008" y="61817"/>
                  </a:cubicBezTo>
                  <a:cubicBezTo>
                    <a:pt x="68008" y="51721"/>
                    <a:pt x="69247" y="45244"/>
                    <a:pt x="69628" y="42481"/>
                  </a:cubicBezTo>
                  <a:lnTo>
                    <a:pt x="33909" y="42481"/>
                  </a:lnTo>
                  <a:cubicBezTo>
                    <a:pt x="33528" y="45148"/>
                    <a:pt x="33052" y="48577"/>
                    <a:pt x="32290" y="52769"/>
                  </a:cubicBezTo>
                  <a:cubicBezTo>
                    <a:pt x="31528" y="56960"/>
                    <a:pt x="30766" y="62103"/>
                    <a:pt x="29813" y="68199"/>
                  </a:cubicBezTo>
                  <a:lnTo>
                    <a:pt x="28766" y="74390"/>
                  </a:lnTo>
                  <a:cubicBezTo>
                    <a:pt x="28670" y="75057"/>
                    <a:pt x="28575" y="75629"/>
                    <a:pt x="28575" y="76105"/>
                  </a:cubicBezTo>
                  <a:cubicBezTo>
                    <a:pt x="28575" y="76867"/>
                    <a:pt x="28766" y="77533"/>
                    <a:pt x="29337" y="78200"/>
                  </a:cubicBezTo>
                  <a:cubicBezTo>
                    <a:pt x="29813" y="78772"/>
                    <a:pt x="30575" y="79248"/>
                    <a:pt x="31433" y="79439"/>
                  </a:cubicBezTo>
                  <a:cubicBezTo>
                    <a:pt x="32290" y="79629"/>
                    <a:pt x="35052" y="79819"/>
                    <a:pt x="39529" y="80010"/>
                  </a:cubicBezTo>
                  <a:lnTo>
                    <a:pt x="38767" y="84201"/>
                  </a:lnTo>
                  <a:cubicBezTo>
                    <a:pt x="33052" y="83915"/>
                    <a:pt x="26289" y="83725"/>
                    <a:pt x="18479" y="83725"/>
                  </a:cubicBezTo>
                  <a:cubicBezTo>
                    <a:pt x="11240" y="83725"/>
                    <a:pt x="5048" y="83915"/>
                    <a:pt x="0" y="84201"/>
                  </a:cubicBezTo>
                  <a:lnTo>
                    <a:pt x="667" y="80010"/>
                  </a:lnTo>
                  <a:cubicBezTo>
                    <a:pt x="6382" y="79629"/>
                    <a:pt x="9620" y="79248"/>
                    <a:pt x="10382" y="78772"/>
                  </a:cubicBezTo>
                  <a:cubicBezTo>
                    <a:pt x="10858" y="78486"/>
                    <a:pt x="11335" y="78010"/>
                    <a:pt x="11621" y="77343"/>
                  </a:cubicBezTo>
                  <a:cubicBezTo>
                    <a:pt x="12192" y="76200"/>
                    <a:pt x="13240" y="71628"/>
                    <a:pt x="14764" y="63722"/>
                  </a:cubicBezTo>
                  <a:lnTo>
                    <a:pt x="19907" y="34576"/>
                  </a:lnTo>
                  <a:cubicBezTo>
                    <a:pt x="22670" y="19621"/>
                    <a:pt x="24003" y="10858"/>
                    <a:pt x="24003" y="8001"/>
                  </a:cubicBezTo>
                  <a:cubicBezTo>
                    <a:pt x="24003" y="7239"/>
                    <a:pt x="23813" y="6572"/>
                    <a:pt x="23527" y="6096"/>
                  </a:cubicBezTo>
                  <a:cubicBezTo>
                    <a:pt x="23146" y="5620"/>
                    <a:pt x="22670" y="5334"/>
                    <a:pt x="22003" y="5144"/>
                  </a:cubicBezTo>
                  <a:cubicBezTo>
                    <a:pt x="21050" y="4858"/>
                    <a:pt x="19431" y="4667"/>
                    <a:pt x="17145" y="4667"/>
                  </a:cubicBezTo>
                  <a:cubicBezTo>
                    <a:pt x="14859" y="4667"/>
                    <a:pt x="13621" y="4667"/>
                    <a:pt x="12954" y="4667"/>
                  </a:cubicBezTo>
                  <a:lnTo>
                    <a:pt x="13716" y="191"/>
                  </a:lnTo>
                  <a:lnTo>
                    <a:pt x="14383" y="191"/>
                  </a:lnTo>
                  <a:lnTo>
                    <a:pt x="34957" y="667"/>
                  </a:lnTo>
                  <a:lnTo>
                    <a:pt x="52006" y="191"/>
                  </a:lnTo>
                  <a:lnTo>
                    <a:pt x="51340" y="4667"/>
                  </a:lnTo>
                  <a:lnTo>
                    <a:pt x="49625" y="4667"/>
                  </a:lnTo>
                  <a:cubicBezTo>
                    <a:pt x="46863" y="4667"/>
                    <a:pt x="44672" y="4667"/>
                    <a:pt x="43053" y="5048"/>
                  </a:cubicBezTo>
                  <a:cubicBezTo>
                    <a:pt x="42577" y="5144"/>
                    <a:pt x="42196" y="5334"/>
                    <a:pt x="41815" y="5620"/>
                  </a:cubicBezTo>
                  <a:cubicBezTo>
                    <a:pt x="41434" y="5906"/>
                    <a:pt x="41148" y="6477"/>
                    <a:pt x="40862" y="7429"/>
                  </a:cubicBezTo>
                  <a:cubicBezTo>
                    <a:pt x="40386" y="8668"/>
                    <a:pt x="39529" y="12573"/>
                    <a:pt x="38291" y="19050"/>
                  </a:cubicBezTo>
                  <a:lnTo>
                    <a:pt x="34957" y="36671"/>
                  </a:lnTo>
                  <a:cubicBezTo>
                    <a:pt x="43625" y="36957"/>
                    <a:pt x="49530" y="37148"/>
                    <a:pt x="52959" y="37148"/>
                  </a:cubicBezTo>
                  <a:cubicBezTo>
                    <a:pt x="56769" y="37148"/>
                    <a:pt x="62675" y="36957"/>
                    <a:pt x="70580" y="36671"/>
                  </a:cubicBezTo>
                  <a:cubicBezTo>
                    <a:pt x="70676" y="35814"/>
                    <a:pt x="71342" y="32004"/>
                    <a:pt x="72485" y="25146"/>
                  </a:cubicBezTo>
                  <a:cubicBezTo>
                    <a:pt x="72676" y="24098"/>
                    <a:pt x="73152" y="20574"/>
                    <a:pt x="74009" y="14669"/>
                  </a:cubicBezTo>
                  <a:cubicBezTo>
                    <a:pt x="74295" y="12668"/>
                    <a:pt x="74486" y="11240"/>
                    <a:pt x="74581" y="10382"/>
                  </a:cubicBezTo>
                  <a:cubicBezTo>
                    <a:pt x="74581" y="9525"/>
                    <a:pt x="74581" y="8668"/>
                    <a:pt x="74581" y="7906"/>
                  </a:cubicBezTo>
                  <a:cubicBezTo>
                    <a:pt x="74581" y="7144"/>
                    <a:pt x="74390" y="6572"/>
                    <a:pt x="74104" y="6096"/>
                  </a:cubicBezTo>
                  <a:cubicBezTo>
                    <a:pt x="73724" y="5715"/>
                    <a:pt x="73152" y="5429"/>
                    <a:pt x="72390" y="5239"/>
                  </a:cubicBezTo>
                  <a:cubicBezTo>
                    <a:pt x="70390" y="4858"/>
                    <a:pt x="67532" y="4572"/>
                    <a:pt x="63913" y="4477"/>
                  </a:cubicBezTo>
                  <a:lnTo>
                    <a:pt x="64675" y="0"/>
                  </a:lnTo>
                  <a:lnTo>
                    <a:pt x="65437" y="0"/>
                  </a:lnTo>
                  <a:lnTo>
                    <a:pt x="86011" y="476"/>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1" name="Freeform: Shape 440">
              <a:extLst>
                <a:ext uri="{FF2B5EF4-FFF2-40B4-BE49-F238E27FC236}">
                  <a16:creationId xmlns:a16="http://schemas.microsoft.com/office/drawing/2014/main" id="{1A16774F-FB9A-4E13-A704-34AB491A6D85}"/>
                </a:ext>
              </a:extLst>
            </p:cNvPr>
            <p:cNvSpPr/>
            <p:nvPr/>
          </p:nvSpPr>
          <p:spPr>
            <a:xfrm>
              <a:off x="7231859" y="5635847"/>
              <a:ext cx="75723" cy="84296"/>
            </a:xfrm>
            <a:custGeom>
              <a:avLst/>
              <a:gdLst>
                <a:gd name="connsiteX0" fmla="*/ 5715 w 75723"/>
                <a:gd name="connsiteY0" fmla="*/ 84296 h 84296"/>
                <a:gd name="connsiteX1" fmla="*/ 6191 w 75723"/>
                <a:gd name="connsiteY1" fmla="*/ 80010 h 84296"/>
                <a:gd name="connsiteX2" fmla="*/ 15526 w 75723"/>
                <a:gd name="connsiteY2" fmla="*/ 79439 h 84296"/>
                <a:gd name="connsiteX3" fmla="*/ 17050 w 75723"/>
                <a:gd name="connsiteY3" fmla="*/ 78391 h 84296"/>
                <a:gd name="connsiteX4" fmla="*/ 18574 w 75723"/>
                <a:gd name="connsiteY4" fmla="*/ 73819 h 84296"/>
                <a:gd name="connsiteX5" fmla="*/ 24289 w 75723"/>
                <a:gd name="connsiteY5" fmla="*/ 42767 h 84296"/>
                <a:gd name="connsiteX6" fmla="*/ 30480 w 75723"/>
                <a:gd name="connsiteY6" fmla="*/ 6953 h 84296"/>
                <a:gd name="connsiteX7" fmla="*/ 26860 w 75723"/>
                <a:gd name="connsiteY7" fmla="*/ 6953 h 84296"/>
                <a:gd name="connsiteX8" fmla="*/ 9239 w 75723"/>
                <a:gd name="connsiteY8" fmla="*/ 8477 h 84296"/>
                <a:gd name="connsiteX9" fmla="*/ 4477 w 75723"/>
                <a:gd name="connsiteY9" fmla="*/ 21622 h 84296"/>
                <a:gd name="connsiteX10" fmla="*/ 0 w 75723"/>
                <a:gd name="connsiteY10" fmla="*/ 21622 h 84296"/>
                <a:gd name="connsiteX11" fmla="*/ 3048 w 75723"/>
                <a:gd name="connsiteY11" fmla="*/ 1143 h 84296"/>
                <a:gd name="connsiteX12" fmla="*/ 3715 w 75723"/>
                <a:gd name="connsiteY12" fmla="*/ 381 h 84296"/>
                <a:gd name="connsiteX13" fmla="*/ 19050 w 75723"/>
                <a:gd name="connsiteY13" fmla="*/ 953 h 84296"/>
                <a:gd name="connsiteX14" fmla="*/ 34957 w 75723"/>
                <a:gd name="connsiteY14" fmla="*/ 1143 h 84296"/>
                <a:gd name="connsiteX15" fmla="*/ 62294 w 75723"/>
                <a:gd name="connsiteY15" fmla="*/ 762 h 84296"/>
                <a:gd name="connsiteX16" fmla="*/ 74867 w 75723"/>
                <a:gd name="connsiteY16" fmla="*/ 0 h 84296"/>
                <a:gd name="connsiteX17" fmla="*/ 75724 w 75723"/>
                <a:gd name="connsiteY17" fmla="*/ 1048 h 84296"/>
                <a:gd name="connsiteX18" fmla="*/ 72676 w 75723"/>
                <a:gd name="connsiteY18" fmla="*/ 16764 h 84296"/>
                <a:gd name="connsiteX19" fmla="*/ 72009 w 75723"/>
                <a:gd name="connsiteY19" fmla="*/ 21527 h 84296"/>
                <a:gd name="connsiteX20" fmla="*/ 67532 w 75723"/>
                <a:gd name="connsiteY20" fmla="*/ 21527 h 84296"/>
                <a:gd name="connsiteX21" fmla="*/ 68104 w 75723"/>
                <a:gd name="connsiteY21" fmla="*/ 12192 h 84296"/>
                <a:gd name="connsiteX22" fmla="*/ 67532 w 75723"/>
                <a:gd name="connsiteY22" fmla="*/ 8382 h 84296"/>
                <a:gd name="connsiteX23" fmla="*/ 65437 w 75723"/>
                <a:gd name="connsiteY23" fmla="*/ 7334 h 84296"/>
                <a:gd name="connsiteX24" fmla="*/ 53340 w 75723"/>
                <a:gd name="connsiteY24" fmla="*/ 6763 h 84296"/>
                <a:gd name="connsiteX25" fmla="*/ 46673 w 75723"/>
                <a:gd name="connsiteY25" fmla="*/ 6763 h 84296"/>
                <a:gd name="connsiteX26" fmla="*/ 41338 w 75723"/>
                <a:gd name="connsiteY26" fmla="*/ 34481 h 84296"/>
                <a:gd name="connsiteX27" fmla="*/ 36576 w 75723"/>
                <a:gd name="connsiteY27" fmla="*/ 61531 h 84296"/>
                <a:gd name="connsiteX28" fmla="*/ 34671 w 75723"/>
                <a:gd name="connsiteY28" fmla="*/ 74105 h 84296"/>
                <a:gd name="connsiteX29" fmla="*/ 34576 w 75723"/>
                <a:gd name="connsiteY29" fmla="*/ 76391 h 84296"/>
                <a:gd name="connsiteX30" fmla="*/ 35147 w 75723"/>
                <a:gd name="connsiteY30" fmla="*/ 78486 h 84296"/>
                <a:gd name="connsiteX31" fmla="*/ 37148 w 75723"/>
                <a:gd name="connsiteY31" fmla="*/ 79439 h 84296"/>
                <a:gd name="connsiteX32" fmla="*/ 46292 w 75723"/>
                <a:gd name="connsiteY32" fmla="*/ 79915 h 84296"/>
                <a:gd name="connsiteX33" fmla="*/ 45815 w 75723"/>
                <a:gd name="connsiteY33" fmla="*/ 84201 h 84296"/>
                <a:gd name="connsiteX34" fmla="*/ 25146 w 75723"/>
                <a:gd name="connsiteY34" fmla="*/ 83725 h 84296"/>
                <a:gd name="connsiteX35" fmla="*/ 5810 w 75723"/>
                <a:gd name="connsiteY35" fmla="*/ 84201 h 8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5723" h="84296">
                  <a:moveTo>
                    <a:pt x="5715" y="84296"/>
                  </a:moveTo>
                  <a:lnTo>
                    <a:pt x="6191" y="80010"/>
                  </a:lnTo>
                  <a:cubicBezTo>
                    <a:pt x="11240" y="80010"/>
                    <a:pt x="14383" y="79915"/>
                    <a:pt x="15526" y="79439"/>
                  </a:cubicBezTo>
                  <a:cubicBezTo>
                    <a:pt x="16097" y="79248"/>
                    <a:pt x="16669" y="78867"/>
                    <a:pt x="17050" y="78391"/>
                  </a:cubicBezTo>
                  <a:cubicBezTo>
                    <a:pt x="17621" y="77724"/>
                    <a:pt x="18098" y="76200"/>
                    <a:pt x="18574" y="73819"/>
                  </a:cubicBezTo>
                  <a:cubicBezTo>
                    <a:pt x="19907" y="67342"/>
                    <a:pt x="21812" y="57055"/>
                    <a:pt x="24289" y="42767"/>
                  </a:cubicBezTo>
                  <a:cubicBezTo>
                    <a:pt x="26765" y="28480"/>
                    <a:pt x="28861" y="16574"/>
                    <a:pt x="30480" y="6953"/>
                  </a:cubicBezTo>
                  <a:lnTo>
                    <a:pt x="26860" y="6953"/>
                  </a:lnTo>
                  <a:cubicBezTo>
                    <a:pt x="16573" y="6953"/>
                    <a:pt x="10668" y="7430"/>
                    <a:pt x="9239" y="8477"/>
                  </a:cubicBezTo>
                  <a:cubicBezTo>
                    <a:pt x="7810" y="9525"/>
                    <a:pt x="6191" y="13906"/>
                    <a:pt x="4477" y="21622"/>
                  </a:cubicBezTo>
                  <a:lnTo>
                    <a:pt x="0" y="21622"/>
                  </a:lnTo>
                  <a:cubicBezTo>
                    <a:pt x="1048" y="15812"/>
                    <a:pt x="2096" y="8954"/>
                    <a:pt x="3048" y="1143"/>
                  </a:cubicBezTo>
                  <a:lnTo>
                    <a:pt x="3715" y="381"/>
                  </a:lnTo>
                  <a:lnTo>
                    <a:pt x="19050" y="953"/>
                  </a:lnTo>
                  <a:cubicBezTo>
                    <a:pt x="23622" y="1143"/>
                    <a:pt x="28956" y="1143"/>
                    <a:pt x="34957" y="1143"/>
                  </a:cubicBezTo>
                  <a:cubicBezTo>
                    <a:pt x="43244" y="1143"/>
                    <a:pt x="52388" y="1048"/>
                    <a:pt x="62294" y="762"/>
                  </a:cubicBezTo>
                  <a:cubicBezTo>
                    <a:pt x="67437" y="572"/>
                    <a:pt x="71628" y="381"/>
                    <a:pt x="74867" y="0"/>
                  </a:cubicBezTo>
                  <a:lnTo>
                    <a:pt x="75724" y="1048"/>
                  </a:lnTo>
                  <a:cubicBezTo>
                    <a:pt x="74009" y="9811"/>
                    <a:pt x="72961" y="15050"/>
                    <a:pt x="72676" y="16764"/>
                  </a:cubicBezTo>
                  <a:cubicBezTo>
                    <a:pt x="72390" y="18479"/>
                    <a:pt x="72200" y="20098"/>
                    <a:pt x="72009" y="21527"/>
                  </a:cubicBezTo>
                  <a:lnTo>
                    <a:pt x="67532" y="21527"/>
                  </a:lnTo>
                  <a:cubicBezTo>
                    <a:pt x="67913" y="18098"/>
                    <a:pt x="68104" y="15050"/>
                    <a:pt x="68104" y="12192"/>
                  </a:cubicBezTo>
                  <a:cubicBezTo>
                    <a:pt x="68104" y="10097"/>
                    <a:pt x="67913" y="8858"/>
                    <a:pt x="67532" y="8382"/>
                  </a:cubicBezTo>
                  <a:cubicBezTo>
                    <a:pt x="67151" y="7906"/>
                    <a:pt x="66485" y="7525"/>
                    <a:pt x="65437" y="7334"/>
                  </a:cubicBezTo>
                  <a:cubicBezTo>
                    <a:pt x="63627" y="6953"/>
                    <a:pt x="59531" y="6763"/>
                    <a:pt x="53340" y="6763"/>
                  </a:cubicBezTo>
                  <a:cubicBezTo>
                    <a:pt x="50387" y="6763"/>
                    <a:pt x="48196" y="6763"/>
                    <a:pt x="46673" y="6763"/>
                  </a:cubicBezTo>
                  <a:lnTo>
                    <a:pt x="41338" y="34481"/>
                  </a:lnTo>
                  <a:cubicBezTo>
                    <a:pt x="39815" y="42767"/>
                    <a:pt x="38195" y="51816"/>
                    <a:pt x="36576" y="61531"/>
                  </a:cubicBezTo>
                  <a:cubicBezTo>
                    <a:pt x="35433" y="68104"/>
                    <a:pt x="34861" y="72295"/>
                    <a:pt x="34671" y="74105"/>
                  </a:cubicBezTo>
                  <a:cubicBezTo>
                    <a:pt x="34671" y="74867"/>
                    <a:pt x="34576" y="75629"/>
                    <a:pt x="34576" y="76391"/>
                  </a:cubicBezTo>
                  <a:cubicBezTo>
                    <a:pt x="34576" y="77343"/>
                    <a:pt x="34766" y="78010"/>
                    <a:pt x="35147" y="78486"/>
                  </a:cubicBezTo>
                  <a:cubicBezTo>
                    <a:pt x="35528" y="78962"/>
                    <a:pt x="36195" y="79248"/>
                    <a:pt x="37148" y="79439"/>
                  </a:cubicBezTo>
                  <a:cubicBezTo>
                    <a:pt x="38576" y="79724"/>
                    <a:pt x="41624" y="79915"/>
                    <a:pt x="46292" y="79915"/>
                  </a:cubicBezTo>
                  <a:lnTo>
                    <a:pt x="45815" y="84201"/>
                  </a:lnTo>
                  <a:cubicBezTo>
                    <a:pt x="35433" y="83915"/>
                    <a:pt x="28480" y="83725"/>
                    <a:pt x="25146" y="83725"/>
                  </a:cubicBezTo>
                  <a:cubicBezTo>
                    <a:pt x="20860" y="83725"/>
                    <a:pt x="14478" y="83915"/>
                    <a:pt x="5810" y="84201"/>
                  </a:cubicBez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2" name="Freeform: Shape 441">
              <a:extLst>
                <a:ext uri="{FF2B5EF4-FFF2-40B4-BE49-F238E27FC236}">
                  <a16:creationId xmlns:a16="http://schemas.microsoft.com/office/drawing/2014/main" id="{B990B32D-14FA-461F-9DA3-6EE0A7467711}"/>
                </a:ext>
              </a:extLst>
            </p:cNvPr>
            <p:cNvSpPr/>
            <p:nvPr/>
          </p:nvSpPr>
          <p:spPr>
            <a:xfrm>
              <a:off x="6769325" y="5245607"/>
              <a:ext cx="308609" cy="344233"/>
            </a:xfrm>
            <a:custGeom>
              <a:avLst/>
              <a:gdLst>
                <a:gd name="connsiteX0" fmla="*/ 10192 w 308609"/>
                <a:gd name="connsiteY0" fmla="*/ 15049 h 344233"/>
                <a:gd name="connsiteX1" fmla="*/ 11716 w 308609"/>
                <a:gd name="connsiteY1" fmla="*/ 3524 h 344233"/>
                <a:gd name="connsiteX2" fmla="*/ 14764 w 308609"/>
                <a:gd name="connsiteY2" fmla="*/ 0 h 344233"/>
                <a:gd name="connsiteX3" fmla="*/ 159925 w 308609"/>
                <a:gd name="connsiteY3" fmla="*/ 2477 h 344233"/>
                <a:gd name="connsiteX4" fmla="*/ 305086 w 308609"/>
                <a:gd name="connsiteY4" fmla="*/ 0 h 344233"/>
                <a:gd name="connsiteX5" fmla="*/ 308610 w 308609"/>
                <a:gd name="connsiteY5" fmla="*/ 3524 h 344233"/>
                <a:gd name="connsiteX6" fmla="*/ 306134 w 308609"/>
                <a:gd name="connsiteY6" fmla="*/ 14478 h 344233"/>
                <a:gd name="connsiteX7" fmla="*/ 300609 w 308609"/>
                <a:gd name="connsiteY7" fmla="*/ 40957 h 344233"/>
                <a:gd name="connsiteX8" fmla="*/ 295085 w 308609"/>
                <a:gd name="connsiteY8" fmla="*/ 75057 h 344233"/>
                <a:gd name="connsiteX9" fmla="*/ 293561 w 308609"/>
                <a:gd name="connsiteY9" fmla="*/ 87535 h 344233"/>
                <a:gd name="connsiteX10" fmla="*/ 274511 w 308609"/>
                <a:gd name="connsiteY10" fmla="*/ 87535 h 344233"/>
                <a:gd name="connsiteX11" fmla="*/ 276511 w 308609"/>
                <a:gd name="connsiteY11" fmla="*/ 62484 h 344233"/>
                <a:gd name="connsiteX12" fmla="*/ 276511 w 308609"/>
                <a:gd name="connsiteY12" fmla="*/ 40005 h 344233"/>
                <a:gd name="connsiteX13" fmla="*/ 270510 w 308609"/>
                <a:gd name="connsiteY13" fmla="*/ 31052 h 344233"/>
                <a:gd name="connsiteX14" fmla="*/ 248031 w 308609"/>
                <a:gd name="connsiteY14" fmla="*/ 28004 h 344233"/>
                <a:gd name="connsiteX15" fmla="*/ 189452 w 308609"/>
                <a:gd name="connsiteY15" fmla="*/ 26003 h 344233"/>
                <a:gd name="connsiteX16" fmla="*/ 184976 w 308609"/>
                <a:gd name="connsiteY16" fmla="*/ 49054 h 344233"/>
                <a:gd name="connsiteX17" fmla="*/ 141922 w 308609"/>
                <a:gd name="connsiteY17" fmla="*/ 293751 h 344233"/>
                <a:gd name="connsiteX18" fmla="*/ 144399 w 308609"/>
                <a:gd name="connsiteY18" fmla="*/ 319754 h 344233"/>
                <a:gd name="connsiteX19" fmla="*/ 163449 w 308609"/>
                <a:gd name="connsiteY19" fmla="*/ 324707 h 344233"/>
                <a:gd name="connsiteX20" fmla="*/ 188024 w 308609"/>
                <a:gd name="connsiteY20" fmla="*/ 326708 h 344233"/>
                <a:gd name="connsiteX21" fmla="*/ 186023 w 308609"/>
                <a:gd name="connsiteY21" fmla="*/ 344234 h 344233"/>
                <a:gd name="connsiteX22" fmla="*/ 104489 w 308609"/>
                <a:gd name="connsiteY22" fmla="*/ 341757 h 344233"/>
                <a:gd name="connsiteX23" fmla="*/ 22955 w 308609"/>
                <a:gd name="connsiteY23" fmla="*/ 344234 h 344233"/>
                <a:gd name="connsiteX24" fmla="*/ 24479 w 308609"/>
                <a:gd name="connsiteY24" fmla="*/ 326708 h 344233"/>
                <a:gd name="connsiteX25" fmla="*/ 62008 w 308609"/>
                <a:gd name="connsiteY25" fmla="*/ 323660 h 344233"/>
                <a:gd name="connsiteX26" fmla="*/ 77057 w 308609"/>
                <a:gd name="connsiteY26" fmla="*/ 292608 h 344233"/>
                <a:gd name="connsiteX27" fmla="*/ 123634 w 308609"/>
                <a:gd name="connsiteY27" fmla="*/ 26384 h 344233"/>
                <a:gd name="connsiteX28" fmla="*/ 89630 w 308609"/>
                <a:gd name="connsiteY28" fmla="*/ 26384 h 344233"/>
                <a:gd name="connsiteX29" fmla="*/ 36576 w 308609"/>
                <a:gd name="connsiteY29" fmla="*/ 35338 h 344233"/>
                <a:gd name="connsiteX30" fmla="*/ 25527 w 308609"/>
                <a:gd name="connsiteY30" fmla="*/ 58388 h 344233"/>
                <a:gd name="connsiteX31" fmla="*/ 18479 w 308609"/>
                <a:gd name="connsiteY31" fmla="*/ 87440 h 344233"/>
                <a:gd name="connsiteX32" fmla="*/ 0 w 308609"/>
                <a:gd name="connsiteY32" fmla="*/ 87440 h 344233"/>
                <a:gd name="connsiteX33" fmla="*/ 2000 w 308609"/>
                <a:gd name="connsiteY33" fmla="*/ 74390 h 344233"/>
                <a:gd name="connsiteX34" fmla="*/ 6001 w 308609"/>
                <a:gd name="connsiteY34" fmla="*/ 49340 h 344233"/>
                <a:gd name="connsiteX35" fmla="*/ 10478 w 308609"/>
                <a:gd name="connsiteY35" fmla="*/ 14764 h 344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8609" h="344233">
                  <a:moveTo>
                    <a:pt x="10192" y="15049"/>
                  </a:moveTo>
                  <a:lnTo>
                    <a:pt x="11716" y="3524"/>
                  </a:lnTo>
                  <a:lnTo>
                    <a:pt x="14764" y="0"/>
                  </a:lnTo>
                  <a:cubicBezTo>
                    <a:pt x="62865" y="1524"/>
                    <a:pt x="110871" y="2477"/>
                    <a:pt x="159925" y="2477"/>
                  </a:cubicBezTo>
                  <a:cubicBezTo>
                    <a:pt x="208978" y="2477"/>
                    <a:pt x="256985" y="1429"/>
                    <a:pt x="305086" y="0"/>
                  </a:cubicBezTo>
                  <a:lnTo>
                    <a:pt x="308610" y="3524"/>
                  </a:lnTo>
                  <a:cubicBezTo>
                    <a:pt x="307086" y="7048"/>
                    <a:pt x="306610" y="11049"/>
                    <a:pt x="306134" y="14478"/>
                  </a:cubicBezTo>
                  <a:lnTo>
                    <a:pt x="300609" y="40957"/>
                  </a:lnTo>
                  <a:lnTo>
                    <a:pt x="295085" y="75057"/>
                  </a:lnTo>
                  <a:lnTo>
                    <a:pt x="293561" y="87535"/>
                  </a:lnTo>
                  <a:lnTo>
                    <a:pt x="274511" y="87535"/>
                  </a:lnTo>
                  <a:cubicBezTo>
                    <a:pt x="275558" y="79057"/>
                    <a:pt x="276035" y="70485"/>
                    <a:pt x="276511" y="62484"/>
                  </a:cubicBezTo>
                  <a:cubicBezTo>
                    <a:pt x="276987" y="54959"/>
                    <a:pt x="277559" y="47434"/>
                    <a:pt x="276511" y="40005"/>
                  </a:cubicBezTo>
                  <a:cubicBezTo>
                    <a:pt x="275558" y="36481"/>
                    <a:pt x="274034" y="32480"/>
                    <a:pt x="270510" y="31052"/>
                  </a:cubicBezTo>
                  <a:cubicBezTo>
                    <a:pt x="263557" y="29051"/>
                    <a:pt x="255556" y="29051"/>
                    <a:pt x="248031" y="28004"/>
                  </a:cubicBezTo>
                  <a:lnTo>
                    <a:pt x="189452" y="26003"/>
                  </a:lnTo>
                  <a:cubicBezTo>
                    <a:pt x="187928" y="33528"/>
                    <a:pt x="186404" y="41529"/>
                    <a:pt x="184976" y="49054"/>
                  </a:cubicBezTo>
                  <a:lnTo>
                    <a:pt x="141922" y="293751"/>
                  </a:lnTo>
                  <a:cubicBezTo>
                    <a:pt x="140399" y="302228"/>
                    <a:pt x="137446" y="312801"/>
                    <a:pt x="144399" y="319754"/>
                  </a:cubicBezTo>
                  <a:cubicBezTo>
                    <a:pt x="149924" y="323279"/>
                    <a:pt x="156877" y="323755"/>
                    <a:pt x="163449" y="324707"/>
                  </a:cubicBezTo>
                  <a:lnTo>
                    <a:pt x="188024" y="326708"/>
                  </a:lnTo>
                  <a:lnTo>
                    <a:pt x="186023" y="344234"/>
                  </a:lnTo>
                  <a:cubicBezTo>
                    <a:pt x="158972" y="342710"/>
                    <a:pt x="132017" y="341757"/>
                    <a:pt x="104489" y="341757"/>
                  </a:cubicBezTo>
                  <a:cubicBezTo>
                    <a:pt x="76962" y="341757"/>
                    <a:pt x="49911" y="342710"/>
                    <a:pt x="22955" y="344234"/>
                  </a:cubicBezTo>
                  <a:lnTo>
                    <a:pt x="24479" y="326708"/>
                  </a:lnTo>
                  <a:cubicBezTo>
                    <a:pt x="36957" y="326231"/>
                    <a:pt x="49530" y="325184"/>
                    <a:pt x="62008" y="323660"/>
                  </a:cubicBezTo>
                  <a:cubicBezTo>
                    <a:pt x="74009" y="318611"/>
                    <a:pt x="75057" y="303086"/>
                    <a:pt x="77057" y="292608"/>
                  </a:cubicBezTo>
                  <a:lnTo>
                    <a:pt x="123634" y="26384"/>
                  </a:lnTo>
                  <a:lnTo>
                    <a:pt x="89630" y="26384"/>
                  </a:lnTo>
                  <a:cubicBezTo>
                    <a:pt x="73628" y="26384"/>
                    <a:pt x="49054" y="25336"/>
                    <a:pt x="36576" y="35338"/>
                  </a:cubicBezTo>
                  <a:cubicBezTo>
                    <a:pt x="29528" y="40862"/>
                    <a:pt x="28099" y="50387"/>
                    <a:pt x="25527" y="58388"/>
                  </a:cubicBezTo>
                  <a:lnTo>
                    <a:pt x="18479" y="87440"/>
                  </a:lnTo>
                  <a:lnTo>
                    <a:pt x="0" y="87440"/>
                  </a:lnTo>
                  <a:cubicBezTo>
                    <a:pt x="476" y="82963"/>
                    <a:pt x="1524" y="78391"/>
                    <a:pt x="2000" y="74390"/>
                  </a:cubicBezTo>
                  <a:lnTo>
                    <a:pt x="6001" y="49340"/>
                  </a:lnTo>
                  <a:lnTo>
                    <a:pt x="10478" y="14764"/>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3" name="Freeform: Shape 442">
              <a:extLst>
                <a:ext uri="{FF2B5EF4-FFF2-40B4-BE49-F238E27FC236}">
                  <a16:creationId xmlns:a16="http://schemas.microsoft.com/office/drawing/2014/main" id="{93512823-21CD-4F5B-9848-99426BD82650}"/>
                </a:ext>
              </a:extLst>
            </p:cNvPr>
            <p:cNvSpPr/>
            <p:nvPr/>
          </p:nvSpPr>
          <p:spPr>
            <a:xfrm>
              <a:off x="7007259" y="5183886"/>
              <a:ext cx="330231" cy="406431"/>
            </a:xfrm>
            <a:custGeom>
              <a:avLst/>
              <a:gdLst>
                <a:gd name="connsiteX0" fmla="*/ 3524 w 330231"/>
                <a:gd name="connsiteY0" fmla="*/ 388239 h 406431"/>
                <a:gd name="connsiteX1" fmla="*/ 49054 w 330231"/>
                <a:gd name="connsiteY1" fmla="*/ 352139 h 406431"/>
                <a:gd name="connsiteX2" fmla="*/ 57912 w 330231"/>
                <a:gd name="connsiteY2" fmla="*/ 309658 h 406431"/>
                <a:gd name="connsiteX3" fmla="*/ 86297 w 330231"/>
                <a:gd name="connsiteY3" fmla="*/ 152495 h 406431"/>
                <a:gd name="connsiteX4" fmla="*/ 98108 w 330231"/>
                <a:gd name="connsiteY4" fmla="*/ 68008 h 406431"/>
                <a:gd name="connsiteX5" fmla="*/ 101060 w 330231"/>
                <a:gd name="connsiteY5" fmla="*/ 37243 h 406431"/>
                <a:gd name="connsiteX6" fmla="*/ 80963 w 330231"/>
                <a:gd name="connsiteY6" fmla="*/ 23622 h 406431"/>
                <a:gd name="connsiteX7" fmla="*/ 47244 w 330231"/>
                <a:gd name="connsiteY7" fmla="*/ 20669 h 406431"/>
                <a:gd name="connsiteX8" fmla="*/ 50768 w 330231"/>
                <a:gd name="connsiteY8" fmla="*/ 0 h 406431"/>
                <a:gd name="connsiteX9" fmla="*/ 146495 w 330231"/>
                <a:gd name="connsiteY9" fmla="*/ 2953 h 406431"/>
                <a:gd name="connsiteX10" fmla="*/ 241649 w 330231"/>
                <a:gd name="connsiteY10" fmla="*/ 0 h 406431"/>
                <a:gd name="connsiteX11" fmla="*/ 238125 w 330231"/>
                <a:gd name="connsiteY11" fmla="*/ 20669 h 406431"/>
                <a:gd name="connsiteX12" fmla="*/ 194405 w 330231"/>
                <a:gd name="connsiteY12" fmla="*/ 24193 h 406431"/>
                <a:gd name="connsiteX13" fmla="*/ 187928 w 330231"/>
                <a:gd name="connsiteY13" fmla="*/ 27146 h 406431"/>
                <a:gd name="connsiteX14" fmla="*/ 176689 w 330231"/>
                <a:gd name="connsiteY14" fmla="*/ 58483 h 406431"/>
                <a:gd name="connsiteX15" fmla="*/ 165449 w 330231"/>
                <a:gd name="connsiteY15" fmla="*/ 124111 h 406431"/>
                <a:gd name="connsiteX16" fmla="*/ 161925 w 330231"/>
                <a:gd name="connsiteY16" fmla="*/ 143542 h 406431"/>
                <a:gd name="connsiteX17" fmla="*/ 135922 w 330231"/>
                <a:gd name="connsiteY17" fmla="*/ 289465 h 406431"/>
                <a:gd name="connsiteX18" fmla="*/ 134112 w 330231"/>
                <a:gd name="connsiteY18" fmla="*/ 302419 h 406431"/>
                <a:gd name="connsiteX19" fmla="*/ 122301 w 330231"/>
                <a:gd name="connsiteY19" fmla="*/ 373285 h 406431"/>
                <a:gd name="connsiteX20" fmla="*/ 202692 w 330231"/>
                <a:gd name="connsiteY20" fmla="*/ 375666 h 406431"/>
                <a:gd name="connsiteX21" fmla="*/ 256413 w 330231"/>
                <a:gd name="connsiteY21" fmla="*/ 372713 h 406431"/>
                <a:gd name="connsiteX22" fmla="*/ 282988 w 330231"/>
                <a:gd name="connsiteY22" fmla="*/ 364426 h 406431"/>
                <a:gd name="connsiteX23" fmla="*/ 292418 w 330231"/>
                <a:gd name="connsiteY23" fmla="*/ 347282 h 406431"/>
                <a:gd name="connsiteX24" fmla="*/ 297752 w 330231"/>
                <a:gd name="connsiteY24" fmla="*/ 331946 h 406431"/>
                <a:gd name="connsiteX25" fmla="*/ 308991 w 330231"/>
                <a:gd name="connsiteY25" fmla="*/ 299466 h 406431"/>
                <a:gd name="connsiteX26" fmla="*/ 330232 w 330231"/>
                <a:gd name="connsiteY26" fmla="*/ 300704 h 406431"/>
                <a:gd name="connsiteX27" fmla="*/ 308991 w 330231"/>
                <a:gd name="connsiteY27" fmla="*/ 403479 h 406431"/>
                <a:gd name="connsiteX28" fmla="*/ 296609 w 330231"/>
                <a:gd name="connsiteY28" fmla="*/ 406432 h 406431"/>
                <a:gd name="connsiteX29" fmla="*/ 109919 w 330231"/>
                <a:gd name="connsiteY29" fmla="*/ 403479 h 406431"/>
                <a:gd name="connsiteX30" fmla="*/ 0 w 330231"/>
                <a:gd name="connsiteY30" fmla="*/ 406432 h 406431"/>
                <a:gd name="connsiteX31" fmla="*/ 3524 w 330231"/>
                <a:gd name="connsiteY31" fmla="*/ 388144 h 40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30231" h="406431">
                  <a:moveTo>
                    <a:pt x="3524" y="388239"/>
                  </a:moveTo>
                  <a:cubicBezTo>
                    <a:pt x="38386" y="379381"/>
                    <a:pt x="41339" y="387668"/>
                    <a:pt x="49054" y="352139"/>
                  </a:cubicBezTo>
                  <a:lnTo>
                    <a:pt x="57912" y="309658"/>
                  </a:lnTo>
                  <a:lnTo>
                    <a:pt x="86297" y="152495"/>
                  </a:lnTo>
                  <a:lnTo>
                    <a:pt x="98108" y="68008"/>
                  </a:lnTo>
                  <a:cubicBezTo>
                    <a:pt x="99250" y="57341"/>
                    <a:pt x="101060" y="47911"/>
                    <a:pt x="101060" y="37243"/>
                  </a:cubicBezTo>
                  <a:cubicBezTo>
                    <a:pt x="101060" y="24860"/>
                    <a:pt x="89821" y="24860"/>
                    <a:pt x="80963" y="23622"/>
                  </a:cubicBezTo>
                  <a:lnTo>
                    <a:pt x="47244" y="20669"/>
                  </a:lnTo>
                  <a:lnTo>
                    <a:pt x="50768" y="0"/>
                  </a:lnTo>
                  <a:cubicBezTo>
                    <a:pt x="82106" y="1715"/>
                    <a:pt x="114014" y="2953"/>
                    <a:pt x="146495" y="2953"/>
                  </a:cubicBezTo>
                  <a:cubicBezTo>
                    <a:pt x="178975" y="2953"/>
                    <a:pt x="210312" y="1715"/>
                    <a:pt x="241649" y="0"/>
                  </a:cubicBezTo>
                  <a:lnTo>
                    <a:pt x="238125" y="20669"/>
                  </a:lnTo>
                  <a:cubicBezTo>
                    <a:pt x="223361" y="21907"/>
                    <a:pt x="208598" y="20669"/>
                    <a:pt x="194405" y="24193"/>
                  </a:cubicBezTo>
                  <a:cubicBezTo>
                    <a:pt x="192024" y="25336"/>
                    <a:pt x="190310" y="26003"/>
                    <a:pt x="187928" y="27146"/>
                  </a:cubicBezTo>
                  <a:cubicBezTo>
                    <a:pt x="180213" y="34862"/>
                    <a:pt x="179070" y="47816"/>
                    <a:pt x="176689" y="58483"/>
                  </a:cubicBezTo>
                  <a:lnTo>
                    <a:pt x="165449" y="124111"/>
                  </a:lnTo>
                  <a:lnTo>
                    <a:pt x="161925" y="143542"/>
                  </a:lnTo>
                  <a:lnTo>
                    <a:pt x="135922" y="289465"/>
                  </a:lnTo>
                  <a:lnTo>
                    <a:pt x="134112" y="302419"/>
                  </a:lnTo>
                  <a:lnTo>
                    <a:pt x="122301" y="373285"/>
                  </a:lnTo>
                  <a:cubicBezTo>
                    <a:pt x="148876" y="374428"/>
                    <a:pt x="175450" y="375666"/>
                    <a:pt x="202692" y="375666"/>
                  </a:cubicBezTo>
                  <a:cubicBezTo>
                    <a:pt x="220980" y="375666"/>
                    <a:pt x="238125" y="374523"/>
                    <a:pt x="256413" y="372713"/>
                  </a:cubicBezTo>
                  <a:cubicBezTo>
                    <a:pt x="265843" y="371570"/>
                    <a:pt x="275368" y="369761"/>
                    <a:pt x="282988" y="364426"/>
                  </a:cubicBezTo>
                  <a:cubicBezTo>
                    <a:pt x="288322" y="360331"/>
                    <a:pt x="290132" y="353187"/>
                    <a:pt x="292418" y="347282"/>
                  </a:cubicBezTo>
                  <a:lnTo>
                    <a:pt x="297752" y="331946"/>
                  </a:lnTo>
                  <a:lnTo>
                    <a:pt x="308991" y="299466"/>
                  </a:lnTo>
                  <a:lnTo>
                    <a:pt x="330232" y="300704"/>
                  </a:lnTo>
                  <a:cubicBezTo>
                    <a:pt x="321945" y="334994"/>
                    <a:pt x="314897" y="369189"/>
                    <a:pt x="308991" y="403479"/>
                  </a:cubicBezTo>
                  <a:cubicBezTo>
                    <a:pt x="306610" y="405194"/>
                    <a:pt x="304895" y="406432"/>
                    <a:pt x="296609" y="406432"/>
                  </a:cubicBezTo>
                  <a:cubicBezTo>
                    <a:pt x="205073" y="406432"/>
                    <a:pt x="157829" y="403479"/>
                    <a:pt x="109919" y="403479"/>
                  </a:cubicBezTo>
                  <a:cubicBezTo>
                    <a:pt x="73343" y="403479"/>
                    <a:pt x="36671" y="406432"/>
                    <a:pt x="0" y="406432"/>
                  </a:cubicBezTo>
                  <a:lnTo>
                    <a:pt x="3524" y="388144"/>
                  </a:lnTo>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4" name="Freeform: Shape 443">
              <a:extLst>
                <a:ext uri="{FF2B5EF4-FFF2-40B4-BE49-F238E27FC236}">
                  <a16:creationId xmlns:a16="http://schemas.microsoft.com/office/drawing/2014/main" id="{C188B57E-CBD8-4B24-974F-36AE1DFE0E55}"/>
                </a:ext>
              </a:extLst>
            </p:cNvPr>
            <p:cNvSpPr/>
            <p:nvPr/>
          </p:nvSpPr>
          <p:spPr>
            <a:xfrm>
              <a:off x="6316506" y="5184266"/>
              <a:ext cx="441388" cy="406595"/>
            </a:xfrm>
            <a:custGeom>
              <a:avLst/>
              <a:gdLst>
                <a:gd name="connsiteX0" fmla="*/ 130493 w 441388"/>
                <a:gd name="connsiteY0" fmla="*/ 302228 h 406595"/>
                <a:gd name="connsiteX1" fmla="*/ 121063 w 441388"/>
                <a:gd name="connsiteY1" fmla="*/ 357188 h 406595"/>
                <a:gd name="connsiteX2" fmla="*/ 118682 w 441388"/>
                <a:gd name="connsiteY2" fmla="*/ 368999 h 406595"/>
                <a:gd name="connsiteX3" fmla="*/ 125158 w 441388"/>
                <a:gd name="connsiteY3" fmla="*/ 370142 h 406595"/>
                <a:gd name="connsiteX4" fmla="*/ 158210 w 441388"/>
                <a:gd name="connsiteY4" fmla="*/ 374237 h 406595"/>
                <a:gd name="connsiteX5" fmla="*/ 203740 w 441388"/>
                <a:gd name="connsiteY5" fmla="*/ 378428 h 406595"/>
                <a:gd name="connsiteX6" fmla="*/ 334899 w 441388"/>
                <a:gd name="connsiteY6" fmla="*/ 280988 h 406595"/>
                <a:gd name="connsiteX7" fmla="*/ 359759 w 441388"/>
                <a:gd name="connsiteY7" fmla="*/ 150400 h 406595"/>
                <a:gd name="connsiteX8" fmla="*/ 291846 w 441388"/>
                <a:gd name="connsiteY8" fmla="*/ 34004 h 406595"/>
                <a:gd name="connsiteX9" fmla="*/ 218027 w 441388"/>
                <a:gd name="connsiteY9" fmla="*/ 29337 h 406595"/>
                <a:gd name="connsiteX10" fmla="*/ 179070 w 441388"/>
                <a:gd name="connsiteY10" fmla="*/ 30480 h 406595"/>
                <a:gd name="connsiteX11" fmla="*/ 176689 w 441388"/>
                <a:gd name="connsiteY11" fmla="*/ 44101 h 406595"/>
                <a:gd name="connsiteX12" fmla="*/ 136493 w 441388"/>
                <a:gd name="connsiteY12" fmla="*/ 264509 h 406595"/>
                <a:gd name="connsiteX13" fmla="*/ 130588 w 441388"/>
                <a:gd name="connsiteY13" fmla="*/ 302324 h 406595"/>
                <a:gd name="connsiteX14" fmla="*/ 0 w 441388"/>
                <a:gd name="connsiteY14" fmla="*/ 406337 h 406595"/>
                <a:gd name="connsiteX15" fmla="*/ 1810 w 441388"/>
                <a:gd name="connsiteY15" fmla="*/ 385667 h 406595"/>
                <a:gd name="connsiteX16" fmla="*/ 43148 w 441388"/>
                <a:gd name="connsiteY16" fmla="*/ 364427 h 406595"/>
                <a:gd name="connsiteX17" fmla="*/ 48482 w 441388"/>
                <a:gd name="connsiteY17" fmla="*/ 344329 h 406595"/>
                <a:gd name="connsiteX18" fmla="*/ 54388 w 441388"/>
                <a:gd name="connsiteY18" fmla="*/ 314230 h 406595"/>
                <a:gd name="connsiteX19" fmla="*/ 56197 w 441388"/>
                <a:gd name="connsiteY19" fmla="*/ 305372 h 406595"/>
                <a:gd name="connsiteX20" fmla="*/ 88678 w 441388"/>
                <a:gd name="connsiteY20" fmla="*/ 120491 h 406595"/>
                <a:gd name="connsiteX21" fmla="*/ 96965 w 441388"/>
                <a:gd name="connsiteY21" fmla="*/ 65532 h 406595"/>
                <a:gd name="connsiteX22" fmla="*/ 96965 w 441388"/>
                <a:gd name="connsiteY22" fmla="*/ 29528 h 406595"/>
                <a:gd name="connsiteX23" fmla="*/ 87535 w 441388"/>
                <a:gd name="connsiteY23" fmla="*/ 23051 h 406595"/>
                <a:gd name="connsiteX24" fmla="*/ 54483 w 441388"/>
                <a:gd name="connsiteY24" fmla="*/ 21241 h 406595"/>
                <a:gd name="connsiteX25" fmla="*/ 42672 w 441388"/>
                <a:gd name="connsiteY25" fmla="*/ 20669 h 406595"/>
                <a:gd name="connsiteX26" fmla="*/ 47339 w 441388"/>
                <a:gd name="connsiteY26" fmla="*/ 0 h 406595"/>
                <a:gd name="connsiteX27" fmla="*/ 132398 w 441388"/>
                <a:gd name="connsiteY27" fmla="*/ 2953 h 406595"/>
                <a:gd name="connsiteX28" fmla="*/ 254127 w 441388"/>
                <a:gd name="connsiteY28" fmla="*/ 0 h 406595"/>
                <a:gd name="connsiteX29" fmla="*/ 327374 w 441388"/>
                <a:gd name="connsiteY29" fmla="*/ 5906 h 406595"/>
                <a:gd name="connsiteX30" fmla="*/ 389954 w 441388"/>
                <a:gd name="connsiteY30" fmla="*/ 34290 h 406595"/>
                <a:gd name="connsiteX31" fmla="*/ 441388 w 441388"/>
                <a:gd name="connsiteY31" fmla="*/ 159544 h 406595"/>
                <a:gd name="connsiteX32" fmla="*/ 394716 w 441388"/>
                <a:gd name="connsiteY32" fmla="*/ 304324 h 406595"/>
                <a:gd name="connsiteX33" fmla="*/ 190881 w 441388"/>
                <a:gd name="connsiteY33" fmla="*/ 406527 h 406595"/>
                <a:gd name="connsiteX34" fmla="*/ 153638 w 441388"/>
                <a:gd name="connsiteY34" fmla="*/ 405289 h 406595"/>
                <a:gd name="connsiteX35" fmla="*/ 93917 w 441388"/>
                <a:gd name="connsiteY35" fmla="*/ 403574 h 406595"/>
                <a:gd name="connsiteX36" fmla="*/ 37814 w 441388"/>
                <a:gd name="connsiteY36" fmla="*/ 405289 h 406595"/>
                <a:gd name="connsiteX37" fmla="*/ 12383 w 441388"/>
                <a:gd name="connsiteY37" fmla="*/ 405289 h 406595"/>
                <a:gd name="connsiteX38" fmla="*/ 0 w 441388"/>
                <a:gd name="connsiteY38" fmla="*/ 406527 h 406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1388" h="406595">
                  <a:moveTo>
                    <a:pt x="130493" y="302228"/>
                  </a:moveTo>
                  <a:lnTo>
                    <a:pt x="121063" y="357188"/>
                  </a:lnTo>
                  <a:lnTo>
                    <a:pt x="118682" y="368999"/>
                  </a:lnTo>
                  <a:cubicBezTo>
                    <a:pt x="121063" y="368999"/>
                    <a:pt x="123444" y="368999"/>
                    <a:pt x="125158" y="370142"/>
                  </a:cubicBezTo>
                  <a:lnTo>
                    <a:pt x="158210" y="374237"/>
                  </a:lnTo>
                  <a:cubicBezTo>
                    <a:pt x="173546" y="376619"/>
                    <a:pt x="188309" y="378428"/>
                    <a:pt x="203740" y="378428"/>
                  </a:cubicBezTo>
                  <a:cubicBezTo>
                    <a:pt x="275844" y="378428"/>
                    <a:pt x="308896" y="345948"/>
                    <a:pt x="334899" y="280988"/>
                  </a:cubicBezTo>
                  <a:cubicBezTo>
                    <a:pt x="349663" y="243745"/>
                    <a:pt x="359759" y="190595"/>
                    <a:pt x="359759" y="150400"/>
                  </a:cubicBezTo>
                  <a:cubicBezTo>
                    <a:pt x="359759" y="105537"/>
                    <a:pt x="342614" y="44101"/>
                    <a:pt x="291846" y="34004"/>
                  </a:cubicBezTo>
                  <a:cubicBezTo>
                    <a:pt x="272987" y="29909"/>
                    <a:pt x="237458" y="29337"/>
                    <a:pt x="218027" y="29337"/>
                  </a:cubicBezTo>
                  <a:cubicBezTo>
                    <a:pt x="205073" y="29337"/>
                    <a:pt x="192024" y="29909"/>
                    <a:pt x="179070" y="30480"/>
                  </a:cubicBezTo>
                  <a:cubicBezTo>
                    <a:pt x="177927" y="34576"/>
                    <a:pt x="177260" y="39338"/>
                    <a:pt x="176689" y="44101"/>
                  </a:cubicBezTo>
                  <a:lnTo>
                    <a:pt x="136493" y="264509"/>
                  </a:lnTo>
                  <a:lnTo>
                    <a:pt x="130588" y="302324"/>
                  </a:lnTo>
                  <a:moveTo>
                    <a:pt x="0" y="406337"/>
                  </a:moveTo>
                  <a:lnTo>
                    <a:pt x="1810" y="385667"/>
                  </a:lnTo>
                  <a:cubicBezTo>
                    <a:pt x="18955" y="383858"/>
                    <a:pt x="37814" y="383858"/>
                    <a:pt x="43148" y="364427"/>
                  </a:cubicBezTo>
                  <a:cubicBezTo>
                    <a:pt x="45529" y="357950"/>
                    <a:pt x="46672" y="350806"/>
                    <a:pt x="48482" y="344329"/>
                  </a:cubicBezTo>
                  <a:lnTo>
                    <a:pt x="54388" y="314230"/>
                  </a:lnTo>
                  <a:lnTo>
                    <a:pt x="56197" y="305372"/>
                  </a:lnTo>
                  <a:lnTo>
                    <a:pt x="88678" y="120491"/>
                  </a:lnTo>
                  <a:lnTo>
                    <a:pt x="96965" y="65532"/>
                  </a:lnTo>
                  <a:cubicBezTo>
                    <a:pt x="98108" y="54293"/>
                    <a:pt x="101727" y="40672"/>
                    <a:pt x="96965" y="29528"/>
                  </a:cubicBezTo>
                  <a:cubicBezTo>
                    <a:pt x="95155" y="26003"/>
                    <a:pt x="91059" y="24194"/>
                    <a:pt x="87535" y="23051"/>
                  </a:cubicBezTo>
                  <a:cubicBezTo>
                    <a:pt x="76295" y="21908"/>
                    <a:pt x="65056" y="21908"/>
                    <a:pt x="54483" y="21241"/>
                  </a:cubicBezTo>
                  <a:lnTo>
                    <a:pt x="42672" y="20669"/>
                  </a:lnTo>
                  <a:lnTo>
                    <a:pt x="47339" y="0"/>
                  </a:lnTo>
                  <a:cubicBezTo>
                    <a:pt x="75724" y="572"/>
                    <a:pt x="104108" y="1715"/>
                    <a:pt x="132398" y="2953"/>
                  </a:cubicBezTo>
                  <a:cubicBezTo>
                    <a:pt x="172593" y="1715"/>
                    <a:pt x="213932" y="572"/>
                    <a:pt x="254127" y="0"/>
                  </a:cubicBezTo>
                  <a:cubicBezTo>
                    <a:pt x="278321" y="0"/>
                    <a:pt x="303181" y="0"/>
                    <a:pt x="327374" y="5906"/>
                  </a:cubicBezTo>
                  <a:cubicBezTo>
                    <a:pt x="348044" y="11240"/>
                    <a:pt x="372904" y="20098"/>
                    <a:pt x="389954" y="34290"/>
                  </a:cubicBezTo>
                  <a:cubicBezTo>
                    <a:pt x="428911" y="67342"/>
                    <a:pt x="441388" y="109919"/>
                    <a:pt x="441388" y="159544"/>
                  </a:cubicBezTo>
                  <a:cubicBezTo>
                    <a:pt x="441388" y="209169"/>
                    <a:pt x="422529" y="265271"/>
                    <a:pt x="394716" y="304324"/>
                  </a:cubicBezTo>
                  <a:cubicBezTo>
                    <a:pt x="346901" y="374047"/>
                    <a:pt x="274796" y="408337"/>
                    <a:pt x="190881" y="406527"/>
                  </a:cubicBezTo>
                  <a:lnTo>
                    <a:pt x="153638" y="405289"/>
                  </a:lnTo>
                  <a:cubicBezTo>
                    <a:pt x="133541" y="405289"/>
                    <a:pt x="113443" y="403574"/>
                    <a:pt x="93917" y="403574"/>
                  </a:cubicBezTo>
                  <a:cubicBezTo>
                    <a:pt x="74390" y="403574"/>
                    <a:pt x="56674" y="404146"/>
                    <a:pt x="37814" y="405289"/>
                  </a:cubicBezTo>
                  <a:lnTo>
                    <a:pt x="12383" y="405289"/>
                  </a:lnTo>
                  <a:lnTo>
                    <a:pt x="0" y="4065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5" name="Freeform: Shape 444">
              <a:extLst>
                <a:ext uri="{FF2B5EF4-FFF2-40B4-BE49-F238E27FC236}">
                  <a16:creationId xmlns:a16="http://schemas.microsoft.com/office/drawing/2014/main" id="{31D7A412-3BC5-45BD-A2C9-3C95671AC3BD}"/>
                </a:ext>
              </a:extLst>
            </p:cNvPr>
            <p:cNvSpPr/>
            <p:nvPr/>
          </p:nvSpPr>
          <p:spPr>
            <a:xfrm>
              <a:off x="7459316" y="5184171"/>
              <a:ext cx="31337" cy="30575"/>
            </a:xfrm>
            <a:custGeom>
              <a:avLst/>
              <a:gdLst>
                <a:gd name="connsiteX0" fmla="*/ 15812 w 31337"/>
                <a:gd name="connsiteY0" fmla="*/ 0 h 30575"/>
                <a:gd name="connsiteX1" fmla="*/ 31337 w 31337"/>
                <a:gd name="connsiteY1" fmla="*/ 15240 h 30575"/>
                <a:gd name="connsiteX2" fmla="*/ 15716 w 31337"/>
                <a:gd name="connsiteY2" fmla="*/ 30575 h 30575"/>
                <a:gd name="connsiteX3" fmla="*/ 0 w 31337"/>
                <a:gd name="connsiteY3" fmla="*/ 15240 h 30575"/>
                <a:gd name="connsiteX4" fmla="*/ 15716 w 31337"/>
                <a:gd name="connsiteY4" fmla="*/ 0 h 30575"/>
                <a:gd name="connsiteX5" fmla="*/ 15812 w 31337"/>
                <a:gd name="connsiteY5" fmla="*/ 0 h 30575"/>
                <a:gd name="connsiteX6" fmla="*/ 15621 w 31337"/>
                <a:gd name="connsiteY6" fmla="*/ 3048 h 30575"/>
                <a:gd name="connsiteX7" fmla="*/ 3905 w 31337"/>
                <a:gd name="connsiteY7" fmla="*/ 15240 h 30575"/>
                <a:gd name="connsiteX8" fmla="*/ 15812 w 31337"/>
                <a:gd name="connsiteY8" fmla="*/ 27432 h 30575"/>
                <a:gd name="connsiteX9" fmla="*/ 27432 w 31337"/>
                <a:gd name="connsiteY9" fmla="*/ 15240 h 30575"/>
                <a:gd name="connsiteX10" fmla="*/ 15716 w 31337"/>
                <a:gd name="connsiteY10" fmla="*/ 3048 h 30575"/>
                <a:gd name="connsiteX11" fmla="*/ 15716 w 31337"/>
                <a:gd name="connsiteY11" fmla="*/ 3048 h 30575"/>
                <a:gd name="connsiteX12" fmla="*/ 13240 w 31337"/>
                <a:gd name="connsiteY12" fmla="*/ 23146 h 30575"/>
                <a:gd name="connsiteX13" fmla="*/ 9716 w 31337"/>
                <a:gd name="connsiteY13" fmla="*/ 23146 h 30575"/>
                <a:gd name="connsiteX14" fmla="*/ 9716 w 31337"/>
                <a:gd name="connsiteY14" fmla="*/ 8001 h 30575"/>
                <a:gd name="connsiteX15" fmla="*/ 15621 w 31337"/>
                <a:gd name="connsiteY15" fmla="*/ 7430 h 30575"/>
                <a:gd name="connsiteX16" fmla="*/ 20955 w 31337"/>
                <a:gd name="connsiteY16" fmla="*/ 8668 h 30575"/>
                <a:gd name="connsiteX17" fmla="*/ 22479 w 31337"/>
                <a:gd name="connsiteY17" fmla="*/ 11906 h 30575"/>
                <a:gd name="connsiteX18" fmla="*/ 19336 w 31337"/>
                <a:gd name="connsiteY18" fmla="*/ 15526 h 30575"/>
                <a:gd name="connsiteX19" fmla="*/ 19336 w 31337"/>
                <a:gd name="connsiteY19" fmla="*/ 15716 h 30575"/>
                <a:gd name="connsiteX20" fmla="*/ 22098 w 31337"/>
                <a:gd name="connsiteY20" fmla="*/ 19431 h 30575"/>
                <a:gd name="connsiteX21" fmla="*/ 23241 w 31337"/>
                <a:gd name="connsiteY21" fmla="*/ 23146 h 30575"/>
                <a:gd name="connsiteX22" fmla="*/ 19431 w 31337"/>
                <a:gd name="connsiteY22" fmla="*/ 23146 h 30575"/>
                <a:gd name="connsiteX23" fmla="*/ 18193 w 31337"/>
                <a:gd name="connsiteY23" fmla="*/ 19526 h 30575"/>
                <a:gd name="connsiteX24" fmla="*/ 15050 w 31337"/>
                <a:gd name="connsiteY24" fmla="*/ 17145 h 30575"/>
                <a:gd name="connsiteX25" fmla="*/ 13335 w 31337"/>
                <a:gd name="connsiteY25" fmla="*/ 17145 h 30575"/>
                <a:gd name="connsiteX26" fmla="*/ 13335 w 31337"/>
                <a:gd name="connsiteY26" fmla="*/ 23241 h 30575"/>
                <a:gd name="connsiteX27" fmla="*/ 13240 w 31337"/>
                <a:gd name="connsiteY27" fmla="*/ 14573 h 30575"/>
                <a:gd name="connsiteX28" fmla="*/ 14954 w 31337"/>
                <a:gd name="connsiteY28" fmla="*/ 14573 h 30575"/>
                <a:gd name="connsiteX29" fmla="*/ 18479 w 31337"/>
                <a:gd name="connsiteY29" fmla="*/ 12383 h 30575"/>
                <a:gd name="connsiteX30" fmla="*/ 15240 w 31337"/>
                <a:gd name="connsiteY30" fmla="*/ 10097 h 30575"/>
                <a:gd name="connsiteX31" fmla="*/ 13240 w 31337"/>
                <a:gd name="connsiteY31" fmla="*/ 10287 h 30575"/>
                <a:gd name="connsiteX32" fmla="*/ 13240 w 31337"/>
                <a:gd name="connsiteY32" fmla="*/ 14669 h 30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1337" h="30575">
                  <a:moveTo>
                    <a:pt x="15812" y="0"/>
                  </a:moveTo>
                  <a:cubicBezTo>
                    <a:pt x="24575" y="0"/>
                    <a:pt x="31337" y="6763"/>
                    <a:pt x="31337" y="15240"/>
                  </a:cubicBezTo>
                  <a:cubicBezTo>
                    <a:pt x="31337" y="23717"/>
                    <a:pt x="24575" y="30575"/>
                    <a:pt x="15716" y="30575"/>
                  </a:cubicBezTo>
                  <a:cubicBezTo>
                    <a:pt x="6858" y="30575"/>
                    <a:pt x="0" y="23908"/>
                    <a:pt x="0" y="15240"/>
                  </a:cubicBezTo>
                  <a:cubicBezTo>
                    <a:pt x="0" y="6572"/>
                    <a:pt x="6953" y="0"/>
                    <a:pt x="15716" y="0"/>
                  </a:cubicBezTo>
                  <a:lnTo>
                    <a:pt x="15812" y="0"/>
                  </a:lnTo>
                  <a:close/>
                  <a:moveTo>
                    <a:pt x="15621" y="3048"/>
                  </a:moveTo>
                  <a:cubicBezTo>
                    <a:pt x="8954" y="3048"/>
                    <a:pt x="3905" y="8573"/>
                    <a:pt x="3905" y="15240"/>
                  </a:cubicBezTo>
                  <a:cubicBezTo>
                    <a:pt x="3905" y="21908"/>
                    <a:pt x="8954" y="27432"/>
                    <a:pt x="15812" y="27432"/>
                  </a:cubicBezTo>
                  <a:cubicBezTo>
                    <a:pt x="22479" y="27432"/>
                    <a:pt x="27432" y="22003"/>
                    <a:pt x="27432" y="15240"/>
                  </a:cubicBezTo>
                  <a:cubicBezTo>
                    <a:pt x="27432" y="8477"/>
                    <a:pt x="22479" y="3048"/>
                    <a:pt x="15716" y="3048"/>
                  </a:cubicBezTo>
                  <a:lnTo>
                    <a:pt x="15716" y="3048"/>
                  </a:lnTo>
                  <a:close/>
                  <a:moveTo>
                    <a:pt x="13240" y="23146"/>
                  </a:moveTo>
                  <a:lnTo>
                    <a:pt x="9716" y="23146"/>
                  </a:lnTo>
                  <a:lnTo>
                    <a:pt x="9716" y="8001"/>
                  </a:lnTo>
                  <a:cubicBezTo>
                    <a:pt x="11144" y="7715"/>
                    <a:pt x="13049" y="7430"/>
                    <a:pt x="15621" y="7430"/>
                  </a:cubicBezTo>
                  <a:cubicBezTo>
                    <a:pt x="18479" y="7430"/>
                    <a:pt x="19812" y="7906"/>
                    <a:pt x="20955" y="8668"/>
                  </a:cubicBezTo>
                  <a:cubicBezTo>
                    <a:pt x="21812" y="9335"/>
                    <a:pt x="22479" y="10573"/>
                    <a:pt x="22479" y="11906"/>
                  </a:cubicBezTo>
                  <a:cubicBezTo>
                    <a:pt x="22479" y="13716"/>
                    <a:pt x="21146" y="14954"/>
                    <a:pt x="19336" y="15526"/>
                  </a:cubicBezTo>
                  <a:lnTo>
                    <a:pt x="19336" y="15716"/>
                  </a:lnTo>
                  <a:cubicBezTo>
                    <a:pt x="20860" y="16193"/>
                    <a:pt x="21622" y="17431"/>
                    <a:pt x="22098" y="19431"/>
                  </a:cubicBezTo>
                  <a:cubicBezTo>
                    <a:pt x="22574" y="21717"/>
                    <a:pt x="22860" y="22670"/>
                    <a:pt x="23241" y="23146"/>
                  </a:cubicBezTo>
                  <a:lnTo>
                    <a:pt x="19431" y="23146"/>
                  </a:lnTo>
                  <a:cubicBezTo>
                    <a:pt x="18955" y="22574"/>
                    <a:pt x="18669" y="21241"/>
                    <a:pt x="18193" y="19526"/>
                  </a:cubicBezTo>
                  <a:cubicBezTo>
                    <a:pt x="17907" y="17812"/>
                    <a:pt x="16954" y="17145"/>
                    <a:pt x="15050" y="17145"/>
                  </a:cubicBezTo>
                  <a:lnTo>
                    <a:pt x="13335" y="17145"/>
                  </a:lnTo>
                  <a:lnTo>
                    <a:pt x="13335" y="23241"/>
                  </a:lnTo>
                  <a:close/>
                  <a:moveTo>
                    <a:pt x="13240" y="14573"/>
                  </a:moveTo>
                  <a:lnTo>
                    <a:pt x="14954" y="14573"/>
                  </a:lnTo>
                  <a:cubicBezTo>
                    <a:pt x="16859" y="14573"/>
                    <a:pt x="18479" y="13907"/>
                    <a:pt x="18479" y="12383"/>
                  </a:cubicBezTo>
                  <a:cubicBezTo>
                    <a:pt x="18479" y="10954"/>
                    <a:pt x="17431" y="10097"/>
                    <a:pt x="15240" y="10097"/>
                  </a:cubicBezTo>
                  <a:cubicBezTo>
                    <a:pt x="14288" y="10097"/>
                    <a:pt x="13716" y="10192"/>
                    <a:pt x="13240" y="10287"/>
                  </a:cubicBezTo>
                  <a:lnTo>
                    <a:pt x="13240" y="1466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46" name="Group 445">
            <a:extLst>
              <a:ext uri="{FF2B5EF4-FFF2-40B4-BE49-F238E27FC236}">
                <a16:creationId xmlns:a16="http://schemas.microsoft.com/office/drawing/2014/main" id="{BDD90CE2-F9D3-40D0-B6FA-BF6E1091C962}"/>
              </a:ext>
            </a:extLst>
          </p:cNvPr>
          <p:cNvGrpSpPr/>
          <p:nvPr userDrawn="1"/>
        </p:nvGrpSpPr>
        <p:grpSpPr>
          <a:xfrm>
            <a:off x="7895882" y="3596128"/>
            <a:ext cx="1326038" cy="202394"/>
            <a:chOff x="8420386" y="5121329"/>
            <a:chExt cx="2725509" cy="415997"/>
          </a:xfrm>
        </p:grpSpPr>
        <p:sp>
          <p:nvSpPr>
            <p:cNvPr id="447" name="Freeform: Shape 446">
              <a:extLst>
                <a:ext uri="{FF2B5EF4-FFF2-40B4-BE49-F238E27FC236}">
                  <a16:creationId xmlns:a16="http://schemas.microsoft.com/office/drawing/2014/main" id="{5B5A534A-E272-4F20-934F-0FE7DDB294CD}"/>
                </a:ext>
              </a:extLst>
            </p:cNvPr>
            <p:cNvSpPr/>
            <p:nvPr/>
          </p:nvSpPr>
          <p:spPr>
            <a:xfrm>
              <a:off x="9083870" y="5121329"/>
              <a:ext cx="1956662" cy="322807"/>
            </a:xfrm>
            <a:custGeom>
              <a:avLst/>
              <a:gdLst>
                <a:gd name="connsiteX0" fmla="*/ 1800907 w 1956662"/>
                <a:gd name="connsiteY0" fmla="*/ 65292 h 322807"/>
                <a:gd name="connsiteX1" fmla="*/ 1800907 w 1956662"/>
                <a:gd name="connsiteY1" fmla="*/ 187014 h 322807"/>
                <a:gd name="connsiteX2" fmla="*/ 1805776 w 1956662"/>
                <a:gd name="connsiteY2" fmla="*/ 210190 h 322807"/>
                <a:gd name="connsiteX3" fmla="*/ 1825495 w 1956662"/>
                <a:gd name="connsiteY3" fmla="*/ 215887 h 322807"/>
                <a:gd name="connsiteX4" fmla="*/ 1849060 w 1956662"/>
                <a:gd name="connsiteY4" fmla="*/ 215887 h 322807"/>
                <a:gd name="connsiteX5" fmla="*/ 1862498 w 1956662"/>
                <a:gd name="connsiteY5" fmla="*/ 211310 h 322807"/>
                <a:gd name="connsiteX6" fmla="*/ 1865614 w 1956662"/>
                <a:gd name="connsiteY6" fmla="*/ 188329 h 322807"/>
                <a:gd name="connsiteX7" fmla="*/ 1865614 w 1956662"/>
                <a:gd name="connsiteY7" fmla="*/ 111985 h 322807"/>
                <a:gd name="connsiteX8" fmla="*/ 1864203 w 1956662"/>
                <a:gd name="connsiteY8" fmla="*/ 82284 h 322807"/>
                <a:gd name="connsiteX9" fmla="*/ 1858068 w 1956662"/>
                <a:gd name="connsiteY9" fmla="*/ 65292 h 322807"/>
                <a:gd name="connsiteX10" fmla="*/ 1956468 w 1956662"/>
                <a:gd name="connsiteY10" fmla="*/ 65292 h 322807"/>
                <a:gd name="connsiteX11" fmla="*/ 1956468 w 1956662"/>
                <a:gd name="connsiteY11" fmla="*/ 251089 h 322807"/>
                <a:gd name="connsiteX12" fmla="*/ 1956663 w 1956662"/>
                <a:gd name="connsiteY12" fmla="*/ 263553 h 322807"/>
                <a:gd name="connsiteX13" fmla="*/ 1931296 w 1956662"/>
                <a:gd name="connsiteY13" fmla="*/ 316722 h 322807"/>
                <a:gd name="connsiteX14" fmla="*/ 1915131 w 1956662"/>
                <a:gd name="connsiteY14" fmla="*/ 321493 h 322807"/>
                <a:gd name="connsiteX15" fmla="*/ 1873551 w 1956662"/>
                <a:gd name="connsiteY15" fmla="*/ 322808 h 322807"/>
                <a:gd name="connsiteX16" fmla="*/ 1722566 w 1956662"/>
                <a:gd name="connsiteY16" fmla="*/ 322808 h 322807"/>
                <a:gd name="connsiteX17" fmla="*/ 1715458 w 1956662"/>
                <a:gd name="connsiteY17" fmla="*/ 279182 h 322807"/>
                <a:gd name="connsiteX18" fmla="*/ 1733375 w 1956662"/>
                <a:gd name="connsiteY18" fmla="*/ 286048 h 322807"/>
                <a:gd name="connsiteX19" fmla="*/ 1763611 w 1956662"/>
                <a:gd name="connsiteY19" fmla="*/ 287654 h 322807"/>
                <a:gd name="connsiteX20" fmla="*/ 1845116 w 1956662"/>
                <a:gd name="connsiteY20" fmla="*/ 287654 h 322807"/>
                <a:gd name="connsiteX21" fmla="*/ 1861817 w 1956662"/>
                <a:gd name="connsiteY21" fmla="*/ 282883 h 322807"/>
                <a:gd name="connsiteX22" fmla="*/ 1865712 w 1956662"/>
                <a:gd name="connsiteY22" fmla="*/ 262482 h 322807"/>
                <a:gd name="connsiteX23" fmla="*/ 1865712 w 1956662"/>
                <a:gd name="connsiteY23" fmla="*/ 238868 h 322807"/>
                <a:gd name="connsiteX24" fmla="*/ 1853783 w 1956662"/>
                <a:gd name="connsiteY24" fmla="*/ 248460 h 322807"/>
                <a:gd name="connsiteX25" fmla="*/ 1830948 w 1956662"/>
                <a:gd name="connsiteY25" fmla="*/ 251040 h 322807"/>
                <a:gd name="connsiteX26" fmla="*/ 1778023 w 1956662"/>
                <a:gd name="connsiteY26" fmla="*/ 251040 h 322807"/>
                <a:gd name="connsiteX27" fmla="*/ 1745255 w 1956662"/>
                <a:gd name="connsiteY27" fmla="*/ 247340 h 322807"/>
                <a:gd name="connsiteX28" fmla="*/ 1725244 w 1956662"/>
                <a:gd name="connsiteY28" fmla="*/ 233220 h 322807"/>
                <a:gd name="connsiteX29" fmla="*/ 1712975 w 1956662"/>
                <a:gd name="connsiteY29" fmla="*/ 211700 h 322807"/>
                <a:gd name="connsiteX30" fmla="*/ 1710151 w 1956662"/>
                <a:gd name="connsiteY30" fmla="*/ 176351 h 322807"/>
                <a:gd name="connsiteX31" fmla="*/ 1710151 w 1956662"/>
                <a:gd name="connsiteY31" fmla="*/ 111985 h 322807"/>
                <a:gd name="connsiteX32" fmla="*/ 1708739 w 1956662"/>
                <a:gd name="connsiteY32" fmla="*/ 82284 h 322807"/>
                <a:gd name="connsiteX33" fmla="*/ 1702604 w 1956662"/>
                <a:gd name="connsiteY33" fmla="*/ 65292 h 322807"/>
                <a:gd name="connsiteX34" fmla="*/ 1801004 w 1956662"/>
                <a:gd name="connsiteY34" fmla="*/ 65292 h 322807"/>
                <a:gd name="connsiteX35" fmla="*/ 1585848 w 1956662"/>
                <a:gd name="connsiteY35" fmla="*/ 160966 h 322807"/>
                <a:gd name="connsiteX36" fmla="*/ 1542076 w 1956662"/>
                <a:gd name="connsiteY36" fmla="*/ 160966 h 322807"/>
                <a:gd name="connsiteX37" fmla="*/ 1525279 w 1956662"/>
                <a:gd name="connsiteY37" fmla="*/ 166029 h 322807"/>
                <a:gd name="connsiteX38" fmla="*/ 1520702 w 1956662"/>
                <a:gd name="connsiteY38" fmla="*/ 184531 h 322807"/>
                <a:gd name="connsiteX39" fmla="*/ 1520702 w 1956662"/>
                <a:gd name="connsiteY39" fmla="*/ 192565 h 322807"/>
                <a:gd name="connsiteX40" fmla="*/ 1525279 w 1956662"/>
                <a:gd name="connsiteY40" fmla="*/ 210920 h 322807"/>
                <a:gd name="connsiteX41" fmla="*/ 1542076 w 1956662"/>
                <a:gd name="connsiteY41" fmla="*/ 215935 h 322807"/>
                <a:gd name="connsiteX42" fmla="*/ 1564278 w 1956662"/>
                <a:gd name="connsiteY42" fmla="*/ 215935 h 322807"/>
                <a:gd name="connsiteX43" fmla="*/ 1581222 w 1956662"/>
                <a:gd name="connsiteY43" fmla="*/ 210920 h 322807"/>
                <a:gd name="connsiteX44" fmla="*/ 1585799 w 1956662"/>
                <a:gd name="connsiteY44" fmla="*/ 192565 h 322807"/>
                <a:gd name="connsiteX45" fmla="*/ 1585799 w 1956662"/>
                <a:gd name="connsiteY45" fmla="*/ 160966 h 322807"/>
                <a:gd name="connsiteX46" fmla="*/ 1444601 w 1956662"/>
                <a:gd name="connsiteY46" fmla="*/ 65292 h 322807"/>
                <a:gd name="connsiteX47" fmla="*/ 1613795 w 1956662"/>
                <a:gd name="connsiteY47" fmla="*/ 65292 h 322807"/>
                <a:gd name="connsiteX48" fmla="*/ 1642035 w 1956662"/>
                <a:gd name="connsiteY48" fmla="*/ 67921 h 322807"/>
                <a:gd name="connsiteX49" fmla="*/ 1659952 w 1956662"/>
                <a:gd name="connsiteY49" fmla="*/ 78730 h 322807"/>
                <a:gd name="connsiteX50" fmla="*/ 1676701 w 1956662"/>
                <a:gd name="connsiteY50" fmla="*/ 118460 h 322807"/>
                <a:gd name="connsiteX51" fmla="*/ 1676701 w 1956662"/>
                <a:gd name="connsiteY51" fmla="*/ 204542 h 322807"/>
                <a:gd name="connsiteX52" fmla="*/ 1678065 w 1956662"/>
                <a:gd name="connsiteY52" fmla="*/ 234048 h 322807"/>
                <a:gd name="connsiteX53" fmla="*/ 1684199 w 1956662"/>
                <a:gd name="connsiteY53" fmla="*/ 251089 h 322807"/>
                <a:gd name="connsiteX54" fmla="*/ 1593930 w 1956662"/>
                <a:gd name="connsiteY54" fmla="*/ 251089 h 322807"/>
                <a:gd name="connsiteX55" fmla="*/ 1588380 w 1956662"/>
                <a:gd name="connsiteY55" fmla="*/ 231370 h 322807"/>
                <a:gd name="connsiteX56" fmla="*/ 1577327 w 1956662"/>
                <a:gd name="connsiteY56" fmla="*/ 246317 h 322807"/>
                <a:gd name="connsiteX57" fmla="*/ 1554930 w 1956662"/>
                <a:gd name="connsiteY57" fmla="*/ 251089 h 322807"/>
                <a:gd name="connsiteX58" fmla="*/ 1487058 w 1956662"/>
                <a:gd name="connsiteY58" fmla="*/ 251089 h 322807"/>
                <a:gd name="connsiteX59" fmla="*/ 1460961 w 1956662"/>
                <a:gd name="connsiteY59" fmla="*/ 248898 h 322807"/>
                <a:gd name="connsiteX60" fmla="*/ 1444552 w 1956662"/>
                <a:gd name="connsiteY60" fmla="*/ 240816 h 322807"/>
                <a:gd name="connsiteX61" fmla="*/ 1433451 w 1956662"/>
                <a:gd name="connsiteY61" fmla="*/ 224748 h 322807"/>
                <a:gd name="connsiteX62" fmla="*/ 1429897 w 1956662"/>
                <a:gd name="connsiteY62" fmla="*/ 200160 h 322807"/>
                <a:gd name="connsiteX63" fmla="*/ 1429897 w 1956662"/>
                <a:gd name="connsiteY63" fmla="*/ 168756 h 322807"/>
                <a:gd name="connsiteX64" fmla="*/ 1442021 w 1956662"/>
                <a:gd name="connsiteY64" fmla="*/ 136913 h 322807"/>
                <a:gd name="connsiteX65" fmla="*/ 1477174 w 1956662"/>
                <a:gd name="connsiteY65" fmla="*/ 125861 h 322807"/>
                <a:gd name="connsiteX66" fmla="*/ 1563646 w 1956662"/>
                <a:gd name="connsiteY66" fmla="*/ 125861 h 322807"/>
                <a:gd name="connsiteX67" fmla="*/ 1578934 w 1956662"/>
                <a:gd name="connsiteY67" fmla="*/ 124546 h 322807"/>
                <a:gd name="connsiteX68" fmla="*/ 1585507 w 1956662"/>
                <a:gd name="connsiteY68" fmla="*/ 112423 h 322807"/>
                <a:gd name="connsiteX69" fmla="*/ 1581368 w 1956662"/>
                <a:gd name="connsiteY69" fmla="*/ 103026 h 322807"/>
                <a:gd name="connsiteX70" fmla="*/ 1565690 w 1956662"/>
                <a:gd name="connsiteY70" fmla="*/ 100494 h 322807"/>
                <a:gd name="connsiteX71" fmla="*/ 1477417 w 1956662"/>
                <a:gd name="connsiteY71" fmla="*/ 100494 h 322807"/>
                <a:gd name="connsiteX72" fmla="*/ 1438466 w 1956662"/>
                <a:gd name="connsiteY72" fmla="*/ 109355 h 322807"/>
                <a:gd name="connsiteX73" fmla="*/ 1444698 w 1956662"/>
                <a:gd name="connsiteY73" fmla="*/ 65341 h 322807"/>
                <a:gd name="connsiteX74" fmla="*/ 1207875 w 1956662"/>
                <a:gd name="connsiteY74" fmla="*/ 65292 h 322807"/>
                <a:gd name="connsiteX75" fmla="*/ 1317133 w 1956662"/>
                <a:gd name="connsiteY75" fmla="*/ 65292 h 322807"/>
                <a:gd name="connsiteX76" fmla="*/ 1346980 w 1956662"/>
                <a:gd name="connsiteY76" fmla="*/ 179467 h 322807"/>
                <a:gd name="connsiteX77" fmla="*/ 1363485 w 1956662"/>
                <a:gd name="connsiteY77" fmla="*/ 112131 h 322807"/>
                <a:gd name="connsiteX78" fmla="*/ 1366991 w 1956662"/>
                <a:gd name="connsiteY78" fmla="*/ 85644 h 322807"/>
                <a:gd name="connsiteX79" fmla="*/ 1363534 w 1956662"/>
                <a:gd name="connsiteY79" fmla="*/ 65243 h 322807"/>
                <a:gd name="connsiteX80" fmla="*/ 1420354 w 1956662"/>
                <a:gd name="connsiteY80" fmla="*/ 65243 h 322807"/>
                <a:gd name="connsiteX81" fmla="*/ 1409058 w 1956662"/>
                <a:gd name="connsiteY81" fmla="*/ 79850 h 322807"/>
                <a:gd name="connsiteX82" fmla="*/ 1401414 w 1956662"/>
                <a:gd name="connsiteY82" fmla="*/ 103172 h 322807"/>
                <a:gd name="connsiteX83" fmla="*/ 1363534 w 1956662"/>
                <a:gd name="connsiteY83" fmla="*/ 251040 h 322807"/>
                <a:gd name="connsiteX84" fmla="*/ 1270441 w 1956662"/>
                <a:gd name="connsiteY84" fmla="*/ 251040 h 322807"/>
                <a:gd name="connsiteX85" fmla="*/ 1233096 w 1956662"/>
                <a:gd name="connsiteY85" fmla="*/ 108333 h 322807"/>
                <a:gd name="connsiteX86" fmla="*/ 1196677 w 1956662"/>
                <a:gd name="connsiteY86" fmla="*/ 251040 h 322807"/>
                <a:gd name="connsiteX87" fmla="*/ 1103048 w 1956662"/>
                <a:gd name="connsiteY87" fmla="*/ 251040 h 322807"/>
                <a:gd name="connsiteX88" fmla="*/ 1063853 w 1956662"/>
                <a:gd name="connsiteY88" fmla="*/ 96696 h 322807"/>
                <a:gd name="connsiteX89" fmla="*/ 1058303 w 1956662"/>
                <a:gd name="connsiteY89" fmla="*/ 80239 h 322807"/>
                <a:gd name="connsiteX90" fmla="*/ 1049831 w 1956662"/>
                <a:gd name="connsiteY90" fmla="*/ 65243 h 322807"/>
                <a:gd name="connsiteX91" fmla="*/ 1161329 w 1956662"/>
                <a:gd name="connsiteY91" fmla="*/ 65243 h 322807"/>
                <a:gd name="connsiteX92" fmla="*/ 1157628 w 1956662"/>
                <a:gd name="connsiteY92" fmla="*/ 84183 h 322807"/>
                <a:gd name="connsiteX93" fmla="*/ 1161329 w 1956662"/>
                <a:gd name="connsiteY93" fmla="*/ 108333 h 322807"/>
                <a:gd name="connsiteX94" fmla="*/ 1178954 w 1956662"/>
                <a:gd name="connsiteY94" fmla="*/ 179467 h 322807"/>
                <a:gd name="connsiteX95" fmla="*/ 1207827 w 1956662"/>
                <a:gd name="connsiteY95" fmla="*/ 65292 h 322807"/>
                <a:gd name="connsiteX96" fmla="*/ 878835 w 1956662"/>
                <a:gd name="connsiteY96" fmla="*/ 0 h 322807"/>
                <a:gd name="connsiteX97" fmla="*/ 878835 w 1956662"/>
                <a:gd name="connsiteY97" fmla="*/ 76539 h 322807"/>
                <a:gd name="connsiteX98" fmla="*/ 901525 w 1956662"/>
                <a:gd name="connsiteY98" fmla="*/ 65341 h 322807"/>
                <a:gd name="connsiteX99" fmla="*/ 973243 w 1956662"/>
                <a:gd name="connsiteY99" fmla="*/ 65341 h 322807"/>
                <a:gd name="connsiteX100" fmla="*/ 1001240 w 1956662"/>
                <a:gd name="connsiteY100" fmla="*/ 68651 h 322807"/>
                <a:gd name="connsiteX101" fmla="*/ 1019644 w 1956662"/>
                <a:gd name="connsiteY101" fmla="*/ 80191 h 322807"/>
                <a:gd name="connsiteX102" fmla="*/ 1033959 w 1956662"/>
                <a:gd name="connsiteY102" fmla="*/ 121430 h 322807"/>
                <a:gd name="connsiteX103" fmla="*/ 1033959 w 1956662"/>
                <a:gd name="connsiteY103" fmla="*/ 204396 h 322807"/>
                <a:gd name="connsiteX104" fmla="*/ 1035371 w 1956662"/>
                <a:gd name="connsiteY104" fmla="*/ 234096 h 322807"/>
                <a:gd name="connsiteX105" fmla="*/ 1041505 w 1956662"/>
                <a:gd name="connsiteY105" fmla="*/ 251138 h 322807"/>
                <a:gd name="connsiteX106" fmla="*/ 935607 w 1956662"/>
                <a:gd name="connsiteY106" fmla="*/ 251138 h 322807"/>
                <a:gd name="connsiteX107" fmla="*/ 941742 w 1956662"/>
                <a:gd name="connsiteY107" fmla="*/ 234096 h 322807"/>
                <a:gd name="connsiteX108" fmla="*/ 943105 w 1956662"/>
                <a:gd name="connsiteY108" fmla="*/ 204396 h 322807"/>
                <a:gd name="connsiteX109" fmla="*/ 943105 w 1956662"/>
                <a:gd name="connsiteY109" fmla="*/ 122501 h 322807"/>
                <a:gd name="connsiteX110" fmla="*/ 922363 w 1956662"/>
                <a:gd name="connsiteY110" fmla="*/ 100445 h 322807"/>
                <a:gd name="connsiteX111" fmla="*/ 897483 w 1956662"/>
                <a:gd name="connsiteY111" fmla="*/ 100445 h 322807"/>
                <a:gd name="connsiteX112" fmla="*/ 883218 w 1956662"/>
                <a:gd name="connsiteY112" fmla="*/ 105217 h 322807"/>
                <a:gd name="connsiteX113" fmla="*/ 878884 w 1956662"/>
                <a:gd name="connsiteY113" fmla="*/ 120846 h 322807"/>
                <a:gd name="connsiteX114" fmla="*/ 878884 w 1956662"/>
                <a:gd name="connsiteY114" fmla="*/ 204347 h 322807"/>
                <a:gd name="connsiteX115" fmla="*/ 880247 w 1956662"/>
                <a:gd name="connsiteY115" fmla="*/ 234048 h 322807"/>
                <a:gd name="connsiteX116" fmla="*/ 886431 w 1956662"/>
                <a:gd name="connsiteY116" fmla="*/ 251089 h 322807"/>
                <a:gd name="connsiteX117" fmla="*/ 780532 w 1956662"/>
                <a:gd name="connsiteY117" fmla="*/ 251089 h 322807"/>
                <a:gd name="connsiteX118" fmla="*/ 786667 w 1956662"/>
                <a:gd name="connsiteY118" fmla="*/ 234048 h 322807"/>
                <a:gd name="connsiteX119" fmla="*/ 788079 w 1956662"/>
                <a:gd name="connsiteY119" fmla="*/ 204347 h 322807"/>
                <a:gd name="connsiteX120" fmla="*/ 788079 w 1956662"/>
                <a:gd name="connsiteY120" fmla="*/ 46693 h 322807"/>
                <a:gd name="connsiteX121" fmla="*/ 786667 w 1956662"/>
                <a:gd name="connsiteY121" fmla="*/ 16992 h 322807"/>
                <a:gd name="connsiteX122" fmla="*/ 780532 w 1956662"/>
                <a:gd name="connsiteY122" fmla="*/ 0 h 322807"/>
                <a:gd name="connsiteX123" fmla="*/ 878884 w 1956662"/>
                <a:gd name="connsiteY123" fmla="*/ 0 h 322807"/>
                <a:gd name="connsiteX124" fmla="*/ 755214 w 1956662"/>
                <a:gd name="connsiteY124" fmla="*/ 65292 h 322807"/>
                <a:gd name="connsiteX125" fmla="*/ 755214 w 1956662"/>
                <a:gd name="connsiteY125" fmla="*/ 100445 h 322807"/>
                <a:gd name="connsiteX126" fmla="*/ 678334 w 1956662"/>
                <a:gd name="connsiteY126" fmla="*/ 100445 h 322807"/>
                <a:gd name="connsiteX127" fmla="*/ 678334 w 1956662"/>
                <a:gd name="connsiteY127" fmla="*/ 186722 h 322807"/>
                <a:gd name="connsiteX128" fmla="*/ 679259 w 1956662"/>
                <a:gd name="connsiteY128" fmla="*/ 203374 h 322807"/>
                <a:gd name="connsiteX129" fmla="*/ 683106 w 1956662"/>
                <a:gd name="connsiteY129" fmla="*/ 210969 h 322807"/>
                <a:gd name="connsiteX130" fmla="*/ 705211 w 1956662"/>
                <a:gd name="connsiteY130" fmla="*/ 215935 h 322807"/>
                <a:gd name="connsiteX131" fmla="*/ 729799 w 1956662"/>
                <a:gd name="connsiteY131" fmla="*/ 215935 h 322807"/>
                <a:gd name="connsiteX132" fmla="*/ 766413 w 1956662"/>
                <a:gd name="connsiteY132" fmla="*/ 206003 h 322807"/>
                <a:gd name="connsiteX133" fmla="*/ 759450 w 1956662"/>
                <a:gd name="connsiteY133" fmla="*/ 251089 h 322807"/>
                <a:gd name="connsiteX134" fmla="*/ 663241 w 1956662"/>
                <a:gd name="connsiteY134" fmla="*/ 251089 h 322807"/>
                <a:gd name="connsiteX135" fmla="*/ 623316 w 1956662"/>
                <a:gd name="connsiteY135" fmla="*/ 248119 h 322807"/>
                <a:gd name="connsiteX136" fmla="*/ 601990 w 1956662"/>
                <a:gd name="connsiteY136" fmla="*/ 236190 h 322807"/>
                <a:gd name="connsiteX137" fmla="*/ 590159 w 1956662"/>
                <a:gd name="connsiteY137" fmla="*/ 216228 h 322807"/>
                <a:gd name="connsiteX138" fmla="*/ 587530 w 1956662"/>
                <a:gd name="connsiteY138" fmla="*/ 176790 h 322807"/>
                <a:gd name="connsiteX139" fmla="*/ 587530 w 1956662"/>
                <a:gd name="connsiteY139" fmla="*/ 100445 h 322807"/>
                <a:gd name="connsiteX140" fmla="*/ 559436 w 1956662"/>
                <a:gd name="connsiteY140" fmla="*/ 100445 h 322807"/>
                <a:gd name="connsiteX141" fmla="*/ 559436 w 1956662"/>
                <a:gd name="connsiteY141" fmla="*/ 65292 h 322807"/>
                <a:gd name="connsiteX142" fmla="*/ 587530 w 1956662"/>
                <a:gd name="connsiteY142" fmla="*/ 65292 h 322807"/>
                <a:gd name="connsiteX143" fmla="*/ 587530 w 1956662"/>
                <a:gd name="connsiteY143" fmla="*/ 27071 h 322807"/>
                <a:gd name="connsiteX144" fmla="*/ 678383 w 1956662"/>
                <a:gd name="connsiteY144" fmla="*/ 23176 h 322807"/>
                <a:gd name="connsiteX145" fmla="*/ 678383 w 1956662"/>
                <a:gd name="connsiteY145" fmla="*/ 65292 h 322807"/>
                <a:gd name="connsiteX146" fmla="*/ 755263 w 1956662"/>
                <a:gd name="connsiteY146" fmla="*/ 65292 h 322807"/>
                <a:gd name="connsiteX147" fmla="*/ 448961 w 1956662"/>
                <a:gd name="connsiteY147" fmla="*/ 160966 h 322807"/>
                <a:gd name="connsiteX148" fmla="*/ 405189 w 1956662"/>
                <a:gd name="connsiteY148" fmla="*/ 160966 h 322807"/>
                <a:gd name="connsiteX149" fmla="*/ 388440 w 1956662"/>
                <a:gd name="connsiteY149" fmla="*/ 166029 h 322807"/>
                <a:gd name="connsiteX150" fmla="*/ 383864 w 1956662"/>
                <a:gd name="connsiteY150" fmla="*/ 184531 h 322807"/>
                <a:gd name="connsiteX151" fmla="*/ 383864 w 1956662"/>
                <a:gd name="connsiteY151" fmla="*/ 192565 h 322807"/>
                <a:gd name="connsiteX152" fmla="*/ 388440 w 1956662"/>
                <a:gd name="connsiteY152" fmla="*/ 210920 h 322807"/>
                <a:gd name="connsiteX153" fmla="*/ 405189 w 1956662"/>
                <a:gd name="connsiteY153" fmla="*/ 215935 h 322807"/>
                <a:gd name="connsiteX154" fmla="*/ 427440 w 1956662"/>
                <a:gd name="connsiteY154" fmla="*/ 215935 h 322807"/>
                <a:gd name="connsiteX155" fmla="*/ 444384 w 1956662"/>
                <a:gd name="connsiteY155" fmla="*/ 210920 h 322807"/>
                <a:gd name="connsiteX156" fmla="*/ 448961 w 1956662"/>
                <a:gd name="connsiteY156" fmla="*/ 192565 h 322807"/>
                <a:gd name="connsiteX157" fmla="*/ 448961 w 1956662"/>
                <a:gd name="connsiteY157" fmla="*/ 160966 h 322807"/>
                <a:gd name="connsiteX158" fmla="*/ 307714 w 1956662"/>
                <a:gd name="connsiteY158" fmla="*/ 65292 h 322807"/>
                <a:gd name="connsiteX159" fmla="*/ 476908 w 1956662"/>
                <a:gd name="connsiteY159" fmla="*/ 65292 h 322807"/>
                <a:gd name="connsiteX160" fmla="*/ 505148 w 1956662"/>
                <a:gd name="connsiteY160" fmla="*/ 67921 h 322807"/>
                <a:gd name="connsiteX161" fmla="*/ 523017 w 1956662"/>
                <a:gd name="connsiteY161" fmla="*/ 78730 h 322807"/>
                <a:gd name="connsiteX162" fmla="*/ 539766 w 1956662"/>
                <a:gd name="connsiteY162" fmla="*/ 118460 h 322807"/>
                <a:gd name="connsiteX163" fmla="*/ 539766 w 1956662"/>
                <a:gd name="connsiteY163" fmla="*/ 204542 h 322807"/>
                <a:gd name="connsiteX164" fmla="*/ 541178 w 1956662"/>
                <a:gd name="connsiteY164" fmla="*/ 234048 h 322807"/>
                <a:gd name="connsiteX165" fmla="*/ 547361 w 1956662"/>
                <a:gd name="connsiteY165" fmla="*/ 251089 h 322807"/>
                <a:gd name="connsiteX166" fmla="*/ 457092 w 1956662"/>
                <a:gd name="connsiteY166" fmla="*/ 251089 h 322807"/>
                <a:gd name="connsiteX167" fmla="*/ 451541 w 1956662"/>
                <a:gd name="connsiteY167" fmla="*/ 231370 h 322807"/>
                <a:gd name="connsiteX168" fmla="*/ 440489 w 1956662"/>
                <a:gd name="connsiteY168" fmla="*/ 246317 h 322807"/>
                <a:gd name="connsiteX169" fmla="*/ 418092 w 1956662"/>
                <a:gd name="connsiteY169" fmla="*/ 251089 h 322807"/>
                <a:gd name="connsiteX170" fmla="*/ 350220 w 1956662"/>
                <a:gd name="connsiteY170" fmla="*/ 251089 h 322807"/>
                <a:gd name="connsiteX171" fmla="*/ 324122 w 1956662"/>
                <a:gd name="connsiteY171" fmla="*/ 248898 h 322807"/>
                <a:gd name="connsiteX172" fmla="*/ 307714 w 1956662"/>
                <a:gd name="connsiteY172" fmla="*/ 240816 h 322807"/>
                <a:gd name="connsiteX173" fmla="*/ 296613 w 1956662"/>
                <a:gd name="connsiteY173" fmla="*/ 224748 h 322807"/>
                <a:gd name="connsiteX174" fmla="*/ 293010 w 1956662"/>
                <a:gd name="connsiteY174" fmla="*/ 200160 h 322807"/>
                <a:gd name="connsiteX175" fmla="*/ 293010 w 1956662"/>
                <a:gd name="connsiteY175" fmla="*/ 168756 h 322807"/>
                <a:gd name="connsiteX176" fmla="*/ 305134 w 1956662"/>
                <a:gd name="connsiteY176" fmla="*/ 136913 h 322807"/>
                <a:gd name="connsiteX177" fmla="*/ 340287 w 1956662"/>
                <a:gd name="connsiteY177" fmla="*/ 125861 h 322807"/>
                <a:gd name="connsiteX178" fmla="*/ 426759 w 1956662"/>
                <a:gd name="connsiteY178" fmla="*/ 125861 h 322807"/>
                <a:gd name="connsiteX179" fmla="*/ 441998 w 1956662"/>
                <a:gd name="connsiteY179" fmla="*/ 124546 h 322807"/>
                <a:gd name="connsiteX180" fmla="*/ 448620 w 1956662"/>
                <a:gd name="connsiteY180" fmla="*/ 112423 h 322807"/>
                <a:gd name="connsiteX181" fmla="*/ 444481 w 1956662"/>
                <a:gd name="connsiteY181" fmla="*/ 103026 h 322807"/>
                <a:gd name="connsiteX182" fmla="*/ 428755 w 1956662"/>
                <a:gd name="connsiteY182" fmla="*/ 100494 h 322807"/>
                <a:gd name="connsiteX183" fmla="*/ 340482 w 1956662"/>
                <a:gd name="connsiteY183" fmla="*/ 100494 h 322807"/>
                <a:gd name="connsiteX184" fmla="*/ 301482 w 1956662"/>
                <a:gd name="connsiteY184" fmla="*/ 109355 h 322807"/>
                <a:gd name="connsiteX185" fmla="*/ 307714 w 1956662"/>
                <a:gd name="connsiteY185" fmla="*/ 65341 h 322807"/>
                <a:gd name="connsiteX186" fmla="*/ 104876 w 1956662"/>
                <a:gd name="connsiteY186" fmla="*/ 119531 h 322807"/>
                <a:gd name="connsiteX187" fmla="*/ 153078 w 1956662"/>
                <a:gd name="connsiteY187" fmla="*/ 119531 h 322807"/>
                <a:gd name="connsiteX188" fmla="*/ 173576 w 1956662"/>
                <a:gd name="connsiteY188" fmla="*/ 114419 h 322807"/>
                <a:gd name="connsiteX189" fmla="*/ 177909 w 1956662"/>
                <a:gd name="connsiteY189" fmla="*/ 90269 h 322807"/>
                <a:gd name="connsiteX190" fmla="*/ 177909 w 1956662"/>
                <a:gd name="connsiteY190" fmla="*/ 70648 h 322807"/>
                <a:gd name="connsiteX191" fmla="*/ 174160 w 1956662"/>
                <a:gd name="connsiteY191" fmla="*/ 46790 h 322807"/>
                <a:gd name="connsiteX192" fmla="*/ 158044 w 1956662"/>
                <a:gd name="connsiteY192" fmla="*/ 41386 h 322807"/>
                <a:gd name="connsiteX193" fmla="*/ 104876 w 1956662"/>
                <a:gd name="connsiteY193" fmla="*/ 41386 h 322807"/>
                <a:gd name="connsiteX194" fmla="*/ 104876 w 1956662"/>
                <a:gd name="connsiteY194" fmla="*/ 119531 h 322807"/>
                <a:gd name="connsiteX195" fmla="*/ 104876 w 1956662"/>
                <a:gd name="connsiteY195" fmla="*/ 160917 h 322807"/>
                <a:gd name="connsiteX196" fmla="*/ 104876 w 1956662"/>
                <a:gd name="connsiteY196" fmla="*/ 213696 h 322807"/>
                <a:gd name="connsiteX197" fmla="*/ 115539 w 1956662"/>
                <a:gd name="connsiteY197" fmla="*/ 251040 h 322807"/>
                <a:gd name="connsiteX198" fmla="*/ 0 w 1956662"/>
                <a:gd name="connsiteY198" fmla="*/ 251040 h 322807"/>
                <a:gd name="connsiteX199" fmla="*/ 10468 w 1956662"/>
                <a:gd name="connsiteY199" fmla="*/ 213696 h 322807"/>
                <a:gd name="connsiteX200" fmla="*/ 10468 w 1956662"/>
                <a:gd name="connsiteY200" fmla="*/ 37198 h 322807"/>
                <a:gd name="connsiteX201" fmla="*/ 0 w 1956662"/>
                <a:gd name="connsiteY201" fmla="*/ 0 h 322807"/>
                <a:gd name="connsiteX202" fmla="*/ 205419 w 1956662"/>
                <a:gd name="connsiteY202" fmla="*/ 0 h 322807"/>
                <a:gd name="connsiteX203" fmla="*/ 237553 w 1956662"/>
                <a:gd name="connsiteY203" fmla="*/ 2581 h 322807"/>
                <a:gd name="connsiteX204" fmla="*/ 256201 w 1956662"/>
                <a:gd name="connsiteY204" fmla="*/ 12318 h 322807"/>
                <a:gd name="connsiteX205" fmla="*/ 272025 w 1956662"/>
                <a:gd name="connsiteY205" fmla="*/ 52048 h 322807"/>
                <a:gd name="connsiteX206" fmla="*/ 272025 w 1956662"/>
                <a:gd name="connsiteY206" fmla="*/ 109063 h 322807"/>
                <a:gd name="connsiteX207" fmla="*/ 256201 w 1956662"/>
                <a:gd name="connsiteY207" fmla="*/ 148599 h 322807"/>
                <a:gd name="connsiteX208" fmla="*/ 237553 w 1956662"/>
                <a:gd name="connsiteY208" fmla="*/ 158336 h 322807"/>
                <a:gd name="connsiteX209" fmla="*/ 205419 w 1956662"/>
                <a:gd name="connsiteY209" fmla="*/ 160917 h 322807"/>
                <a:gd name="connsiteX210" fmla="*/ 104827 w 1956662"/>
                <a:gd name="connsiteY210" fmla="*/ 160917 h 32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956662" h="322807">
                  <a:moveTo>
                    <a:pt x="1800907" y="65292"/>
                  </a:moveTo>
                  <a:lnTo>
                    <a:pt x="1800907" y="187014"/>
                  </a:lnTo>
                  <a:cubicBezTo>
                    <a:pt x="1800907" y="198700"/>
                    <a:pt x="1802562" y="206392"/>
                    <a:pt x="1805776" y="210190"/>
                  </a:cubicBezTo>
                  <a:cubicBezTo>
                    <a:pt x="1808989" y="214037"/>
                    <a:pt x="1815562" y="215887"/>
                    <a:pt x="1825495" y="215887"/>
                  </a:cubicBezTo>
                  <a:lnTo>
                    <a:pt x="1849060" y="215887"/>
                  </a:lnTo>
                  <a:cubicBezTo>
                    <a:pt x="1856217" y="215887"/>
                    <a:pt x="1860648" y="214377"/>
                    <a:pt x="1862498" y="211310"/>
                  </a:cubicBezTo>
                  <a:cubicBezTo>
                    <a:pt x="1864300" y="208243"/>
                    <a:pt x="1865371" y="200550"/>
                    <a:pt x="1865614" y="188329"/>
                  </a:cubicBezTo>
                  <a:lnTo>
                    <a:pt x="1865614" y="111985"/>
                  </a:lnTo>
                  <a:cubicBezTo>
                    <a:pt x="1865614" y="97865"/>
                    <a:pt x="1865176" y="88030"/>
                    <a:pt x="1864203" y="82284"/>
                  </a:cubicBezTo>
                  <a:cubicBezTo>
                    <a:pt x="1863277" y="76588"/>
                    <a:pt x="1861281" y="70940"/>
                    <a:pt x="1858068" y="65292"/>
                  </a:cubicBezTo>
                  <a:lnTo>
                    <a:pt x="1956468" y="65292"/>
                  </a:lnTo>
                  <a:lnTo>
                    <a:pt x="1956468" y="251089"/>
                  </a:lnTo>
                  <a:cubicBezTo>
                    <a:pt x="1956565" y="259463"/>
                    <a:pt x="1956663" y="263553"/>
                    <a:pt x="1956663" y="263553"/>
                  </a:cubicBezTo>
                  <a:cubicBezTo>
                    <a:pt x="1956663" y="289894"/>
                    <a:pt x="1948142" y="307665"/>
                    <a:pt x="1931296" y="316722"/>
                  </a:cubicBezTo>
                  <a:cubicBezTo>
                    <a:pt x="1926524" y="319302"/>
                    <a:pt x="1921120" y="320958"/>
                    <a:pt x="1915131" y="321493"/>
                  </a:cubicBezTo>
                  <a:cubicBezTo>
                    <a:pt x="1909094" y="322126"/>
                    <a:pt x="1895315" y="322564"/>
                    <a:pt x="1873551" y="322808"/>
                  </a:cubicBezTo>
                  <a:lnTo>
                    <a:pt x="1722566" y="322808"/>
                  </a:lnTo>
                  <a:lnTo>
                    <a:pt x="1715458" y="279182"/>
                  </a:lnTo>
                  <a:cubicBezTo>
                    <a:pt x="1721203" y="282639"/>
                    <a:pt x="1727192" y="284879"/>
                    <a:pt x="1733375" y="286048"/>
                  </a:cubicBezTo>
                  <a:cubicBezTo>
                    <a:pt x="1739559" y="287119"/>
                    <a:pt x="1749637" y="287654"/>
                    <a:pt x="1763611" y="287654"/>
                  </a:cubicBezTo>
                  <a:lnTo>
                    <a:pt x="1845116" y="287654"/>
                  </a:lnTo>
                  <a:cubicBezTo>
                    <a:pt x="1853734" y="287654"/>
                    <a:pt x="1859236" y="286096"/>
                    <a:pt x="1861817" y="282883"/>
                  </a:cubicBezTo>
                  <a:cubicBezTo>
                    <a:pt x="1864397" y="279669"/>
                    <a:pt x="1865712" y="272902"/>
                    <a:pt x="1865712" y="262482"/>
                  </a:cubicBezTo>
                  <a:lnTo>
                    <a:pt x="1865712" y="238868"/>
                  </a:lnTo>
                  <a:cubicBezTo>
                    <a:pt x="1862742" y="243591"/>
                    <a:pt x="1858798" y="246756"/>
                    <a:pt x="1853783" y="248460"/>
                  </a:cubicBezTo>
                  <a:cubicBezTo>
                    <a:pt x="1848768" y="250164"/>
                    <a:pt x="1841075" y="251040"/>
                    <a:pt x="1830948" y="251040"/>
                  </a:cubicBezTo>
                  <a:lnTo>
                    <a:pt x="1778023" y="251040"/>
                  </a:lnTo>
                  <a:cubicBezTo>
                    <a:pt x="1763514" y="251040"/>
                    <a:pt x="1752705" y="249774"/>
                    <a:pt x="1745255" y="247340"/>
                  </a:cubicBezTo>
                  <a:cubicBezTo>
                    <a:pt x="1737903" y="244905"/>
                    <a:pt x="1731233" y="240183"/>
                    <a:pt x="1725244" y="233220"/>
                  </a:cubicBezTo>
                  <a:cubicBezTo>
                    <a:pt x="1719012" y="226063"/>
                    <a:pt x="1714922" y="218905"/>
                    <a:pt x="1712975" y="211700"/>
                  </a:cubicBezTo>
                  <a:cubicBezTo>
                    <a:pt x="1711076" y="204494"/>
                    <a:pt x="1710151" y="192662"/>
                    <a:pt x="1710151" y="176351"/>
                  </a:cubicBezTo>
                  <a:lnTo>
                    <a:pt x="1710151" y="111985"/>
                  </a:lnTo>
                  <a:cubicBezTo>
                    <a:pt x="1710151" y="97719"/>
                    <a:pt x="1709712" y="87884"/>
                    <a:pt x="1708739" y="82284"/>
                  </a:cubicBezTo>
                  <a:cubicBezTo>
                    <a:pt x="1707814" y="76685"/>
                    <a:pt x="1705769" y="71037"/>
                    <a:pt x="1702604" y="65292"/>
                  </a:cubicBezTo>
                  <a:lnTo>
                    <a:pt x="1801004" y="65292"/>
                  </a:lnTo>
                  <a:close/>
                  <a:moveTo>
                    <a:pt x="1585848" y="160966"/>
                  </a:moveTo>
                  <a:lnTo>
                    <a:pt x="1542076" y="160966"/>
                  </a:lnTo>
                  <a:cubicBezTo>
                    <a:pt x="1533994" y="160966"/>
                    <a:pt x="1528395" y="162670"/>
                    <a:pt x="1525279" y="166029"/>
                  </a:cubicBezTo>
                  <a:cubicBezTo>
                    <a:pt x="1522211" y="169389"/>
                    <a:pt x="1520702" y="175572"/>
                    <a:pt x="1520702" y="184531"/>
                  </a:cubicBezTo>
                  <a:lnTo>
                    <a:pt x="1520702" y="192565"/>
                  </a:lnTo>
                  <a:cubicBezTo>
                    <a:pt x="1520702" y="201426"/>
                    <a:pt x="1522211" y="207512"/>
                    <a:pt x="1525279" y="210920"/>
                  </a:cubicBezTo>
                  <a:cubicBezTo>
                    <a:pt x="1528346" y="214231"/>
                    <a:pt x="1533945" y="215935"/>
                    <a:pt x="1542076" y="215935"/>
                  </a:cubicBezTo>
                  <a:lnTo>
                    <a:pt x="1564278" y="215935"/>
                  </a:lnTo>
                  <a:cubicBezTo>
                    <a:pt x="1572507" y="215935"/>
                    <a:pt x="1578155" y="214231"/>
                    <a:pt x="1581222" y="210920"/>
                  </a:cubicBezTo>
                  <a:cubicBezTo>
                    <a:pt x="1584290" y="207512"/>
                    <a:pt x="1585799" y="201426"/>
                    <a:pt x="1585799" y="192565"/>
                  </a:cubicBezTo>
                  <a:lnTo>
                    <a:pt x="1585799" y="160966"/>
                  </a:lnTo>
                  <a:close/>
                  <a:moveTo>
                    <a:pt x="1444601" y="65292"/>
                  </a:moveTo>
                  <a:lnTo>
                    <a:pt x="1613795" y="65292"/>
                  </a:lnTo>
                  <a:cubicBezTo>
                    <a:pt x="1626552" y="65292"/>
                    <a:pt x="1635949" y="66168"/>
                    <a:pt x="1642035" y="67921"/>
                  </a:cubicBezTo>
                  <a:cubicBezTo>
                    <a:pt x="1648121" y="69723"/>
                    <a:pt x="1654110" y="73326"/>
                    <a:pt x="1659952" y="78730"/>
                  </a:cubicBezTo>
                  <a:cubicBezTo>
                    <a:pt x="1671394" y="89393"/>
                    <a:pt x="1676945" y="102636"/>
                    <a:pt x="1676701" y="118460"/>
                  </a:cubicBezTo>
                  <a:lnTo>
                    <a:pt x="1676701" y="204542"/>
                  </a:lnTo>
                  <a:cubicBezTo>
                    <a:pt x="1676701" y="218565"/>
                    <a:pt x="1677140" y="228449"/>
                    <a:pt x="1678065" y="234048"/>
                  </a:cubicBezTo>
                  <a:cubicBezTo>
                    <a:pt x="1678990" y="239647"/>
                    <a:pt x="1681035" y="245295"/>
                    <a:pt x="1684199" y="251089"/>
                  </a:cubicBezTo>
                  <a:lnTo>
                    <a:pt x="1593930" y="251089"/>
                  </a:lnTo>
                  <a:cubicBezTo>
                    <a:pt x="1591252" y="246074"/>
                    <a:pt x="1589402" y="239452"/>
                    <a:pt x="1588380" y="231370"/>
                  </a:cubicBezTo>
                  <a:cubicBezTo>
                    <a:pt x="1586432" y="238138"/>
                    <a:pt x="1582732" y="243104"/>
                    <a:pt x="1577327" y="246317"/>
                  </a:cubicBezTo>
                  <a:cubicBezTo>
                    <a:pt x="1571923" y="249531"/>
                    <a:pt x="1564473" y="251089"/>
                    <a:pt x="1554930" y="251089"/>
                  </a:cubicBezTo>
                  <a:lnTo>
                    <a:pt x="1487058" y="251089"/>
                  </a:lnTo>
                  <a:cubicBezTo>
                    <a:pt x="1475616" y="251089"/>
                    <a:pt x="1466949" y="250310"/>
                    <a:pt x="1460961" y="248898"/>
                  </a:cubicBezTo>
                  <a:cubicBezTo>
                    <a:pt x="1454923" y="247389"/>
                    <a:pt x="1449470" y="244711"/>
                    <a:pt x="1444552" y="240816"/>
                  </a:cubicBezTo>
                  <a:cubicBezTo>
                    <a:pt x="1439537" y="236628"/>
                    <a:pt x="1435837" y="231272"/>
                    <a:pt x="1433451" y="224748"/>
                  </a:cubicBezTo>
                  <a:cubicBezTo>
                    <a:pt x="1431066" y="218126"/>
                    <a:pt x="1429897" y="209995"/>
                    <a:pt x="1429897" y="200160"/>
                  </a:cubicBezTo>
                  <a:lnTo>
                    <a:pt x="1429897" y="168756"/>
                  </a:lnTo>
                  <a:cubicBezTo>
                    <a:pt x="1429897" y="154880"/>
                    <a:pt x="1433889" y="144265"/>
                    <a:pt x="1442021" y="136913"/>
                  </a:cubicBezTo>
                  <a:cubicBezTo>
                    <a:pt x="1450103" y="129561"/>
                    <a:pt x="1461837" y="125861"/>
                    <a:pt x="1477174" y="125861"/>
                  </a:cubicBezTo>
                  <a:lnTo>
                    <a:pt x="1563646" y="125861"/>
                  </a:lnTo>
                  <a:cubicBezTo>
                    <a:pt x="1571436" y="125715"/>
                    <a:pt x="1576499" y="125277"/>
                    <a:pt x="1578934" y="124546"/>
                  </a:cubicBezTo>
                  <a:cubicBezTo>
                    <a:pt x="1583316" y="122988"/>
                    <a:pt x="1585507" y="118947"/>
                    <a:pt x="1585507" y="112423"/>
                  </a:cubicBezTo>
                  <a:cubicBezTo>
                    <a:pt x="1585507" y="107797"/>
                    <a:pt x="1584144" y="104633"/>
                    <a:pt x="1581368" y="103026"/>
                  </a:cubicBezTo>
                  <a:cubicBezTo>
                    <a:pt x="1578593" y="101322"/>
                    <a:pt x="1573383" y="100494"/>
                    <a:pt x="1565690" y="100494"/>
                  </a:cubicBezTo>
                  <a:lnTo>
                    <a:pt x="1477417" y="100494"/>
                  </a:lnTo>
                  <a:cubicBezTo>
                    <a:pt x="1462226" y="100251"/>
                    <a:pt x="1449227" y="103221"/>
                    <a:pt x="1438466" y="109355"/>
                  </a:cubicBezTo>
                  <a:lnTo>
                    <a:pt x="1444698" y="65341"/>
                  </a:lnTo>
                  <a:close/>
                  <a:moveTo>
                    <a:pt x="1207875" y="65292"/>
                  </a:moveTo>
                  <a:lnTo>
                    <a:pt x="1317133" y="65292"/>
                  </a:lnTo>
                  <a:lnTo>
                    <a:pt x="1346980" y="179467"/>
                  </a:lnTo>
                  <a:lnTo>
                    <a:pt x="1363485" y="112131"/>
                  </a:lnTo>
                  <a:cubicBezTo>
                    <a:pt x="1365822" y="102490"/>
                    <a:pt x="1366991" y="93629"/>
                    <a:pt x="1366991" y="85644"/>
                  </a:cubicBezTo>
                  <a:cubicBezTo>
                    <a:pt x="1366991" y="77659"/>
                    <a:pt x="1365871" y="71135"/>
                    <a:pt x="1363534" y="65243"/>
                  </a:cubicBezTo>
                  <a:lnTo>
                    <a:pt x="1420354" y="65243"/>
                  </a:lnTo>
                  <a:cubicBezTo>
                    <a:pt x="1414950" y="70648"/>
                    <a:pt x="1411200" y="75517"/>
                    <a:pt x="1409058" y="79850"/>
                  </a:cubicBezTo>
                  <a:cubicBezTo>
                    <a:pt x="1406867" y="84183"/>
                    <a:pt x="1404384" y="91973"/>
                    <a:pt x="1401414" y="103172"/>
                  </a:cubicBezTo>
                  <a:lnTo>
                    <a:pt x="1363534" y="251040"/>
                  </a:lnTo>
                  <a:lnTo>
                    <a:pt x="1270441" y="251040"/>
                  </a:lnTo>
                  <a:lnTo>
                    <a:pt x="1233096" y="108333"/>
                  </a:lnTo>
                  <a:lnTo>
                    <a:pt x="1196677" y="251040"/>
                  </a:lnTo>
                  <a:lnTo>
                    <a:pt x="1103048" y="251040"/>
                  </a:lnTo>
                  <a:lnTo>
                    <a:pt x="1063853" y="96696"/>
                  </a:lnTo>
                  <a:cubicBezTo>
                    <a:pt x="1062149" y="90172"/>
                    <a:pt x="1060251" y="84719"/>
                    <a:pt x="1058303" y="80239"/>
                  </a:cubicBezTo>
                  <a:cubicBezTo>
                    <a:pt x="1056355" y="75711"/>
                    <a:pt x="1053531" y="70745"/>
                    <a:pt x="1049831" y="65243"/>
                  </a:cubicBezTo>
                  <a:lnTo>
                    <a:pt x="1161329" y="65243"/>
                  </a:lnTo>
                  <a:cubicBezTo>
                    <a:pt x="1158846" y="72449"/>
                    <a:pt x="1157628" y="78779"/>
                    <a:pt x="1157628" y="84183"/>
                  </a:cubicBezTo>
                  <a:cubicBezTo>
                    <a:pt x="1157628" y="90415"/>
                    <a:pt x="1158894" y="98449"/>
                    <a:pt x="1161329" y="108333"/>
                  </a:cubicBezTo>
                  <a:lnTo>
                    <a:pt x="1178954" y="179467"/>
                  </a:lnTo>
                  <a:lnTo>
                    <a:pt x="1207827" y="65292"/>
                  </a:lnTo>
                  <a:close/>
                  <a:moveTo>
                    <a:pt x="878835" y="0"/>
                  </a:moveTo>
                  <a:lnTo>
                    <a:pt x="878835" y="76539"/>
                  </a:lnTo>
                  <a:cubicBezTo>
                    <a:pt x="883218" y="68944"/>
                    <a:pt x="890813" y="65194"/>
                    <a:pt x="901525" y="65341"/>
                  </a:cubicBezTo>
                  <a:lnTo>
                    <a:pt x="973243" y="65341"/>
                  </a:lnTo>
                  <a:cubicBezTo>
                    <a:pt x="985172" y="65341"/>
                    <a:pt x="994472" y="66460"/>
                    <a:pt x="1001240" y="68651"/>
                  </a:cubicBezTo>
                  <a:cubicBezTo>
                    <a:pt x="1007959" y="70842"/>
                    <a:pt x="1014093" y="74738"/>
                    <a:pt x="1019644" y="80191"/>
                  </a:cubicBezTo>
                  <a:cubicBezTo>
                    <a:pt x="1029041" y="90172"/>
                    <a:pt x="1033812" y="103951"/>
                    <a:pt x="1033959" y="121430"/>
                  </a:cubicBezTo>
                  <a:lnTo>
                    <a:pt x="1033959" y="204396"/>
                  </a:lnTo>
                  <a:cubicBezTo>
                    <a:pt x="1033959" y="218613"/>
                    <a:pt x="1034397" y="228497"/>
                    <a:pt x="1035371" y="234096"/>
                  </a:cubicBezTo>
                  <a:cubicBezTo>
                    <a:pt x="1036295" y="239696"/>
                    <a:pt x="1038340" y="245344"/>
                    <a:pt x="1041505" y="251138"/>
                  </a:cubicBezTo>
                  <a:lnTo>
                    <a:pt x="935607" y="251138"/>
                  </a:lnTo>
                  <a:cubicBezTo>
                    <a:pt x="938772" y="245344"/>
                    <a:pt x="940817" y="239744"/>
                    <a:pt x="941742" y="234096"/>
                  </a:cubicBezTo>
                  <a:cubicBezTo>
                    <a:pt x="942715" y="228497"/>
                    <a:pt x="943105" y="218662"/>
                    <a:pt x="943105" y="204396"/>
                  </a:cubicBezTo>
                  <a:lnTo>
                    <a:pt x="943105" y="122501"/>
                  </a:lnTo>
                  <a:cubicBezTo>
                    <a:pt x="944127" y="108187"/>
                    <a:pt x="937165" y="100835"/>
                    <a:pt x="922363" y="100445"/>
                  </a:cubicBezTo>
                  <a:lnTo>
                    <a:pt x="897483" y="100445"/>
                  </a:lnTo>
                  <a:cubicBezTo>
                    <a:pt x="890862" y="100445"/>
                    <a:pt x="886090" y="102003"/>
                    <a:pt x="883218" y="105217"/>
                  </a:cubicBezTo>
                  <a:cubicBezTo>
                    <a:pt x="880345" y="108430"/>
                    <a:pt x="878884" y="113640"/>
                    <a:pt x="878884" y="120846"/>
                  </a:cubicBezTo>
                  <a:lnTo>
                    <a:pt x="878884" y="204347"/>
                  </a:lnTo>
                  <a:cubicBezTo>
                    <a:pt x="878884" y="218565"/>
                    <a:pt x="879322" y="228449"/>
                    <a:pt x="880247" y="234048"/>
                  </a:cubicBezTo>
                  <a:cubicBezTo>
                    <a:pt x="881221" y="239647"/>
                    <a:pt x="883218" y="245295"/>
                    <a:pt x="886431" y="251089"/>
                  </a:cubicBezTo>
                  <a:lnTo>
                    <a:pt x="780532" y="251089"/>
                  </a:lnTo>
                  <a:cubicBezTo>
                    <a:pt x="783746" y="245295"/>
                    <a:pt x="785742" y="239696"/>
                    <a:pt x="786667" y="234048"/>
                  </a:cubicBezTo>
                  <a:cubicBezTo>
                    <a:pt x="787592" y="228449"/>
                    <a:pt x="788079" y="218613"/>
                    <a:pt x="788079" y="204347"/>
                  </a:cubicBezTo>
                  <a:lnTo>
                    <a:pt x="788079" y="46693"/>
                  </a:lnTo>
                  <a:cubicBezTo>
                    <a:pt x="788079" y="32524"/>
                    <a:pt x="787641" y="22592"/>
                    <a:pt x="786667" y="16992"/>
                  </a:cubicBezTo>
                  <a:cubicBezTo>
                    <a:pt x="785742" y="11393"/>
                    <a:pt x="783697" y="5745"/>
                    <a:pt x="780532" y="0"/>
                  </a:cubicBezTo>
                  <a:lnTo>
                    <a:pt x="878884" y="0"/>
                  </a:lnTo>
                  <a:close/>
                  <a:moveTo>
                    <a:pt x="755214" y="65292"/>
                  </a:moveTo>
                  <a:lnTo>
                    <a:pt x="755214" y="100445"/>
                  </a:lnTo>
                  <a:lnTo>
                    <a:pt x="678334" y="100445"/>
                  </a:lnTo>
                  <a:lnTo>
                    <a:pt x="678334" y="186722"/>
                  </a:lnTo>
                  <a:cubicBezTo>
                    <a:pt x="678334" y="194707"/>
                    <a:pt x="678627" y="200209"/>
                    <a:pt x="679259" y="203374"/>
                  </a:cubicBezTo>
                  <a:cubicBezTo>
                    <a:pt x="679844" y="206490"/>
                    <a:pt x="681158" y="209022"/>
                    <a:pt x="683106" y="210969"/>
                  </a:cubicBezTo>
                  <a:cubicBezTo>
                    <a:pt x="686660" y="214426"/>
                    <a:pt x="694012" y="216033"/>
                    <a:pt x="705211" y="215935"/>
                  </a:cubicBezTo>
                  <a:lnTo>
                    <a:pt x="729799" y="215935"/>
                  </a:lnTo>
                  <a:cubicBezTo>
                    <a:pt x="745915" y="215789"/>
                    <a:pt x="758136" y="212527"/>
                    <a:pt x="766413" y="206003"/>
                  </a:cubicBezTo>
                  <a:lnTo>
                    <a:pt x="759450" y="251089"/>
                  </a:lnTo>
                  <a:lnTo>
                    <a:pt x="663241" y="251089"/>
                  </a:lnTo>
                  <a:cubicBezTo>
                    <a:pt x="644593" y="251089"/>
                    <a:pt x="631301" y="250066"/>
                    <a:pt x="623316" y="248119"/>
                  </a:cubicBezTo>
                  <a:cubicBezTo>
                    <a:pt x="615331" y="246171"/>
                    <a:pt x="608271" y="242179"/>
                    <a:pt x="601990" y="236190"/>
                  </a:cubicBezTo>
                  <a:cubicBezTo>
                    <a:pt x="595904" y="230153"/>
                    <a:pt x="591912" y="223531"/>
                    <a:pt x="590159" y="216228"/>
                  </a:cubicBezTo>
                  <a:cubicBezTo>
                    <a:pt x="588406" y="208924"/>
                    <a:pt x="587530" y="195730"/>
                    <a:pt x="587530" y="176790"/>
                  </a:cubicBezTo>
                  <a:lnTo>
                    <a:pt x="587530" y="100445"/>
                  </a:lnTo>
                  <a:lnTo>
                    <a:pt x="559436" y="100445"/>
                  </a:lnTo>
                  <a:lnTo>
                    <a:pt x="559436" y="65292"/>
                  </a:lnTo>
                  <a:lnTo>
                    <a:pt x="587530" y="65292"/>
                  </a:lnTo>
                  <a:lnTo>
                    <a:pt x="587530" y="27071"/>
                  </a:lnTo>
                  <a:lnTo>
                    <a:pt x="678383" y="23176"/>
                  </a:lnTo>
                  <a:lnTo>
                    <a:pt x="678383" y="65292"/>
                  </a:lnTo>
                  <a:lnTo>
                    <a:pt x="755263" y="65292"/>
                  </a:lnTo>
                  <a:close/>
                  <a:moveTo>
                    <a:pt x="448961" y="160966"/>
                  </a:moveTo>
                  <a:lnTo>
                    <a:pt x="405189" y="160966"/>
                  </a:lnTo>
                  <a:cubicBezTo>
                    <a:pt x="397107" y="160966"/>
                    <a:pt x="391508" y="162670"/>
                    <a:pt x="388440" y="166029"/>
                  </a:cubicBezTo>
                  <a:cubicBezTo>
                    <a:pt x="385373" y="169389"/>
                    <a:pt x="383864" y="175572"/>
                    <a:pt x="383864" y="184531"/>
                  </a:cubicBezTo>
                  <a:lnTo>
                    <a:pt x="383864" y="192565"/>
                  </a:lnTo>
                  <a:cubicBezTo>
                    <a:pt x="383864" y="201426"/>
                    <a:pt x="385373" y="207512"/>
                    <a:pt x="388440" y="210920"/>
                  </a:cubicBezTo>
                  <a:cubicBezTo>
                    <a:pt x="391508" y="214231"/>
                    <a:pt x="397107" y="215935"/>
                    <a:pt x="405189" y="215935"/>
                  </a:cubicBezTo>
                  <a:lnTo>
                    <a:pt x="427440" y="215935"/>
                  </a:lnTo>
                  <a:cubicBezTo>
                    <a:pt x="435669" y="215935"/>
                    <a:pt x="441317" y="214231"/>
                    <a:pt x="444384" y="210920"/>
                  </a:cubicBezTo>
                  <a:cubicBezTo>
                    <a:pt x="447451" y="207512"/>
                    <a:pt x="448961" y="201426"/>
                    <a:pt x="448961" y="192565"/>
                  </a:cubicBezTo>
                  <a:lnTo>
                    <a:pt x="448961" y="160966"/>
                  </a:lnTo>
                  <a:close/>
                  <a:moveTo>
                    <a:pt x="307714" y="65292"/>
                  </a:moveTo>
                  <a:lnTo>
                    <a:pt x="476908" y="65292"/>
                  </a:lnTo>
                  <a:cubicBezTo>
                    <a:pt x="489616" y="65292"/>
                    <a:pt x="499062" y="66168"/>
                    <a:pt x="505148" y="67921"/>
                  </a:cubicBezTo>
                  <a:cubicBezTo>
                    <a:pt x="511234" y="69723"/>
                    <a:pt x="517223" y="73326"/>
                    <a:pt x="523017" y="78730"/>
                  </a:cubicBezTo>
                  <a:cubicBezTo>
                    <a:pt x="534459" y="89393"/>
                    <a:pt x="540009" y="102636"/>
                    <a:pt x="539766" y="118460"/>
                  </a:cubicBezTo>
                  <a:lnTo>
                    <a:pt x="539766" y="204542"/>
                  </a:lnTo>
                  <a:cubicBezTo>
                    <a:pt x="539766" y="218565"/>
                    <a:pt x="540204" y="228449"/>
                    <a:pt x="541178" y="234048"/>
                  </a:cubicBezTo>
                  <a:cubicBezTo>
                    <a:pt x="542103" y="239647"/>
                    <a:pt x="544148" y="245295"/>
                    <a:pt x="547361" y="251089"/>
                  </a:cubicBezTo>
                  <a:lnTo>
                    <a:pt x="457092" y="251089"/>
                  </a:lnTo>
                  <a:cubicBezTo>
                    <a:pt x="454365" y="246074"/>
                    <a:pt x="452564" y="239452"/>
                    <a:pt x="451541" y="231370"/>
                  </a:cubicBezTo>
                  <a:cubicBezTo>
                    <a:pt x="449594" y="238138"/>
                    <a:pt x="445893" y="243104"/>
                    <a:pt x="440489" y="246317"/>
                  </a:cubicBezTo>
                  <a:cubicBezTo>
                    <a:pt x="435084" y="249531"/>
                    <a:pt x="427635" y="251089"/>
                    <a:pt x="418092" y="251089"/>
                  </a:cubicBezTo>
                  <a:lnTo>
                    <a:pt x="350220" y="251089"/>
                  </a:lnTo>
                  <a:cubicBezTo>
                    <a:pt x="338778" y="251089"/>
                    <a:pt x="330160" y="250310"/>
                    <a:pt x="324122" y="248898"/>
                  </a:cubicBezTo>
                  <a:cubicBezTo>
                    <a:pt x="318085" y="247389"/>
                    <a:pt x="312632" y="244711"/>
                    <a:pt x="307714" y="240816"/>
                  </a:cubicBezTo>
                  <a:cubicBezTo>
                    <a:pt x="302699" y="236628"/>
                    <a:pt x="298999" y="231272"/>
                    <a:pt x="296613" y="224748"/>
                  </a:cubicBezTo>
                  <a:cubicBezTo>
                    <a:pt x="294227" y="218126"/>
                    <a:pt x="293010" y="209995"/>
                    <a:pt x="293010" y="200160"/>
                  </a:cubicBezTo>
                  <a:lnTo>
                    <a:pt x="293010" y="168756"/>
                  </a:lnTo>
                  <a:cubicBezTo>
                    <a:pt x="293010" y="154880"/>
                    <a:pt x="297051" y="144265"/>
                    <a:pt x="305134" y="136913"/>
                  </a:cubicBezTo>
                  <a:cubicBezTo>
                    <a:pt x="313216" y="129561"/>
                    <a:pt x="324950" y="125861"/>
                    <a:pt x="340287" y="125861"/>
                  </a:cubicBezTo>
                  <a:lnTo>
                    <a:pt x="426759" y="125861"/>
                  </a:lnTo>
                  <a:cubicBezTo>
                    <a:pt x="434549" y="125715"/>
                    <a:pt x="439661" y="125277"/>
                    <a:pt x="441998" y="124546"/>
                  </a:cubicBezTo>
                  <a:cubicBezTo>
                    <a:pt x="446429" y="122988"/>
                    <a:pt x="448620" y="118947"/>
                    <a:pt x="448620" y="112423"/>
                  </a:cubicBezTo>
                  <a:cubicBezTo>
                    <a:pt x="448620" y="107797"/>
                    <a:pt x="447257" y="104633"/>
                    <a:pt x="444481" y="103026"/>
                  </a:cubicBezTo>
                  <a:cubicBezTo>
                    <a:pt x="441706" y="101322"/>
                    <a:pt x="436496" y="100494"/>
                    <a:pt x="428755" y="100494"/>
                  </a:cubicBezTo>
                  <a:lnTo>
                    <a:pt x="340482" y="100494"/>
                  </a:lnTo>
                  <a:cubicBezTo>
                    <a:pt x="325291" y="100251"/>
                    <a:pt x="312291" y="103221"/>
                    <a:pt x="301482" y="109355"/>
                  </a:cubicBezTo>
                  <a:lnTo>
                    <a:pt x="307714" y="65341"/>
                  </a:lnTo>
                  <a:close/>
                  <a:moveTo>
                    <a:pt x="104876" y="119531"/>
                  </a:moveTo>
                  <a:lnTo>
                    <a:pt x="153078" y="119531"/>
                  </a:lnTo>
                  <a:cubicBezTo>
                    <a:pt x="163838" y="119531"/>
                    <a:pt x="170655" y="117827"/>
                    <a:pt x="173576" y="114419"/>
                  </a:cubicBezTo>
                  <a:cubicBezTo>
                    <a:pt x="176449" y="110962"/>
                    <a:pt x="177909" y="102928"/>
                    <a:pt x="177909" y="90269"/>
                  </a:cubicBezTo>
                  <a:lnTo>
                    <a:pt x="177909" y="70648"/>
                  </a:lnTo>
                  <a:cubicBezTo>
                    <a:pt x="177909" y="58329"/>
                    <a:pt x="176643" y="50442"/>
                    <a:pt x="174160" y="46790"/>
                  </a:cubicBezTo>
                  <a:cubicBezTo>
                    <a:pt x="171726" y="43187"/>
                    <a:pt x="166321" y="41386"/>
                    <a:pt x="158044" y="41386"/>
                  </a:cubicBezTo>
                  <a:lnTo>
                    <a:pt x="104876" y="41386"/>
                  </a:lnTo>
                  <a:lnTo>
                    <a:pt x="104876" y="119531"/>
                  </a:lnTo>
                  <a:close/>
                  <a:moveTo>
                    <a:pt x="104876" y="160917"/>
                  </a:moveTo>
                  <a:lnTo>
                    <a:pt x="104876" y="213696"/>
                  </a:lnTo>
                  <a:cubicBezTo>
                    <a:pt x="105363" y="230153"/>
                    <a:pt x="108868" y="242568"/>
                    <a:pt x="115539" y="251040"/>
                  </a:cubicBezTo>
                  <a:lnTo>
                    <a:pt x="0" y="251040"/>
                  </a:lnTo>
                  <a:cubicBezTo>
                    <a:pt x="6524" y="242325"/>
                    <a:pt x="9981" y="229860"/>
                    <a:pt x="10468" y="213696"/>
                  </a:cubicBezTo>
                  <a:lnTo>
                    <a:pt x="10468" y="37198"/>
                  </a:lnTo>
                  <a:cubicBezTo>
                    <a:pt x="9981" y="21131"/>
                    <a:pt x="6524" y="8764"/>
                    <a:pt x="0" y="0"/>
                  </a:cubicBezTo>
                  <a:lnTo>
                    <a:pt x="205419" y="0"/>
                  </a:lnTo>
                  <a:cubicBezTo>
                    <a:pt x="219685" y="0"/>
                    <a:pt x="230347" y="876"/>
                    <a:pt x="237553" y="2581"/>
                  </a:cubicBezTo>
                  <a:cubicBezTo>
                    <a:pt x="244711" y="4285"/>
                    <a:pt x="250943" y="7547"/>
                    <a:pt x="256201" y="12318"/>
                  </a:cubicBezTo>
                  <a:cubicBezTo>
                    <a:pt x="266377" y="21180"/>
                    <a:pt x="271636" y="34423"/>
                    <a:pt x="272025" y="52048"/>
                  </a:cubicBezTo>
                  <a:lnTo>
                    <a:pt x="272025" y="109063"/>
                  </a:lnTo>
                  <a:cubicBezTo>
                    <a:pt x="271636" y="126591"/>
                    <a:pt x="266377" y="139737"/>
                    <a:pt x="256201" y="148599"/>
                  </a:cubicBezTo>
                  <a:cubicBezTo>
                    <a:pt x="250943" y="153370"/>
                    <a:pt x="244711" y="156632"/>
                    <a:pt x="237553" y="158336"/>
                  </a:cubicBezTo>
                  <a:cubicBezTo>
                    <a:pt x="230347" y="160041"/>
                    <a:pt x="219636" y="160917"/>
                    <a:pt x="205419" y="160917"/>
                  </a:cubicBezTo>
                  <a:lnTo>
                    <a:pt x="104827" y="160917"/>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48" name="Freeform: Shape 447">
              <a:extLst>
                <a:ext uri="{FF2B5EF4-FFF2-40B4-BE49-F238E27FC236}">
                  <a16:creationId xmlns:a16="http://schemas.microsoft.com/office/drawing/2014/main" id="{C4F69879-3E3A-4DC0-9315-394C0F2FCE6D}"/>
                </a:ext>
              </a:extLst>
            </p:cNvPr>
            <p:cNvSpPr/>
            <p:nvPr/>
          </p:nvSpPr>
          <p:spPr>
            <a:xfrm>
              <a:off x="9091076" y="5410346"/>
              <a:ext cx="1659367" cy="126980"/>
            </a:xfrm>
            <a:custGeom>
              <a:avLst/>
              <a:gdLst>
                <a:gd name="connsiteX0" fmla="*/ 1640428 w 1659367"/>
                <a:gd name="connsiteY0" fmla="*/ 54678 h 126980"/>
                <a:gd name="connsiteX1" fmla="*/ 1655278 w 1659367"/>
                <a:gd name="connsiteY1" fmla="*/ 58621 h 126980"/>
                <a:gd name="connsiteX2" fmla="*/ 1659368 w 1659367"/>
                <a:gd name="connsiteY2" fmla="*/ 73618 h 126980"/>
                <a:gd name="connsiteX3" fmla="*/ 1659368 w 1659367"/>
                <a:gd name="connsiteY3" fmla="*/ 86958 h 126980"/>
                <a:gd name="connsiteX4" fmla="*/ 1655327 w 1659367"/>
                <a:gd name="connsiteY4" fmla="*/ 96307 h 126980"/>
                <a:gd name="connsiteX5" fmla="*/ 1641791 w 1659367"/>
                <a:gd name="connsiteY5" fmla="*/ 99423 h 126980"/>
                <a:gd name="connsiteX6" fmla="*/ 1583608 w 1659367"/>
                <a:gd name="connsiteY6" fmla="*/ 99423 h 126980"/>
                <a:gd name="connsiteX7" fmla="*/ 1582488 w 1659367"/>
                <a:gd name="connsiteY7" fmla="*/ 90561 h 126980"/>
                <a:gd name="connsiteX8" fmla="*/ 1598020 w 1659367"/>
                <a:gd name="connsiteY8" fmla="*/ 92266 h 126980"/>
                <a:gd name="connsiteX9" fmla="*/ 1640818 w 1659367"/>
                <a:gd name="connsiteY9" fmla="*/ 92266 h 126980"/>
                <a:gd name="connsiteX10" fmla="*/ 1646222 w 1659367"/>
                <a:gd name="connsiteY10" fmla="*/ 90610 h 126980"/>
                <a:gd name="connsiteX11" fmla="*/ 1647537 w 1659367"/>
                <a:gd name="connsiteY11" fmla="*/ 84183 h 126980"/>
                <a:gd name="connsiteX12" fmla="*/ 1647537 w 1659367"/>
                <a:gd name="connsiteY12" fmla="*/ 75468 h 126980"/>
                <a:gd name="connsiteX13" fmla="*/ 1646319 w 1659367"/>
                <a:gd name="connsiteY13" fmla="*/ 68944 h 126980"/>
                <a:gd name="connsiteX14" fmla="*/ 1640866 w 1659367"/>
                <a:gd name="connsiteY14" fmla="*/ 67385 h 126980"/>
                <a:gd name="connsiteX15" fmla="*/ 1601428 w 1659367"/>
                <a:gd name="connsiteY15" fmla="*/ 67385 h 126980"/>
                <a:gd name="connsiteX16" fmla="*/ 1586578 w 1659367"/>
                <a:gd name="connsiteY16" fmla="*/ 63442 h 126980"/>
                <a:gd name="connsiteX17" fmla="*/ 1582488 w 1659367"/>
                <a:gd name="connsiteY17" fmla="*/ 48445 h 126980"/>
                <a:gd name="connsiteX18" fmla="*/ 1582488 w 1659367"/>
                <a:gd name="connsiteY18" fmla="*/ 45378 h 126980"/>
                <a:gd name="connsiteX19" fmla="*/ 1586578 w 1659367"/>
                <a:gd name="connsiteY19" fmla="*/ 30528 h 126980"/>
                <a:gd name="connsiteX20" fmla="*/ 1601428 w 1659367"/>
                <a:gd name="connsiteY20" fmla="*/ 26438 h 126980"/>
                <a:gd name="connsiteX21" fmla="*/ 1657956 w 1659367"/>
                <a:gd name="connsiteY21" fmla="*/ 26438 h 126980"/>
                <a:gd name="connsiteX22" fmla="*/ 1659319 w 1659367"/>
                <a:gd name="connsiteY22" fmla="*/ 34959 h 126980"/>
                <a:gd name="connsiteX23" fmla="*/ 1643836 w 1659367"/>
                <a:gd name="connsiteY23" fmla="*/ 33547 h 126980"/>
                <a:gd name="connsiteX24" fmla="*/ 1602256 w 1659367"/>
                <a:gd name="connsiteY24" fmla="*/ 33547 h 126980"/>
                <a:gd name="connsiteX25" fmla="*/ 1596900 w 1659367"/>
                <a:gd name="connsiteY25" fmla="*/ 35153 h 126980"/>
                <a:gd name="connsiteX26" fmla="*/ 1595585 w 1659367"/>
                <a:gd name="connsiteY26" fmla="*/ 41580 h 126980"/>
                <a:gd name="connsiteX27" fmla="*/ 1595585 w 1659367"/>
                <a:gd name="connsiteY27" fmla="*/ 46547 h 126980"/>
                <a:gd name="connsiteX28" fmla="*/ 1596803 w 1659367"/>
                <a:gd name="connsiteY28" fmla="*/ 53071 h 126980"/>
                <a:gd name="connsiteX29" fmla="*/ 1602256 w 1659367"/>
                <a:gd name="connsiteY29" fmla="*/ 54629 h 126980"/>
                <a:gd name="connsiteX30" fmla="*/ 1640428 w 1659367"/>
                <a:gd name="connsiteY30" fmla="*/ 54629 h 126980"/>
                <a:gd name="connsiteX31" fmla="*/ 1489833 w 1659367"/>
                <a:gd name="connsiteY31" fmla="*/ 41921 h 126980"/>
                <a:gd name="connsiteX32" fmla="*/ 1488421 w 1659367"/>
                <a:gd name="connsiteY32" fmla="*/ 26389 h 126980"/>
                <a:gd name="connsiteX33" fmla="*/ 1503466 w 1659367"/>
                <a:gd name="connsiteY33" fmla="*/ 26389 h 126980"/>
                <a:gd name="connsiteX34" fmla="*/ 1503466 w 1659367"/>
                <a:gd name="connsiteY34" fmla="*/ 31697 h 126980"/>
                <a:gd name="connsiteX35" fmla="*/ 1507751 w 1659367"/>
                <a:gd name="connsiteY35" fmla="*/ 27558 h 126980"/>
                <a:gd name="connsiteX36" fmla="*/ 1511841 w 1659367"/>
                <a:gd name="connsiteY36" fmla="*/ 26389 h 126980"/>
                <a:gd name="connsiteX37" fmla="*/ 1552058 w 1659367"/>
                <a:gd name="connsiteY37" fmla="*/ 26389 h 126980"/>
                <a:gd name="connsiteX38" fmla="*/ 1566908 w 1659367"/>
                <a:gd name="connsiteY38" fmla="*/ 30382 h 126980"/>
                <a:gd name="connsiteX39" fmla="*/ 1571046 w 1659367"/>
                <a:gd name="connsiteY39" fmla="*/ 45378 h 126980"/>
                <a:gd name="connsiteX40" fmla="*/ 1571046 w 1659367"/>
                <a:gd name="connsiteY40" fmla="*/ 83891 h 126980"/>
                <a:gd name="connsiteX41" fmla="*/ 1572410 w 1659367"/>
                <a:gd name="connsiteY41" fmla="*/ 99423 h 126980"/>
                <a:gd name="connsiteX42" fmla="*/ 1556586 w 1659367"/>
                <a:gd name="connsiteY42" fmla="*/ 99423 h 126980"/>
                <a:gd name="connsiteX43" fmla="*/ 1557998 w 1659367"/>
                <a:gd name="connsiteY43" fmla="*/ 83891 h 126980"/>
                <a:gd name="connsiteX44" fmla="*/ 1557998 w 1659367"/>
                <a:gd name="connsiteY44" fmla="*/ 41629 h 126980"/>
                <a:gd name="connsiteX45" fmla="*/ 1556732 w 1659367"/>
                <a:gd name="connsiteY45" fmla="*/ 35105 h 126980"/>
                <a:gd name="connsiteX46" fmla="*/ 1551327 w 1659367"/>
                <a:gd name="connsiteY46" fmla="*/ 33547 h 126980"/>
                <a:gd name="connsiteX47" fmla="*/ 1509552 w 1659367"/>
                <a:gd name="connsiteY47" fmla="*/ 33547 h 126980"/>
                <a:gd name="connsiteX48" fmla="*/ 1504196 w 1659367"/>
                <a:gd name="connsiteY48" fmla="*/ 35153 h 126980"/>
                <a:gd name="connsiteX49" fmla="*/ 1502882 w 1659367"/>
                <a:gd name="connsiteY49" fmla="*/ 41580 h 126980"/>
                <a:gd name="connsiteX50" fmla="*/ 1502882 w 1659367"/>
                <a:gd name="connsiteY50" fmla="*/ 83842 h 126980"/>
                <a:gd name="connsiteX51" fmla="*/ 1504294 w 1659367"/>
                <a:gd name="connsiteY51" fmla="*/ 99374 h 126980"/>
                <a:gd name="connsiteX52" fmla="*/ 1488470 w 1659367"/>
                <a:gd name="connsiteY52" fmla="*/ 99374 h 126980"/>
                <a:gd name="connsiteX53" fmla="*/ 1489882 w 1659367"/>
                <a:gd name="connsiteY53" fmla="*/ 83842 h 126980"/>
                <a:gd name="connsiteX54" fmla="*/ 1489882 w 1659367"/>
                <a:gd name="connsiteY54" fmla="*/ 41872 h 126980"/>
                <a:gd name="connsiteX55" fmla="*/ 1415777 w 1659367"/>
                <a:gd name="connsiteY55" fmla="*/ 33547 h 126980"/>
                <a:gd name="connsiteX56" fmla="*/ 1410421 w 1659367"/>
                <a:gd name="connsiteY56" fmla="*/ 35153 h 126980"/>
                <a:gd name="connsiteX57" fmla="*/ 1409107 w 1659367"/>
                <a:gd name="connsiteY57" fmla="*/ 41580 h 126980"/>
                <a:gd name="connsiteX58" fmla="*/ 1409107 w 1659367"/>
                <a:gd name="connsiteY58" fmla="*/ 84134 h 126980"/>
                <a:gd name="connsiteX59" fmla="*/ 1410373 w 1659367"/>
                <a:gd name="connsiteY59" fmla="*/ 90659 h 126980"/>
                <a:gd name="connsiteX60" fmla="*/ 1415826 w 1659367"/>
                <a:gd name="connsiteY60" fmla="*/ 92217 h 126980"/>
                <a:gd name="connsiteX61" fmla="*/ 1458185 w 1659367"/>
                <a:gd name="connsiteY61" fmla="*/ 92217 h 126980"/>
                <a:gd name="connsiteX62" fmla="*/ 1463541 w 1659367"/>
                <a:gd name="connsiteY62" fmla="*/ 90561 h 126980"/>
                <a:gd name="connsiteX63" fmla="*/ 1464856 w 1659367"/>
                <a:gd name="connsiteY63" fmla="*/ 84134 h 126980"/>
                <a:gd name="connsiteX64" fmla="*/ 1464856 w 1659367"/>
                <a:gd name="connsiteY64" fmla="*/ 41580 h 126980"/>
                <a:gd name="connsiteX65" fmla="*/ 1463590 w 1659367"/>
                <a:gd name="connsiteY65" fmla="*/ 35056 h 126980"/>
                <a:gd name="connsiteX66" fmla="*/ 1458137 w 1659367"/>
                <a:gd name="connsiteY66" fmla="*/ 33498 h 126980"/>
                <a:gd name="connsiteX67" fmla="*/ 1415777 w 1659367"/>
                <a:gd name="connsiteY67" fmla="*/ 33498 h 126980"/>
                <a:gd name="connsiteX68" fmla="*/ 1477904 w 1659367"/>
                <a:gd name="connsiteY68" fmla="*/ 80434 h 126980"/>
                <a:gd name="connsiteX69" fmla="*/ 1473815 w 1659367"/>
                <a:gd name="connsiteY69" fmla="*/ 95284 h 126980"/>
                <a:gd name="connsiteX70" fmla="*/ 1458964 w 1659367"/>
                <a:gd name="connsiteY70" fmla="*/ 99423 h 126980"/>
                <a:gd name="connsiteX71" fmla="*/ 1415047 w 1659367"/>
                <a:gd name="connsiteY71" fmla="*/ 99423 h 126980"/>
                <a:gd name="connsiteX72" fmla="*/ 1400197 w 1659367"/>
                <a:gd name="connsiteY72" fmla="*/ 95430 h 126980"/>
                <a:gd name="connsiteX73" fmla="*/ 1396107 w 1659367"/>
                <a:gd name="connsiteY73" fmla="*/ 80434 h 126980"/>
                <a:gd name="connsiteX74" fmla="*/ 1396107 w 1659367"/>
                <a:gd name="connsiteY74" fmla="*/ 45378 h 126980"/>
                <a:gd name="connsiteX75" fmla="*/ 1400197 w 1659367"/>
                <a:gd name="connsiteY75" fmla="*/ 30528 h 126980"/>
                <a:gd name="connsiteX76" fmla="*/ 1415047 w 1659367"/>
                <a:gd name="connsiteY76" fmla="*/ 26438 h 126980"/>
                <a:gd name="connsiteX77" fmla="*/ 1458964 w 1659367"/>
                <a:gd name="connsiteY77" fmla="*/ 26438 h 126980"/>
                <a:gd name="connsiteX78" fmla="*/ 1473815 w 1659367"/>
                <a:gd name="connsiteY78" fmla="*/ 30431 h 126980"/>
                <a:gd name="connsiteX79" fmla="*/ 1477904 w 1659367"/>
                <a:gd name="connsiteY79" fmla="*/ 45427 h 126980"/>
                <a:gd name="connsiteX80" fmla="*/ 1477904 w 1659367"/>
                <a:gd name="connsiteY80" fmla="*/ 80483 h 126980"/>
                <a:gd name="connsiteX81" fmla="*/ 1368598 w 1659367"/>
                <a:gd name="connsiteY81" fmla="*/ 6816 h 126980"/>
                <a:gd name="connsiteX82" fmla="*/ 1381646 w 1659367"/>
                <a:gd name="connsiteY82" fmla="*/ 6816 h 126980"/>
                <a:gd name="connsiteX83" fmla="*/ 1381646 w 1659367"/>
                <a:gd name="connsiteY83" fmla="*/ 17382 h 126980"/>
                <a:gd name="connsiteX84" fmla="*/ 1368598 w 1659367"/>
                <a:gd name="connsiteY84" fmla="*/ 17382 h 126980"/>
                <a:gd name="connsiteX85" fmla="*/ 1368598 w 1659367"/>
                <a:gd name="connsiteY85" fmla="*/ 6816 h 126980"/>
                <a:gd name="connsiteX86" fmla="*/ 1381646 w 1659367"/>
                <a:gd name="connsiteY86" fmla="*/ 83842 h 126980"/>
                <a:gd name="connsiteX87" fmla="*/ 1383058 w 1659367"/>
                <a:gd name="connsiteY87" fmla="*/ 99374 h 126980"/>
                <a:gd name="connsiteX88" fmla="*/ 1367234 w 1659367"/>
                <a:gd name="connsiteY88" fmla="*/ 99374 h 126980"/>
                <a:gd name="connsiteX89" fmla="*/ 1368646 w 1659367"/>
                <a:gd name="connsiteY89" fmla="*/ 83842 h 126980"/>
                <a:gd name="connsiteX90" fmla="*/ 1368646 w 1659367"/>
                <a:gd name="connsiteY90" fmla="*/ 41872 h 126980"/>
                <a:gd name="connsiteX91" fmla="*/ 1367234 w 1659367"/>
                <a:gd name="connsiteY91" fmla="*/ 26341 h 126980"/>
                <a:gd name="connsiteX92" fmla="*/ 1381695 w 1659367"/>
                <a:gd name="connsiteY92" fmla="*/ 26341 h 126980"/>
                <a:gd name="connsiteX93" fmla="*/ 1381695 w 1659367"/>
                <a:gd name="connsiteY93" fmla="*/ 83794 h 126980"/>
                <a:gd name="connsiteX94" fmla="*/ 1317961 w 1659367"/>
                <a:gd name="connsiteY94" fmla="*/ 33547 h 126980"/>
                <a:gd name="connsiteX95" fmla="*/ 1317961 w 1659367"/>
                <a:gd name="connsiteY95" fmla="*/ 84134 h 126980"/>
                <a:gd name="connsiteX96" fmla="*/ 1319227 w 1659367"/>
                <a:gd name="connsiteY96" fmla="*/ 90659 h 126980"/>
                <a:gd name="connsiteX97" fmla="*/ 1324632 w 1659367"/>
                <a:gd name="connsiteY97" fmla="*/ 92217 h 126980"/>
                <a:gd name="connsiteX98" fmla="*/ 1342500 w 1659367"/>
                <a:gd name="connsiteY98" fmla="*/ 92217 h 126980"/>
                <a:gd name="connsiteX99" fmla="*/ 1358032 w 1659367"/>
                <a:gd name="connsiteY99" fmla="*/ 90805 h 126980"/>
                <a:gd name="connsiteX100" fmla="*/ 1356961 w 1659367"/>
                <a:gd name="connsiteY100" fmla="*/ 99374 h 126980"/>
                <a:gd name="connsiteX101" fmla="*/ 1323901 w 1659367"/>
                <a:gd name="connsiteY101" fmla="*/ 99374 h 126980"/>
                <a:gd name="connsiteX102" fmla="*/ 1309051 w 1659367"/>
                <a:gd name="connsiteY102" fmla="*/ 95382 h 126980"/>
                <a:gd name="connsiteX103" fmla="*/ 1304961 w 1659367"/>
                <a:gd name="connsiteY103" fmla="*/ 80385 h 126980"/>
                <a:gd name="connsiteX104" fmla="*/ 1304961 w 1659367"/>
                <a:gd name="connsiteY104" fmla="*/ 33498 h 126980"/>
                <a:gd name="connsiteX105" fmla="*/ 1293665 w 1659367"/>
                <a:gd name="connsiteY105" fmla="*/ 33498 h 126980"/>
                <a:gd name="connsiteX106" fmla="*/ 1293665 w 1659367"/>
                <a:gd name="connsiteY106" fmla="*/ 26341 h 126980"/>
                <a:gd name="connsiteX107" fmla="*/ 1304961 w 1659367"/>
                <a:gd name="connsiteY107" fmla="*/ 26341 h 126980"/>
                <a:gd name="connsiteX108" fmla="*/ 1304961 w 1659367"/>
                <a:gd name="connsiteY108" fmla="*/ 11929 h 126980"/>
                <a:gd name="connsiteX109" fmla="*/ 1318010 w 1659367"/>
                <a:gd name="connsiteY109" fmla="*/ 9446 h 126980"/>
                <a:gd name="connsiteX110" fmla="*/ 1318010 w 1659367"/>
                <a:gd name="connsiteY110" fmla="*/ 26341 h 126980"/>
                <a:gd name="connsiteX111" fmla="*/ 1354332 w 1659367"/>
                <a:gd name="connsiteY111" fmla="*/ 26341 h 126980"/>
                <a:gd name="connsiteX112" fmla="*/ 1354332 w 1659367"/>
                <a:gd name="connsiteY112" fmla="*/ 33498 h 126980"/>
                <a:gd name="connsiteX113" fmla="*/ 1318010 w 1659367"/>
                <a:gd name="connsiteY113" fmla="*/ 33498 h 126980"/>
                <a:gd name="connsiteX114" fmla="*/ 1202276 w 1659367"/>
                <a:gd name="connsiteY114" fmla="*/ 41921 h 126980"/>
                <a:gd name="connsiteX115" fmla="*/ 1200864 w 1659367"/>
                <a:gd name="connsiteY115" fmla="*/ 26389 h 126980"/>
                <a:gd name="connsiteX116" fmla="*/ 1215325 w 1659367"/>
                <a:gd name="connsiteY116" fmla="*/ 26389 h 126980"/>
                <a:gd name="connsiteX117" fmla="*/ 1215325 w 1659367"/>
                <a:gd name="connsiteY117" fmla="*/ 84134 h 126980"/>
                <a:gd name="connsiteX118" fmla="*/ 1216542 w 1659367"/>
                <a:gd name="connsiteY118" fmla="*/ 90659 h 126980"/>
                <a:gd name="connsiteX119" fmla="*/ 1221995 w 1659367"/>
                <a:gd name="connsiteY119" fmla="*/ 92217 h 126980"/>
                <a:gd name="connsiteX120" fmla="*/ 1263770 w 1659367"/>
                <a:gd name="connsiteY120" fmla="*/ 92217 h 126980"/>
                <a:gd name="connsiteX121" fmla="*/ 1269126 w 1659367"/>
                <a:gd name="connsiteY121" fmla="*/ 90561 h 126980"/>
                <a:gd name="connsiteX122" fmla="*/ 1270441 w 1659367"/>
                <a:gd name="connsiteY122" fmla="*/ 84134 h 126980"/>
                <a:gd name="connsiteX123" fmla="*/ 1270441 w 1659367"/>
                <a:gd name="connsiteY123" fmla="*/ 41872 h 126980"/>
                <a:gd name="connsiteX124" fmla="*/ 1269029 w 1659367"/>
                <a:gd name="connsiteY124" fmla="*/ 26341 h 126980"/>
                <a:gd name="connsiteX125" fmla="*/ 1283441 w 1659367"/>
                <a:gd name="connsiteY125" fmla="*/ 26341 h 126980"/>
                <a:gd name="connsiteX126" fmla="*/ 1283441 w 1659367"/>
                <a:gd name="connsiteY126" fmla="*/ 83794 h 126980"/>
                <a:gd name="connsiteX127" fmla="*/ 1284853 w 1659367"/>
                <a:gd name="connsiteY127" fmla="*/ 99325 h 126980"/>
                <a:gd name="connsiteX128" fmla="*/ 1271804 w 1659367"/>
                <a:gd name="connsiteY128" fmla="*/ 99325 h 126980"/>
                <a:gd name="connsiteX129" fmla="*/ 1271025 w 1659367"/>
                <a:gd name="connsiteY129" fmla="*/ 94018 h 126980"/>
                <a:gd name="connsiteX130" fmla="*/ 1267860 w 1659367"/>
                <a:gd name="connsiteY130" fmla="*/ 98108 h 126980"/>
                <a:gd name="connsiteX131" fmla="*/ 1262650 w 1659367"/>
                <a:gd name="connsiteY131" fmla="*/ 99277 h 126980"/>
                <a:gd name="connsiteX132" fmla="*/ 1221216 w 1659367"/>
                <a:gd name="connsiteY132" fmla="*/ 99277 h 126980"/>
                <a:gd name="connsiteX133" fmla="*/ 1206366 w 1659367"/>
                <a:gd name="connsiteY133" fmla="*/ 95284 h 126980"/>
                <a:gd name="connsiteX134" fmla="*/ 1202228 w 1659367"/>
                <a:gd name="connsiteY134" fmla="*/ 80288 h 126980"/>
                <a:gd name="connsiteX135" fmla="*/ 1202228 w 1659367"/>
                <a:gd name="connsiteY135" fmla="*/ 41775 h 126980"/>
                <a:gd name="connsiteX136" fmla="*/ 1186160 w 1659367"/>
                <a:gd name="connsiteY136" fmla="*/ 0 h 126980"/>
                <a:gd name="connsiteX137" fmla="*/ 1186160 w 1659367"/>
                <a:gd name="connsiteY137" fmla="*/ 83842 h 126980"/>
                <a:gd name="connsiteX138" fmla="*/ 1187572 w 1659367"/>
                <a:gd name="connsiteY138" fmla="*/ 99374 h 126980"/>
                <a:gd name="connsiteX139" fmla="*/ 1171748 w 1659367"/>
                <a:gd name="connsiteY139" fmla="*/ 99374 h 126980"/>
                <a:gd name="connsiteX140" fmla="*/ 1173160 w 1659367"/>
                <a:gd name="connsiteY140" fmla="*/ 83842 h 126980"/>
                <a:gd name="connsiteX141" fmla="*/ 1173160 w 1659367"/>
                <a:gd name="connsiteY141" fmla="*/ 15532 h 126980"/>
                <a:gd name="connsiteX142" fmla="*/ 1171748 w 1659367"/>
                <a:gd name="connsiteY142" fmla="*/ 0 h 126980"/>
                <a:gd name="connsiteX143" fmla="*/ 1186209 w 1659367"/>
                <a:gd name="connsiteY143" fmla="*/ 0 h 126980"/>
                <a:gd name="connsiteX144" fmla="*/ 1096573 w 1659367"/>
                <a:gd name="connsiteY144" fmla="*/ 33547 h 126980"/>
                <a:gd name="connsiteX145" fmla="*/ 1091217 w 1659367"/>
                <a:gd name="connsiteY145" fmla="*/ 35153 h 126980"/>
                <a:gd name="connsiteX146" fmla="*/ 1089902 w 1659367"/>
                <a:gd name="connsiteY146" fmla="*/ 41580 h 126980"/>
                <a:gd name="connsiteX147" fmla="*/ 1089902 w 1659367"/>
                <a:gd name="connsiteY147" fmla="*/ 84134 h 126980"/>
                <a:gd name="connsiteX148" fmla="*/ 1091119 w 1659367"/>
                <a:gd name="connsiteY148" fmla="*/ 90659 h 126980"/>
                <a:gd name="connsiteX149" fmla="*/ 1096573 w 1659367"/>
                <a:gd name="connsiteY149" fmla="*/ 92217 h 126980"/>
                <a:gd name="connsiteX150" fmla="*/ 1138981 w 1659367"/>
                <a:gd name="connsiteY150" fmla="*/ 92217 h 126980"/>
                <a:gd name="connsiteX151" fmla="*/ 1144336 w 1659367"/>
                <a:gd name="connsiteY151" fmla="*/ 90561 h 126980"/>
                <a:gd name="connsiteX152" fmla="*/ 1145651 w 1659367"/>
                <a:gd name="connsiteY152" fmla="*/ 84134 h 126980"/>
                <a:gd name="connsiteX153" fmla="*/ 1145651 w 1659367"/>
                <a:gd name="connsiteY153" fmla="*/ 41580 h 126980"/>
                <a:gd name="connsiteX154" fmla="*/ 1144434 w 1659367"/>
                <a:gd name="connsiteY154" fmla="*/ 35056 h 126980"/>
                <a:gd name="connsiteX155" fmla="*/ 1139029 w 1659367"/>
                <a:gd name="connsiteY155" fmla="*/ 33498 h 126980"/>
                <a:gd name="connsiteX156" fmla="*/ 1096621 w 1659367"/>
                <a:gd name="connsiteY156" fmla="*/ 33498 h 126980"/>
                <a:gd name="connsiteX157" fmla="*/ 1158651 w 1659367"/>
                <a:gd name="connsiteY157" fmla="*/ 80434 h 126980"/>
                <a:gd name="connsiteX158" fmla="*/ 1154561 w 1659367"/>
                <a:gd name="connsiteY158" fmla="*/ 95284 h 126980"/>
                <a:gd name="connsiteX159" fmla="*/ 1139711 w 1659367"/>
                <a:gd name="connsiteY159" fmla="*/ 99423 h 126980"/>
                <a:gd name="connsiteX160" fmla="*/ 1095793 w 1659367"/>
                <a:gd name="connsiteY160" fmla="*/ 99423 h 126980"/>
                <a:gd name="connsiteX161" fmla="*/ 1080943 w 1659367"/>
                <a:gd name="connsiteY161" fmla="*/ 95430 h 126980"/>
                <a:gd name="connsiteX162" fmla="*/ 1076854 w 1659367"/>
                <a:gd name="connsiteY162" fmla="*/ 80434 h 126980"/>
                <a:gd name="connsiteX163" fmla="*/ 1076854 w 1659367"/>
                <a:gd name="connsiteY163" fmla="*/ 45378 h 126980"/>
                <a:gd name="connsiteX164" fmla="*/ 1080943 w 1659367"/>
                <a:gd name="connsiteY164" fmla="*/ 30528 h 126980"/>
                <a:gd name="connsiteX165" fmla="*/ 1095793 w 1659367"/>
                <a:gd name="connsiteY165" fmla="*/ 26438 h 126980"/>
                <a:gd name="connsiteX166" fmla="*/ 1139711 w 1659367"/>
                <a:gd name="connsiteY166" fmla="*/ 26438 h 126980"/>
                <a:gd name="connsiteX167" fmla="*/ 1154561 w 1659367"/>
                <a:gd name="connsiteY167" fmla="*/ 30431 h 126980"/>
                <a:gd name="connsiteX168" fmla="*/ 1158651 w 1659367"/>
                <a:gd name="connsiteY168" fmla="*/ 45427 h 126980"/>
                <a:gd name="connsiteX169" fmla="*/ 1158651 w 1659367"/>
                <a:gd name="connsiteY169" fmla="*/ 80483 h 126980"/>
                <a:gd name="connsiteX170" fmla="*/ 1062101 w 1659367"/>
                <a:gd name="connsiteY170" fmla="*/ 0 h 126980"/>
                <a:gd name="connsiteX171" fmla="*/ 1063318 w 1659367"/>
                <a:gd name="connsiteY171" fmla="*/ 10273 h 126980"/>
                <a:gd name="connsiteX172" fmla="*/ 1057281 w 1659367"/>
                <a:gd name="connsiteY172" fmla="*/ 9007 h 126980"/>
                <a:gd name="connsiteX173" fmla="*/ 1043940 w 1659367"/>
                <a:gd name="connsiteY173" fmla="*/ 8082 h 126980"/>
                <a:gd name="connsiteX174" fmla="*/ 1002651 w 1659367"/>
                <a:gd name="connsiteY174" fmla="*/ 8082 h 126980"/>
                <a:gd name="connsiteX175" fmla="*/ 997296 w 1659367"/>
                <a:gd name="connsiteY175" fmla="*/ 9689 h 126980"/>
                <a:gd name="connsiteX176" fmla="*/ 995981 w 1659367"/>
                <a:gd name="connsiteY176" fmla="*/ 16116 h 126980"/>
                <a:gd name="connsiteX177" fmla="*/ 995981 w 1659367"/>
                <a:gd name="connsiteY177" fmla="*/ 32719 h 126980"/>
                <a:gd name="connsiteX178" fmla="*/ 997247 w 1659367"/>
                <a:gd name="connsiteY178" fmla="*/ 39195 h 126980"/>
                <a:gd name="connsiteX179" fmla="*/ 1002651 w 1659367"/>
                <a:gd name="connsiteY179" fmla="*/ 40753 h 126980"/>
                <a:gd name="connsiteX180" fmla="*/ 1043648 w 1659367"/>
                <a:gd name="connsiteY180" fmla="*/ 40753 h 126980"/>
                <a:gd name="connsiteX181" fmla="*/ 1060835 w 1659367"/>
                <a:gd name="connsiteY181" fmla="*/ 44745 h 126980"/>
                <a:gd name="connsiteX182" fmla="*/ 1065558 w 1659367"/>
                <a:gd name="connsiteY182" fmla="*/ 60033 h 126980"/>
                <a:gd name="connsiteX183" fmla="*/ 1065558 w 1659367"/>
                <a:gd name="connsiteY183" fmla="*/ 80045 h 126980"/>
                <a:gd name="connsiteX184" fmla="*/ 1060835 w 1659367"/>
                <a:gd name="connsiteY184" fmla="*/ 95333 h 126980"/>
                <a:gd name="connsiteX185" fmla="*/ 1043648 w 1659367"/>
                <a:gd name="connsiteY185" fmla="*/ 99325 h 126980"/>
                <a:gd name="connsiteX186" fmla="*/ 982202 w 1659367"/>
                <a:gd name="connsiteY186" fmla="*/ 99325 h 126980"/>
                <a:gd name="connsiteX187" fmla="*/ 980936 w 1659367"/>
                <a:gd name="connsiteY187" fmla="*/ 90464 h 126980"/>
                <a:gd name="connsiteX188" fmla="*/ 987022 w 1659367"/>
                <a:gd name="connsiteY188" fmla="*/ 90902 h 126980"/>
                <a:gd name="connsiteX189" fmla="*/ 1000363 w 1659367"/>
                <a:gd name="connsiteY189" fmla="*/ 91243 h 126980"/>
                <a:gd name="connsiteX190" fmla="*/ 1043063 w 1659367"/>
                <a:gd name="connsiteY190" fmla="*/ 91243 h 126980"/>
                <a:gd name="connsiteX191" fmla="*/ 1048419 w 1659367"/>
                <a:gd name="connsiteY191" fmla="*/ 89636 h 126980"/>
                <a:gd name="connsiteX192" fmla="*/ 1049734 w 1659367"/>
                <a:gd name="connsiteY192" fmla="*/ 83209 h 126980"/>
                <a:gd name="connsiteX193" fmla="*/ 1049734 w 1659367"/>
                <a:gd name="connsiteY193" fmla="*/ 63783 h 126980"/>
                <a:gd name="connsiteX194" fmla="*/ 1048468 w 1659367"/>
                <a:gd name="connsiteY194" fmla="*/ 57258 h 126980"/>
                <a:gd name="connsiteX195" fmla="*/ 1043015 w 1659367"/>
                <a:gd name="connsiteY195" fmla="*/ 55700 h 126980"/>
                <a:gd name="connsiteX196" fmla="*/ 1002018 w 1659367"/>
                <a:gd name="connsiteY196" fmla="*/ 55700 h 126980"/>
                <a:gd name="connsiteX197" fmla="*/ 984880 w 1659367"/>
                <a:gd name="connsiteY197" fmla="*/ 51756 h 126980"/>
                <a:gd name="connsiteX198" fmla="*/ 980157 w 1659367"/>
                <a:gd name="connsiteY198" fmla="*/ 36468 h 126980"/>
                <a:gd name="connsiteX199" fmla="*/ 980157 w 1659367"/>
                <a:gd name="connsiteY199" fmla="*/ 19232 h 126980"/>
                <a:gd name="connsiteX200" fmla="*/ 984880 w 1659367"/>
                <a:gd name="connsiteY200" fmla="*/ 3944 h 126980"/>
                <a:gd name="connsiteX201" fmla="*/ 1002018 w 1659367"/>
                <a:gd name="connsiteY201" fmla="*/ 0 h 126980"/>
                <a:gd name="connsiteX202" fmla="*/ 1062101 w 1659367"/>
                <a:gd name="connsiteY202" fmla="*/ 0 h 126980"/>
                <a:gd name="connsiteX203" fmla="*/ 915206 w 1659367"/>
                <a:gd name="connsiteY203" fmla="*/ 108041 h 126980"/>
                <a:gd name="connsiteX204" fmla="*/ 911068 w 1659367"/>
                <a:gd name="connsiteY204" fmla="*/ 122891 h 126980"/>
                <a:gd name="connsiteX205" fmla="*/ 896266 w 1659367"/>
                <a:gd name="connsiteY205" fmla="*/ 126981 h 126980"/>
                <a:gd name="connsiteX206" fmla="*/ 836184 w 1659367"/>
                <a:gd name="connsiteY206" fmla="*/ 126981 h 126980"/>
                <a:gd name="connsiteX207" fmla="*/ 834918 w 1659367"/>
                <a:gd name="connsiteY207" fmla="*/ 118752 h 126980"/>
                <a:gd name="connsiteX208" fmla="*/ 850450 w 1659367"/>
                <a:gd name="connsiteY208" fmla="*/ 119872 h 126980"/>
                <a:gd name="connsiteX209" fmla="*/ 895487 w 1659367"/>
                <a:gd name="connsiteY209" fmla="*/ 119872 h 126980"/>
                <a:gd name="connsiteX210" fmla="*/ 900843 w 1659367"/>
                <a:gd name="connsiteY210" fmla="*/ 118217 h 126980"/>
                <a:gd name="connsiteX211" fmla="*/ 902158 w 1659367"/>
                <a:gd name="connsiteY211" fmla="*/ 111741 h 126980"/>
                <a:gd name="connsiteX212" fmla="*/ 902158 w 1659367"/>
                <a:gd name="connsiteY212" fmla="*/ 96988 h 126980"/>
                <a:gd name="connsiteX213" fmla="*/ 895487 w 1659367"/>
                <a:gd name="connsiteY213" fmla="*/ 99325 h 126980"/>
                <a:gd name="connsiteX214" fmla="*/ 853128 w 1659367"/>
                <a:gd name="connsiteY214" fmla="*/ 99325 h 126980"/>
                <a:gd name="connsiteX215" fmla="*/ 838278 w 1659367"/>
                <a:gd name="connsiteY215" fmla="*/ 95333 h 126980"/>
                <a:gd name="connsiteX216" fmla="*/ 834139 w 1659367"/>
                <a:gd name="connsiteY216" fmla="*/ 80337 h 126980"/>
                <a:gd name="connsiteX217" fmla="*/ 834139 w 1659367"/>
                <a:gd name="connsiteY217" fmla="*/ 41824 h 126980"/>
                <a:gd name="connsiteX218" fmla="*/ 832776 w 1659367"/>
                <a:gd name="connsiteY218" fmla="*/ 26292 h 126980"/>
                <a:gd name="connsiteX219" fmla="*/ 847236 w 1659367"/>
                <a:gd name="connsiteY219" fmla="*/ 26292 h 126980"/>
                <a:gd name="connsiteX220" fmla="*/ 847236 w 1659367"/>
                <a:gd name="connsiteY220" fmla="*/ 84037 h 126980"/>
                <a:gd name="connsiteX221" fmla="*/ 848454 w 1659367"/>
                <a:gd name="connsiteY221" fmla="*/ 90561 h 126980"/>
                <a:gd name="connsiteX222" fmla="*/ 853858 w 1659367"/>
                <a:gd name="connsiteY222" fmla="*/ 92119 h 126980"/>
                <a:gd name="connsiteX223" fmla="*/ 895487 w 1659367"/>
                <a:gd name="connsiteY223" fmla="*/ 92119 h 126980"/>
                <a:gd name="connsiteX224" fmla="*/ 900843 w 1659367"/>
                <a:gd name="connsiteY224" fmla="*/ 90464 h 126980"/>
                <a:gd name="connsiteX225" fmla="*/ 902158 w 1659367"/>
                <a:gd name="connsiteY225" fmla="*/ 84037 h 126980"/>
                <a:gd name="connsiteX226" fmla="*/ 902158 w 1659367"/>
                <a:gd name="connsiteY226" fmla="*/ 41775 h 126980"/>
                <a:gd name="connsiteX227" fmla="*/ 900746 w 1659367"/>
                <a:gd name="connsiteY227" fmla="*/ 26243 h 126980"/>
                <a:gd name="connsiteX228" fmla="*/ 915206 w 1659367"/>
                <a:gd name="connsiteY228" fmla="*/ 26243 h 126980"/>
                <a:gd name="connsiteX229" fmla="*/ 915206 w 1659367"/>
                <a:gd name="connsiteY229" fmla="*/ 107895 h 126980"/>
                <a:gd name="connsiteX230" fmla="*/ 786034 w 1659367"/>
                <a:gd name="connsiteY230" fmla="*/ 33547 h 126980"/>
                <a:gd name="connsiteX231" fmla="*/ 786034 w 1659367"/>
                <a:gd name="connsiteY231" fmla="*/ 84134 h 126980"/>
                <a:gd name="connsiteX232" fmla="*/ 787300 w 1659367"/>
                <a:gd name="connsiteY232" fmla="*/ 90659 h 126980"/>
                <a:gd name="connsiteX233" fmla="*/ 792705 w 1659367"/>
                <a:gd name="connsiteY233" fmla="*/ 92217 h 126980"/>
                <a:gd name="connsiteX234" fmla="*/ 810525 w 1659367"/>
                <a:gd name="connsiteY234" fmla="*/ 92217 h 126980"/>
                <a:gd name="connsiteX235" fmla="*/ 826057 w 1659367"/>
                <a:gd name="connsiteY235" fmla="*/ 90805 h 126980"/>
                <a:gd name="connsiteX236" fmla="*/ 824986 w 1659367"/>
                <a:gd name="connsiteY236" fmla="*/ 99374 h 126980"/>
                <a:gd name="connsiteX237" fmla="*/ 791877 w 1659367"/>
                <a:gd name="connsiteY237" fmla="*/ 99374 h 126980"/>
                <a:gd name="connsiteX238" fmla="*/ 777076 w 1659367"/>
                <a:gd name="connsiteY238" fmla="*/ 95382 h 126980"/>
                <a:gd name="connsiteX239" fmla="*/ 772937 w 1659367"/>
                <a:gd name="connsiteY239" fmla="*/ 80385 h 126980"/>
                <a:gd name="connsiteX240" fmla="*/ 772937 w 1659367"/>
                <a:gd name="connsiteY240" fmla="*/ 33498 h 126980"/>
                <a:gd name="connsiteX241" fmla="*/ 761593 w 1659367"/>
                <a:gd name="connsiteY241" fmla="*/ 33498 h 126980"/>
                <a:gd name="connsiteX242" fmla="*/ 761593 w 1659367"/>
                <a:gd name="connsiteY242" fmla="*/ 26341 h 126980"/>
                <a:gd name="connsiteX243" fmla="*/ 772937 w 1659367"/>
                <a:gd name="connsiteY243" fmla="*/ 26341 h 126980"/>
                <a:gd name="connsiteX244" fmla="*/ 772937 w 1659367"/>
                <a:gd name="connsiteY244" fmla="*/ 11929 h 126980"/>
                <a:gd name="connsiteX245" fmla="*/ 785986 w 1659367"/>
                <a:gd name="connsiteY245" fmla="*/ 9446 h 126980"/>
                <a:gd name="connsiteX246" fmla="*/ 785986 w 1659367"/>
                <a:gd name="connsiteY246" fmla="*/ 26341 h 126980"/>
                <a:gd name="connsiteX247" fmla="*/ 822308 w 1659367"/>
                <a:gd name="connsiteY247" fmla="*/ 26341 h 126980"/>
                <a:gd name="connsiteX248" fmla="*/ 822308 w 1659367"/>
                <a:gd name="connsiteY248" fmla="*/ 33498 h 126980"/>
                <a:gd name="connsiteX249" fmla="*/ 785986 w 1659367"/>
                <a:gd name="connsiteY249" fmla="*/ 33498 h 126980"/>
                <a:gd name="connsiteX250" fmla="*/ 736031 w 1659367"/>
                <a:gd name="connsiteY250" fmla="*/ 6816 h 126980"/>
                <a:gd name="connsiteX251" fmla="*/ 749080 w 1659367"/>
                <a:gd name="connsiteY251" fmla="*/ 6816 h 126980"/>
                <a:gd name="connsiteX252" fmla="*/ 749080 w 1659367"/>
                <a:gd name="connsiteY252" fmla="*/ 17382 h 126980"/>
                <a:gd name="connsiteX253" fmla="*/ 736031 w 1659367"/>
                <a:gd name="connsiteY253" fmla="*/ 17382 h 126980"/>
                <a:gd name="connsiteX254" fmla="*/ 736031 w 1659367"/>
                <a:gd name="connsiteY254" fmla="*/ 6816 h 126980"/>
                <a:gd name="connsiteX255" fmla="*/ 749080 w 1659367"/>
                <a:gd name="connsiteY255" fmla="*/ 83842 h 126980"/>
                <a:gd name="connsiteX256" fmla="*/ 750443 w 1659367"/>
                <a:gd name="connsiteY256" fmla="*/ 99374 h 126980"/>
                <a:gd name="connsiteX257" fmla="*/ 734619 w 1659367"/>
                <a:gd name="connsiteY257" fmla="*/ 99374 h 126980"/>
                <a:gd name="connsiteX258" fmla="*/ 736031 w 1659367"/>
                <a:gd name="connsiteY258" fmla="*/ 83842 h 126980"/>
                <a:gd name="connsiteX259" fmla="*/ 736031 w 1659367"/>
                <a:gd name="connsiteY259" fmla="*/ 41872 h 126980"/>
                <a:gd name="connsiteX260" fmla="*/ 734619 w 1659367"/>
                <a:gd name="connsiteY260" fmla="*/ 26341 h 126980"/>
                <a:gd name="connsiteX261" fmla="*/ 749080 w 1659367"/>
                <a:gd name="connsiteY261" fmla="*/ 26341 h 126980"/>
                <a:gd name="connsiteX262" fmla="*/ 749080 w 1659367"/>
                <a:gd name="connsiteY262" fmla="*/ 83794 h 126980"/>
                <a:gd name="connsiteX263" fmla="*/ 650777 w 1659367"/>
                <a:gd name="connsiteY263" fmla="*/ 26389 h 126980"/>
                <a:gd name="connsiteX264" fmla="*/ 652335 w 1659367"/>
                <a:gd name="connsiteY264" fmla="*/ 32378 h 126980"/>
                <a:gd name="connsiteX265" fmla="*/ 654185 w 1659367"/>
                <a:gd name="connsiteY265" fmla="*/ 37247 h 126980"/>
                <a:gd name="connsiteX266" fmla="*/ 682570 w 1659367"/>
                <a:gd name="connsiteY266" fmla="*/ 93142 h 126980"/>
                <a:gd name="connsiteX267" fmla="*/ 710907 w 1659367"/>
                <a:gd name="connsiteY267" fmla="*/ 40314 h 126980"/>
                <a:gd name="connsiteX268" fmla="*/ 715874 w 1659367"/>
                <a:gd name="connsiteY268" fmla="*/ 26341 h 126980"/>
                <a:gd name="connsiteX269" fmla="*/ 730139 w 1659367"/>
                <a:gd name="connsiteY269" fmla="*/ 26341 h 126980"/>
                <a:gd name="connsiteX270" fmla="*/ 728435 w 1659367"/>
                <a:gd name="connsiteY270" fmla="*/ 28191 h 126980"/>
                <a:gd name="connsiteX271" fmla="*/ 723323 w 1659367"/>
                <a:gd name="connsiteY271" fmla="*/ 34180 h 126980"/>
                <a:gd name="connsiteX272" fmla="*/ 719623 w 1659367"/>
                <a:gd name="connsiteY272" fmla="*/ 40314 h 126980"/>
                <a:gd name="connsiteX273" fmla="*/ 688559 w 1659367"/>
                <a:gd name="connsiteY273" fmla="*/ 99325 h 126980"/>
                <a:gd name="connsiteX274" fmla="*/ 671810 w 1659367"/>
                <a:gd name="connsiteY274" fmla="*/ 99325 h 126980"/>
                <a:gd name="connsiteX275" fmla="*/ 639091 w 1659367"/>
                <a:gd name="connsiteY275" fmla="*/ 34715 h 126980"/>
                <a:gd name="connsiteX276" fmla="*/ 637241 w 1659367"/>
                <a:gd name="connsiteY276" fmla="*/ 31161 h 126980"/>
                <a:gd name="connsiteX277" fmla="*/ 634271 w 1659367"/>
                <a:gd name="connsiteY277" fmla="*/ 26341 h 126980"/>
                <a:gd name="connsiteX278" fmla="*/ 650874 w 1659367"/>
                <a:gd name="connsiteY278" fmla="*/ 26341 h 126980"/>
                <a:gd name="connsiteX279" fmla="*/ 615233 w 1659367"/>
                <a:gd name="connsiteY279" fmla="*/ 6816 h 126980"/>
                <a:gd name="connsiteX280" fmla="*/ 628282 w 1659367"/>
                <a:gd name="connsiteY280" fmla="*/ 6816 h 126980"/>
                <a:gd name="connsiteX281" fmla="*/ 628282 w 1659367"/>
                <a:gd name="connsiteY281" fmla="*/ 17382 h 126980"/>
                <a:gd name="connsiteX282" fmla="*/ 615233 w 1659367"/>
                <a:gd name="connsiteY282" fmla="*/ 17382 h 126980"/>
                <a:gd name="connsiteX283" fmla="*/ 615233 w 1659367"/>
                <a:gd name="connsiteY283" fmla="*/ 6816 h 126980"/>
                <a:gd name="connsiteX284" fmla="*/ 628282 w 1659367"/>
                <a:gd name="connsiteY284" fmla="*/ 83842 h 126980"/>
                <a:gd name="connsiteX285" fmla="*/ 629694 w 1659367"/>
                <a:gd name="connsiteY285" fmla="*/ 99374 h 126980"/>
                <a:gd name="connsiteX286" fmla="*/ 613870 w 1659367"/>
                <a:gd name="connsiteY286" fmla="*/ 99374 h 126980"/>
                <a:gd name="connsiteX287" fmla="*/ 615282 w 1659367"/>
                <a:gd name="connsiteY287" fmla="*/ 83842 h 126980"/>
                <a:gd name="connsiteX288" fmla="*/ 615282 w 1659367"/>
                <a:gd name="connsiteY288" fmla="*/ 41872 h 126980"/>
                <a:gd name="connsiteX289" fmla="*/ 613870 w 1659367"/>
                <a:gd name="connsiteY289" fmla="*/ 26341 h 126980"/>
                <a:gd name="connsiteX290" fmla="*/ 628331 w 1659367"/>
                <a:gd name="connsiteY290" fmla="*/ 26341 h 126980"/>
                <a:gd name="connsiteX291" fmla="*/ 628331 w 1659367"/>
                <a:gd name="connsiteY291" fmla="*/ 83794 h 126980"/>
                <a:gd name="connsiteX292" fmla="*/ 564646 w 1659367"/>
                <a:gd name="connsiteY292" fmla="*/ 33547 h 126980"/>
                <a:gd name="connsiteX293" fmla="*/ 564646 w 1659367"/>
                <a:gd name="connsiteY293" fmla="*/ 84134 h 126980"/>
                <a:gd name="connsiteX294" fmla="*/ 565863 w 1659367"/>
                <a:gd name="connsiteY294" fmla="*/ 90659 h 126980"/>
                <a:gd name="connsiteX295" fmla="*/ 571316 w 1659367"/>
                <a:gd name="connsiteY295" fmla="*/ 92217 h 126980"/>
                <a:gd name="connsiteX296" fmla="*/ 589185 w 1659367"/>
                <a:gd name="connsiteY296" fmla="*/ 92217 h 126980"/>
                <a:gd name="connsiteX297" fmla="*/ 604717 w 1659367"/>
                <a:gd name="connsiteY297" fmla="*/ 90805 h 126980"/>
                <a:gd name="connsiteX298" fmla="*/ 603646 w 1659367"/>
                <a:gd name="connsiteY298" fmla="*/ 99374 h 126980"/>
                <a:gd name="connsiteX299" fmla="*/ 570586 w 1659367"/>
                <a:gd name="connsiteY299" fmla="*/ 99374 h 126980"/>
                <a:gd name="connsiteX300" fmla="*/ 555736 w 1659367"/>
                <a:gd name="connsiteY300" fmla="*/ 95382 h 126980"/>
                <a:gd name="connsiteX301" fmla="*/ 551646 w 1659367"/>
                <a:gd name="connsiteY301" fmla="*/ 80385 h 126980"/>
                <a:gd name="connsiteX302" fmla="*/ 551646 w 1659367"/>
                <a:gd name="connsiteY302" fmla="*/ 33498 h 126980"/>
                <a:gd name="connsiteX303" fmla="*/ 540301 w 1659367"/>
                <a:gd name="connsiteY303" fmla="*/ 33498 h 126980"/>
                <a:gd name="connsiteX304" fmla="*/ 540301 w 1659367"/>
                <a:gd name="connsiteY304" fmla="*/ 26341 h 126980"/>
                <a:gd name="connsiteX305" fmla="*/ 551646 w 1659367"/>
                <a:gd name="connsiteY305" fmla="*/ 26341 h 126980"/>
                <a:gd name="connsiteX306" fmla="*/ 551646 w 1659367"/>
                <a:gd name="connsiteY306" fmla="*/ 11929 h 126980"/>
                <a:gd name="connsiteX307" fmla="*/ 564694 w 1659367"/>
                <a:gd name="connsiteY307" fmla="*/ 9446 h 126980"/>
                <a:gd name="connsiteX308" fmla="*/ 564694 w 1659367"/>
                <a:gd name="connsiteY308" fmla="*/ 26341 h 126980"/>
                <a:gd name="connsiteX309" fmla="*/ 601016 w 1659367"/>
                <a:gd name="connsiteY309" fmla="*/ 26341 h 126980"/>
                <a:gd name="connsiteX310" fmla="*/ 601016 w 1659367"/>
                <a:gd name="connsiteY310" fmla="*/ 33498 h 126980"/>
                <a:gd name="connsiteX311" fmla="*/ 564694 w 1659367"/>
                <a:gd name="connsiteY311" fmla="*/ 33498 h 126980"/>
                <a:gd name="connsiteX312" fmla="*/ 473500 w 1659367"/>
                <a:gd name="connsiteY312" fmla="*/ 84134 h 126980"/>
                <a:gd name="connsiteX313" fmla="*/ 474766 w 1659367"/>
                <a:gd name="connsiteY313" fmla="*/ 90659 h 126980"/>
                <a:gd name="connsiteX314" fmla="*/ 480219 w 1659367"/>
                <a:gd name="connsiteY314" fmla="*/ 92217 h 126980"/>
                <a:gd name="connsiteX315" fmla="*/ 519511 w 1659367"/>
                <a:gd name="connsiteY315" fmla="*/ 92217 h 126980"/>
                <a:gd name="connsiteX316" fmla="*/ 535043 w 1659367"/>
                <a:gd name="connsiteY316" fmla="*/ 90805 h 126980"/>
                <a:gd name="connsiteX317" fmla="*/ 533972 w 1659367"/>
                <a:gd name="connsiteY317" fmla="*/ 99374 h 126980"/>
                <a:gd name="connsiteX318" fmla="*/ 479489 w 1659367"/>
                <a:gd name="connsiteY318" fmla="*/ 99374 h 126980"/>
                <a:gd name="connsiteX319" fmla="*/ 464639 w 1659367"/>
                <a:gd name="connsiteY319" fmla="*/ 95382 h 126980"/>
                <a:gd name="connsiteX320" fmla="*/ 460500 w 1659367"/>
                <a:gd name="connsiteY320" fmla="*/ 80385 h 126980"/>
                <a:gd name="connsiteX321" fmla="*/ 460500 w 1659367"/>
                <a:gd name="connsiteY321" fmla="*/ 45329 h 126980"/>
                <a:gd name="connsiteX322" fmla="*/ 464639 w 1659367"/>
                <a:gd name="connsiteY322" fmla="*/ 30479 h 126980"/>
                <a:gd name="connsiteX323" fmla="*/ 479489 w 1659367"/>
                <a:gd name="connsiteY323" fmla="*/ 26389 h 126980"/>
                <a:gd name="connsiteX324" fmla="*/ 532901 w 1659367"/>
                <a:gd name="connsiteY324" fmla="*/ 26389 h 126980"/>
                <a:gd name="connsiteX325" fmla="*/ 533534 w 1659367"/>
                <a:gd name="connsiteY325" fmla="*/ 34910 h 126980"/>
                <a:gd name="connsiteX326" fmla="*/ 518002 w 1659367"/>
                <a:gd name="connsiteY326" fmla="*/ 33498 h 126980"/>
                <a:gd name="connsiteX327" fmla="*/ 480268 w 1659367"/>
                <a:gd name="connsiteY327" fmla="*/ 33498 h 126980"/>
                <a:gd name="connsiteX328" fmla="*/ 474912 w 1659367"/>
                <a:gd name="connsiteY328" fmla="*/ 35105 h 126980"/>
                <a:gd name="connsiteX329" fmla="*/ 473597 w 1659367"/>
                <a:gd name="connsiteY329" fmla="*/ 41532 h 126980"/>
                <a:gd name="connsiteX330" fmla="*/ 473597 w 1659367"/>
                <a:gd name="connsiteY330" fmla="*/ 84086 h 126980"/>
                <a:gd name="connsiteX331" fmla="*/ 379725 w 1659367"/>
                <a:gd name="connsiteY331" fmla="*/ 67385 h 126980"/>
                <a:gd name="connsiteX332" fmla="*/ 379725 w 1659367"/>
                <a:gd name="connsiteY332" fmla="*/ 84134 h 126980"/>
                <a:gd name="connsiteX333" fmla="*/ 380942 w 1659367"/>
                <a:gd name="connsiteY333" fmla="*/ 90659 h 126980"/>
                <a:gd name="connsiteX334" fmla="*/ 386347 w 1659367"/>
                <a:gd name="connsiteY334" fmla="*/ 92217 h 126980"/>
                <a:gd name="connsiteX335" fmla="*/ 432942 w 1659367"/>
                <a:gd name="connsiteY335" fmla="*/ 92217 h 126980"/>
                <a:gd name="connsiteX336" fmla="*/ 448474 w 1659367"/>
                <a:gd name="connsiteY336" fmla="*/ 90805 h 126980"/>
                <a:gd name="connsiteX337" fmla="*/ 446916 w 1659367"/>
                <a:gd name="connsiteY337" fmla="*/ 99374 h 126980"/>
                <a:gd name="connsiteX338" fmla="*/ 385568 w 1659367"/>
                <a:gd name="connsiteY338" fmla="*/ 99374 h 126980"/>
                <a:gd name="connsiteX339" fmla="*/ 370718 w 1659367"/>
                <a:gd name="connsiteY339" fmla="*/ 95382 h 126980"/>
                <a:gd name="connsiteX340" fmla="*/ 366579 w 1659367"/>
                <a:gd name="connsiteY340" fmla="*/ 80385 h 126980"/>
                <a:gd name="connsiteX341" fmla="*/ 366579 w 1659367"/>
                <a:gd name="connsiteY341" fmla="*/ 45329 h 126980"/>
                <a:gd name="connsiteX342" fmla="*/ 370718 w 1659367"/>
                <a:gd name="connsiteY342" fmla="*/ 30479 h 126980"/>
                <a:gd name="connsiteX343" fmla="*/ 385568 w 1659367"/>
                <a:gd name="connsiteY343" fmla="*/ 26389 h 126980"/>
                <a:gd name="connsiteX344" fmla="*/ 429485 w 1659367"/>
                <a:gd name="connsiteY344" fmla="*/ 26389 h 126980"/>
                <a:gd name="connsiteX345" fmla="*/ 444335 w 1659367"/>
                <a:gd name="connsiteY345" fmla="*/ 30382 h 126980"/>
                <a:gd name="connsiteX346" fmla="*/ 448425 w 1659367"/>
                <a:gd name="connsiteY346" fmla="*/ 45378 h 126980"/>
                <a:gd name="connsiteX347" fmla="*/ 448425 w 1659367"/>
                <a:gd name="connsiteY347" fmla="*/ 67385 h 126980"/>
                <a:gd name="connsiteX348" fmla="*/ 379676 w 1659367"/>
                <a:gd name="connsiteY348" fmla="*/ 67385 h 126980"/>
                <a:gd name="connsiteX349" fmla="*/ 435474 w 1659367"/>
                <a:gd name="connsiteY349" fmla="*/ 60228 h 126980"/>
                <a:gd name="connsiteX350" fmla="*/ 435474 w 1659367"/>
                <a:gd name="connsiteY350" fmla="*/ 41580 h 126980"/>
                <a:gd name="connsiteX351" fmla="*/ 434257 w 1659367"/>
                <a:gd name="connsiteY351" fmla="*/ 35056 h 126980"/>
                <a:gd name="connsiteX352" fmla="*/ 428804 w 1659367"/>
                <a:gd name="connsiteY352" fmla="*/ 33498 h 126980"/>
                <a:gd name="connsiteX353" fmla="*/ 386395 w 1659367"/>
                <a:gd name="connsiteY353" fmla="*/ 33498 h 126980"/>
                <a:gd name="connsiteX354" fmla="*/ 381040 w 1659367"/>
                <a:gd name="connsiteY354" fmla="*/ 35105 h 126980"/>
                <a:gd name="connsiteX355" fmla="*/ 379725 w 1659367"/>
                <a:gd name="connsiteY355" fmla="*/ 41532 h 126980"/>
                <a:gd name="connsiteX356" fmla="*/ 379725 w 1659367"/>
                <a:gd name="connsiteY356" fmla="*/ 60180 h 126980"/>
                <a:gd name="connsiteX357" fmla="*/ 435474 w 1659367"/>
                <a:gd name="connsiteY357" fmla="*/ 60180 h 126980"/>
                <a:gd name="connsiteX358" fmla="*/ 273534 w 1659367"/>
                <a:gd name="connsiteY358" fmla="*/ 41921 h 126980"/>
                <a:gd name="connsiteX359" fmla="*/ 272123 w 1659367"/>
                <a:gd name="connsiteY359" fmla="*/ 26389 h 126980"/>
                <a:gd name="connsiteX360" fmla="*/ 287167 w 1659367"/>
                <a:gd name="connsiteY360" fmla="*/ 26389 h 126980"/>
                <a:gd name="connsiteX361" fmla="*/ 287167 w 1659367"/>
                <a:gd name="connsiteY361" fmla="*/ 31697 h 126980"/>
                <a:gd name="connsiteX362" fmla="*/ 291452 w 1659367"/>
                <a:gd name="connsiteY362" fmla="*/ 27558 h 126980"/>
                <a:gd name="connsiteX363" fmla="*/ 295591 w 1659367"/>
                <a:gd name="connsiteY363" fmla="*/ 26389 h 126980"/>
                <a:gd name="connsiteX364" fmla="*/ 335808 w 1659367"/>
                <a:gd name="connsiteY364" fmla="*/ 26389 h 126980"/>
                <a:gd name="connsiteX365" fmla="*/ 350658 w 1659367"/>
                <a:gd name="connsiteY365" fmla="*/ 30382 h 126980"/>
                <a:gd name="connsiteX366" fmla="*/ 354796 w 1659367"/>
                <a:gd name="connsiteY366" fmla="*/ 45378 h 126980"/>
                <a:gd name="connsiteX367" fmla="*/ 354796 w 1659367"/>
                <a:gd name="connsiteY367" fmla="*/ 83891 h 126980"/>
                <a:gd name="connsiteX368" fmla="*/ 356208 w 1659367"/>
                <a:gd name="connsiteY368" fmla="*/ 99423 h 126980"/>
                <a:gd name="connsiteX369" fmla="*/ 340384 w 1659367"/>
                <a:gd name="connsiteY369" fmla="*/ 99423 h 126980"/>
                <a:gd name="connsiteX370" fmla="*/ 341796 w 1659367"/>
                <a:gd name="connsiteY370" fmla="*/ 83891 h 126980"/>
                <a:gd name="connsiteX371" fmla="*/ 341796 w 1659367"/>
                <a:gd name="connsiteY371" fmla="*/ 41629 h 126980"/>
                <a:gd name="connsiteX372" fmla="*/ 340579 w 1659367"/>
                <a:gd name="connsiteY372" fmla="*/ 35105 h 126980"/>
                <a:gd name="connsiteX373" fmla="*/ 335126 w 1659367"/>
                <a:gd name="connsiteY373" fmla="*/ 33547 h 126980"/>
                <a:gd name="connsiteX374" fmla="*/ 293351 w 1659367"/>
                <a:gd name="connsiteY374" fmla="*/ 33547 h 126980"/>
                <a:gd name="connsiteX375" fmla="*/ 287995 w 1659367"/>
                <a:gd name="connsiteY375" fmla="*/ 35153 h 126980"/>
                <a:gd name="connsiteX376" fmla="*/ 286681 w 1659367"/>
                <a:gd name="connsiteY376" fmla="*/ 41580 h 126980"/>
                <a:gd name="connsiteX377" fmla="*/ 286681 w 1659367"/>
                <a:gd name="connsiteY377" fmla="*/ 83842 h 126980"/>
                <a:gd name="connsiteX378" fmla="*/ 288093 w 1659367"/>
                <a:gd name="connsiteY378" fmla="*/ 99374 h 126980"/>
                <a:gd name="connsiteX379" fmla="*/ 272269 w 1659367"/>
                <a:gd name="connsiteY379" fmla="*/ 99374 h 126980"/>
                <a:gd name="connsiteX380" fmla="*/ 273681 w 1659367"/>
                <a:gd name="connsiteY380" fmla="*/ 83842 h 126980"/>
                <a:gd name="connsiteX381" fmla="*/ 273681 w 1659367"/>
                <a:gd name="connsiteY381" fmla="*/ 41872 h 126980"/>
                <a:gd name="connsiteX382" fmla="*/ 178688 w 1659367"/>
                <a:gd name="connsiteY382" fmla="*/ 41921 h 126980"/>
                <a:gd name="connsiteX383" fmla="*/ 177276 w 1659367"/>
                <a:gd name="connsiteY383" fmla="*/ 26389 h 126980"/>
                <a:gd name="connsiteX384" fmla="*/ 192321 w 1659367"/>
                <a:gd name="connsiteY384" fmla="*/ 26389 h 126980"/>
                <a:gd name="connsiteX385" fmla="*/ 192321 w 1659367"/>
                <a:gd name="connsiteY385" fmla="*/ 31697 h 126980"/>
                <a:gd name="connsiteX386" fmla="*/ 196606 w 1659367"/>
                <a:gd name="connsiteY386" fmla="*/ 27558 h 126980"/>
                <a:gd name="connsiteX387" fmla="*/ 200696 w 1659367"/>
                <a:gd name="connsiteY387" fmla="*/ 26389 h 126980"/>
                <a:gd name="connsiteX388" fmla="*/ 240913 w 1659367"/>
                <a:gd name="connsiteY388" fmla="*/ 26389 h 126980"/>
                <a:gd name="connsiteX389" fmla="*/ 255714 w 1659367"/>
                <a:gd name="connsiteY389" fmla="*/ 30382 h 126980"/>
                <a:gd name="connsiteX390" fmla="*/ 259853 w 1659367"/>
                <a:gd name="connsiteY390" fmla="*/ 45378 h 126980"/>
                <a:gd name="connsiteX391" fmla="*/ 259853 w 1659367"/>
                <a:gd name="connsiteY391" fmla="*/ 83891 h 126980"/>
                <a:gd name="connsiteX392" fmla="*/ 261265 w 1659367"/>
                <a:gd name="connsiteY392" fmla="*/ 99423 h 126980"/>
                <a:gd name="connsiteX393" fmla="*/ 245441 w 1659367"/>
                <a:gd name="connsiteY393" fmla="*/ 99423 h 126980"/>
                <a:gd name="connsiteX394" fmla="*/ 246853 w 1659367"/>
                <a:gd name="connsiteY394" fmla="*/ 83891 h 126980"/>
                <a:gd name="connsiteX395" fmla="*/ 246853 w 1659367"/>
                <a:gd name="connsiteY395" fmla="*/ 41629 h 126980"/>
                <a:gd name="connsiteX396" fmla="*/ 245587 w 1659367"/>
                <a:gd name="connsiteY396" fmla="*/ 35105 h 126980"/>
                <a:gd name="connsiteX397" fmla="*/ 240183 w 1659367"/>
                <a:gd name="connsiteY397" fmla="*/ 33547 h 126980"/>
                <a:gd name="connsiteX398" fmla="*/ 198407 w 1659367"/>
                <a:gd name="connsiteY398" fmla="*/ 33547 h 126980"/>
                <a:gd name="connsiteX399" fmla="*/ 193052 w 1659367"/>
                <a:gd name="connsiteY399" fmla="*/ 35153 h 126980"/>
                <a:gd name="connsiteX400" fmla="*/ 191737 w 1659367"/>
                <a:gd name="connsiteY400" fmla="*/ 41580 h 126980"/>
                <a:gd name="connsiteX401" fmla="*/ 191737 w 1659367"/>
                <a:gd name="connsiteY401" fmla="*/ 83842 h 126980"/>
                <a:gd name="connsiteX402" fmla="*/ 193149 w 1659367"/>
                <a:gd name="connsiteY402" fmla="*/ 99374 h 126980"/>
                <a:gd name="connsiteX403" fmla="*/ 177325 w 1659367"/>
                <a:gd name="connsiteY403" fmla="*/ 99374 h 126980"/>
                <a:gd name="connsiteX404" fmla="*/ 178737 w 1659367"/>
                <a:gd name="connsiteY404" fmla="*/ 83842 h 126980"/>
                <a:gd name="connsiteX405" fmla="*/ 178737 w 1659367"/>
                <a:gd name="connsiteY405" fmla="*/ 41872 h 126980"/>
                <a:gd name="connsiteX406" fmla="*/ 104633 w 1659367"/>
                <a:gd name="connsiteY406" fmla="*/ 33547 h 126980"/>
                <a:gd name="connsiteX407" fmla="*/ 99277 w 1659367"/>
                <a:gd name="connsiteY407" fmla="*/ 35153 h 126980"/>
                <a:gd name="connsiteX408" fmla="*/ 97962 w 1659367"/>
                <a:gd name="connsiteY408" fmla="*/ 41580 h 126980"/>
                <a:gd name="connsiteX409" fmla="*/ 97962 w 1659367"/>
                <a:gd name="connsiteY409" fmla="*/ 84134 h 126980"/>
                <a:gd name="connsiteX410" fmla="*/ 99228 w 1659367"/>
                <a:gd name="connsiteY410" fmla="*/ 90659 h 126980"/>
                <a:gd name="connsiteX411" fmla="*/ 104633 w 1659367"/>
                <a:gd name="connsiteY411" fmla="*/ 92217 h 126980"/>
                <a:gd name="connsiteX412" fmla="*/ 147041 w 1659367"/>
                <a:gd name="connsiteY412" fmla="*/ 92217 h 126980"/>
                <a:gd name="connsiteX413" fmla="*/ 152396 w 1659367"/>
                <a:gd name="connsiteY413" fmla="*/ 90561 h 126980"/>
                <a:gd name="connsiteX414" fmla="*/ 153711 w 1659367"/>
                <a:gd name="connsiteY414" fmla="*/ 84134 h 126980"/>
                <a:gd name="connsiteX415" fmla="*/ 153711 w 1659367"/>
                <a:gd name="connsiteY415" fmla="*/ 41580 h 126980"/>
                <a:gd name="connsiteX416" fmla="*/ 152494 w 1659367"/>
                <a:gd name="connsiteY416" fmla="*/ 35056 h 126980"/>
                <a:gd name="connsiteX417" fmla="*/ 147041 w 1659367"/>
                <a:gd name="connsiteY417" fmla="*/ 33498 h 126980"/>
                <a:gd name="connsiteX418" fmla="*/ 104633 w 1659367"/>
                <a:gd name="connsiteY418" fmla="*/ 33498 h 126980"/>
                <a:gd name="connsiteX419" fmla="*/ 166760 w 1659367"/>
                <a:gd name="connsiteY419" fmla="*/ 80434 h 126980"/>
                <a:gd name="connsiteX420" fmla="*/ 162621 w 1659367"/>
                <a:gd name="connsiteY420" fmla="*/ 95284 h 126980"/>
                <a:gd name="connsiteX421" fmla="*/ 147820 w 1659367"/>
                <a:gd name="connsiteY421" fmla="*/ 99423 h 126980"/>
                <a:gd name="connsiteX422" fmla="*/ 103854 w 1659367"/>
                <a:gd name="connsiteY422" fmla="*/ 99423 h 126980"/>
                <a:gd name="connsiteX423" fmla="*/ 89052 w 1659367"/>
                <a:gd name="connsiteY423" fmla="*/ 95430 h 126980"/>
                <a:gd name="connsiteX424" fmla="*/ 84914 w 1659367"/>
                <a:gd name="connsiteY424" fmla="*/ 80434 h 126980"/>
                <a:gd name="connsiteX425" fmla="*/ 84914 w 1659367"/>
                <a:gd name="connsiteY425" fmla="*/ 45378 h 126980"/>
                <a:gd name="connsiteX426" fmla="*/ 89052 w 1659367"/>
                <a:gd name="connsiteY426" fmla="*/ 30528 h 126980"/>
                <a:gd name="connsiteX427" fmla="*/ 103854 w 1659367"/>
                <a:gd name="connsiteY427" fmla="*/ 26438 h 126980"/>
                <a:gd name="connsiteX428" fmla="*/ 147820 w 1659367"/>
                <a:gd name="connsiteY428" fmla="*/ 26438 h 126980"/>
                <a:gd name="connsiteX429" fmla="*/ 162621 w 1659367"/>
                <a:gd name="connsiteY429" fmla="*/ 30431 h 126980"/>
                <a:gd name="connsiteX430" fmla="*/ 166760 w 1659367"/>
                <a:gd name="connsiteY430" fmla="*/ 45427 h 126980"/>
                <a:gd name="connsiteX431" fmla="*/ 166760 w 1659367"/>
                <a:gd name="connsiteY431" fmla="*/ 80483 h 126980"/>
                <a:gd name="connsiteX432" fmla="*/ 75322 w 1659367"/>
                <a:gd name="connsiteY432" fmla="*/ 0 h 126980"/>
                <a:gd name="connsiteX433" fmla="*/ 76247 w 1659367"/>
                <a:gd name="connsiteY433" fmla="*/ 10273 h 126980"/>
                <a:gd name="connsiteX434" fmla="*/ 67239 w 1659367"/>
                <a:gd name="connsiteY434" fmla="*/ 8472 h 126980"/>
                <a:gd name="connsiteX435" fmla="*/ 52048 w 1659367"/>
                <a:gd name="connsiteY435" fmla="*/ 8131 h 126980"/>
                <a:gd name="connsiteX436" fmla="*/ 22543 w 1659367"/>
                <a:gd name="connsiteY436" fmla="*/ 8131 h 126980"/>
                <a:gd name="connsiteX437" fmla="*/ 17187 w 1659367"/>
                <a:gd name="connsiteY437" fmla="*/ 9738 h 126980"/>
                <a:gd name="connsiteX438" fmla="*/ 15873 w 1659367"/>
                <a:gd name="connsiteY438" fmla="*/ 16165 h 126980"/>
                <a:gd name="connsiteX439" fmla="*/ 15873 w 1659367"/>
                <a:gd name="connsiteY439" fmla="*/ 83258 h 126980"/>
                <a:gd name="connsiteX440" fmla="*/ 17090 w 1659367"/>
                <a:gd name="connsiteY440" fmla="*/ 89782 h 126980"/>
                <a:gd name="connsiteX441" fmla="*/ 22543 w 1659367"/>
                <a:gd name="connsiteY441" fmla="*/ 91292 h 126980"/>
                <a:gd name="connsiteX442" fmla="*/ 56382 w 1659367"/>
                <a:gd name="connsiteY442" fmla="*/ 91292 h 126980"/>
                <a:gd name="connsiteX443" fmla="*/ 77659 w 1659367"/>
                <a:gd name="connsiteY443" fmla="*/ 89442 h 126980"/>
                <a:gd name="connsiteX444" fmla="*/ 76685 w 1659367"/>
                <a:gd name="connsiteY444" fmla="*/ 99374 h 126980"/>
                <a:gd name="connsiteX445" fmla="*/ 21910 w 1659367"/>
                <a:gd name="connsiteY445" fmla="*/ 99374 h 126980"/>
                <a:gd name="connsiteX446" fmla="*/ 4723 w 1659367"/>
                <a:gd name="connsiteY446" fmla="*/ 95382 h 126980"/>
                <a:gd name="connsiteX447" fmla="*/ 0 w 1659367"/>
                <a:gd name="connsiteY447" fmla="*/ 80093 h 126980"/>
                <a:gd name="connsiteX448" fmla="*/ 0 w 1659367"/>
                <a:gd name="connsiteY448" fmla="*/ 19232 h 126980"/>
                <a:gd name="connsiteX449" fmla="*/ 4723 w 1659367"/>
                <a:gd name="connsiteY449" fmla="*/ 3944 h 126980"/>
                <a:gd name="connsiteX450" fmla="*/ 21910 w 1659367"/>
                <a:gd name="connsiteY450" fmla="*/ 0 h 126980"/>
                <a:gd name="connsiteX451" fmla="*/ 75322 w 1659367"/>
                <a:gd name="connsiteY451" fmla="*/ 0 h 1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Lst>
              <a:rect l="l" t="t" r="r" b="b"/>
              <a:pathLst>
                <a:path w="1659367" h="126980">
                  <a:moveTo>
                    <a:pt x="1640428" y="54678"/>
                  </a:moveTo>
                  <a:cubicBezTo>
                    <a:pt x="1647585" y="54678"/>
                    <a:pt x="1652503" y="55992"/>
                    <a:pt x="1655278" y="58621"/>
                  </a:cubicBezTo>
                  <a:cubicBezTo>
                    <a:pt x="1658005" y="61251"/>
                    <a:pt x="1659368" y="66266"/>
                    <a:pt x="1659368" y="73618"/>
                  </a:cubicBezTo>
                  <a:lnTo>
                    <a:pt x="1659368" y="86958"/>
                  </a:lnTo>
                  <a:cubicBezTo>
                    <a:pt x="1659368" y="91097"/>
                    <a:pt x="1658053" y="94213"/>
                    <a:pt x="1655327" y="96307"/>
                  </a:cubicBezTo>
                  <a:cubicBezTo>
                    <a:pt x="1652600" y="98352"/>
                    <a:pt x="1648121" y="99423"/>
                    <a:pt x="1641791" y="99423"/>
                  </a:cubicBezTo>
                  <a:lnTo>
                    <a:pt x="1583608" y="99423"/>
                  </a:lnTo>
                  <a:lnTo>
                    <a:pt x="1582488" y="90561"/>
                  </a:lnTo>
                  <a:cubicBezTo>
                    <a:pt x="1586189" y="91681"/>
                    <a:pt x="1591398" y="92266"/>
                    <a:pt x="1598020" y="92266"/>
                  </a:cubicBezTo>
                  <a:lnTo>
                    <a:pt x="1640818" y="92266"/>
                  </a:lnTo>
                  <a:cubicBezTo>
                    <a:pt x="1643544" y="92266"/>
                    <a:pt x="1645297" y="91730"/>
                    <a:pt x="1646222" y="90610"/>
                  </a:cubicBezTo>
                  <a:cubicBezTo>
                    <a:pt x="1647098" y="89539"/>
                    <a:pt x="1647537" y="87397"/>
                    <a:pt x="1647537" y="84183"/>
                  </a:cubicBezTo>
                  <a:lnTo>
                    <a:pt x="1647537" y="75468"/>
                  </a:lnTo>
                  <a:cubicBezTo>
                    <a:pt x="1647537" y="72157"/>
                    <a:pt x="1647147" y="70015"/>
                    <a:pt x="1646319" y="68944"/>
                  </a:cubicBezTo>
                  <a:cubicBezTo>
                    <a:pt x="1645492" y="67921"/>
                    <a:pt x="1643690" y="67385"/>
                    <a:pt x="1640866" y="67385"/>
                  </a:cubicBezTo>
                  <a:lnTo>
                    <a:pt x="1601428" y="67385"/>
                  </a:lnTo>
                  <a:cubicBezTo>
                    <a:pt x="1594271" y="67385"/>
                    <a:pt x="1589353" y="66071"/>
                    <a:pt x="1586578" y="63442"/>
                  </a:cubicBezTo>
                  <a:cubicBezTo>
                    <a:pt x="1583851" y="60764"/>
                    <a:pt x="1582488" y="55798"/>
                    <a:pt x="1582488" y="48445"/>
                  </a:cubicBezTo>
                  <a:lnTo>
                    <a:pt x="1582488" y="45378"/>
                  </a:lnTo>
                  <a:cubicBezTo>
                    <a:pt x="1582488" y="38221"/>
                    <a:pt x="1583851" y="33255"/>
                    <a:pt x="1586578" y="30528"/>
                  </a:cubicBezTo>
                  <a:cubicBezTo>
                    <a:pt x="1589353" y="27801"/>
                    <a:pt x="1594271" y="26438"/>
                    <a:pt x="1601428" y="26438"/>
                  </a:cubicBezTo>
                  <a:lnTo>
                    <a:pt x="1657956" y="26438"/>
                  </a:lnTo>
                  <a:lnTo>
                    <a:pt x="1659319" y="34959"/>
                  </a:lnTo>
                  <a:cubicBezTo>
                    <a:pt x="1655619" y="34034"/>
                    <a:pt x="1650409" y="33547"/>
                    <a:pt x="1643836" y="33547"/>
                  </a:cubicBezTo>
                  <a:lnTo>
                    <a:pt x="1602256" y="33547"/>
                  </a:lnTo>
                  <a:cubicBezTo>
                    <a:pt x="1599578" y="33547"/>
                    <a:pt x="1597777" y="34082"/>
                    <a:pt x="1596900" y="35153"/>
                  </a:cubicBezTo>
                  <a:cubicBezTo>
                    <a:pt x="1596024" y="36225"/>
                    <a:pt x="1595585" y="38367"/>
                    <a:pt x="1595585" y="41580"/>
                  </a:cubicBezTo>
                  <a:lnTo>
                    <a:pt x="1595585" y="46547"/>
                  </a:lnTo>
                  <a:cubicBezTo>
                    <a:pt x="1595585" y="49857"/>
                    <a:pt x="1595975" y="52000"/>
                    <a:pt x="1596803" y="53071"/>
                  </a:cubicBezTo>
                  <a:cubicBezTo>
                    <a:pt x="1597630" y="54093"/>
                    <a:pt x="1599432" y="54629"/>
                    <a:pt x="1602256" y="54629"/>
                  </a:cubicBezTo>
                  <a:lnTo>
                    <a:pt x="1640428" y="54629"/>
                  </a:lnTo>
                  <a:close/>
                  <a:moveTo>
                    <a:pt x="1489833" y="41921"/>
                  </a:moveTo>
                  <a:cubicBezTo>
                    <a:pt x="1489833" y="35299"/>
                    <a:pt x="1489346" y="30138"/>
                    <a:pt x="1488421" y="26389"/>
                  </a:cubicBezTo>
                  <a:lnTo>
                    <a:pt x="1503466" y="26389"/>
                  </a:lnTo>
                  <a:lnTo>
                    <a:pt x="1503466" y="31697"/>
                  </a:lnTo>
                  <a:cubicBezTo>
                    <a:pt x="1505121" y="29749"/>
                    <a:pt x="1506534" y="28337"/>
                    <a:pt x="1507751" y="27558"/>
                  </a:cubicBezTo>
                  <a:cubicBezTo>
                    <a:pt x="1508919" y="26779"/>
                    <a:pt x="1510331" y="26389"/>
                    <a:pt x="1511841" y="26389"/>
                  </a:cubicBezTo>
                  <a:lnTo>
                    <a:pt x="1552058" y="26389"/>
                  </a:lnTo>
                  <a:cubicBezTo>
                    <a:pt x="1559215" y="26389"/>
                    <a:pt x="1564181" y="27704"/>
                    <a:pt x="1566908" y="30382"/>
                  </a:cubicBezTo>
                  <a:cubicBezTo>
                    <a:pt x="1569683" y="33011"/>
                    <a:pt x="1571046" y="37977"/>
                    <a:pt x="1571046" y="45378"/>
                  </a:cubicBezTo>
                  <a:lnTo>
                    <a:pt x="1571046" y="83891"/>
                  </a:lnTo>
                  <a:cubicBezTo>
                    <a:pt x="1571046" y="90513"/>
                    <a:pt x="1571485" y="95674"/>
                    <a:pt x="1572410" y="99423"/>
                  </a:cubicBezTo>
                  <a:lnTo>
                    <a:pt x="1556586" y="99423"/>
                  </a:lnTo>
                  <a:cubicBezTo>
                    <a:pt x="1557511" y="95674"/>
                    <a:pt x="1557998" y="90513"/>
                    <a:pt x="1557998" y="83891"/>
                  </a:cubicBezTo>
                  <a:lnTo>
                    <a:pt x="1557998" y="41629"/>
                  </a:lnTo>
                  <a:cubicBezTo>
                    <a:pt x="1557998" y="38318"/>
                    <a:pt x="1557559" y="36176"/>
                    <a:pt x="1556732" y="35105"/>
                  </a:cubicBezTo>
                  <a:cubicBezTo>
                    <a:pt x="1555904" y="34082"/>
                    <a:pt x="1554103" y="33547"/>
                    <a:pt x="1551327" y="33547"/>
                  </a:cubicBezTo>
                  <a:lnTo>
                    <a:pt x="1509552" y="33547"/>
                  </a:lnTo>
                  <a:cubicBezTo>
                    <a:pt x="1506874" y="33547"/>
                    <a:pt x="1505073" y="34082"/>
                    <a:pt x="1504196" y="35153"/>
                  </a:cubicBezTo>
                  <a:cubicBezTo>
                    <a:pt x="1503320" y="36225"/>
                    <a:pt x="1502882" y="38367"/>
                    <a:pt x="1502882" y="41580"/>
                  </a:cubicBezTo>
                  <a:lnTo>
                    <a:pt x="1502882" y="83842"/>
                  </a:lnTo>
                  <a:cubicBezTo>
                    <a:pt x="1502882" y="90464"/>
                    <a:pt x="1503369" y="95625"/>
                    <a:pt x="1504294" y="99374"/>
                  </a:cubicBezTo>
                  <a:lnTo>
                    <a:pt x="1488470" y="99374"/>
                  </a:lnTo>
                  <a:cubicBezTo>
                    <a:pt x="1489395" y="95625"/>
                    <a:pt x="1489882" y="90464"/>
                    <a:pt x="1489882" y="83842"/>
                  </a:cubicBezTo>
                  <a:lnTo>
                    <a:pt x="1489882" y="41872"/>
                  </a:lnTo>
                  <a:close/>
                  <a:moveTo>
                    <a:pt x="1415777" y="33547"/>
                  </a:moveTo>
                  <a:cubicBezTo>
                    <a:pt x="1413099" y="33547"/>
                    <a:pt x="1411298" y="34082"/>
                    <a:pt x="1410421" y="35153"/>
                  </a:cubicBezTo>
                  <a:cubicBezTo>
                    <a:pt x="1409545" y="36225"/>
                    <a:pt x="1409107" y="38367"/>
                    <a:pt x="1409107" y="41580"/>
                  </a:cubicBezTo>
                  <a:lnTo>
                    <a:pt x="1409107" y="84134"/>
                  </a:lnTo>
                  <a:cubicBezTo>
                    <a:pt x="1409107" y="87445"/>
                    <a:pt x="1409545" y="89588"/>
                    <a:pt x="1410373" y="90659"/>
                  </a:cubicBezTo>
                  <a:cubicBezTo>
                    <a:pt x="1411200" y="91681"/>
                    <a:pt x="1413051" y="92217"/>
                    <a:pt x="1415826" y="92217"/>
                  </a:cubicBezTo>
                  <a:lnTo>
                    <a:pt x="1458185" y="92217"/>
                  </a:lnTo>
                  <a:cubicBezTo>
                    <a:pt x="1460912" y="92217"/>
                    <a:pt x="1462665" y="91681"/>
                    <a:pt x="1463541" y="90561"/>
                  </a:cubicBezTo>
                  <a:cubicBezTo>
                    <a:pt x="1464417" y="89490"/>
                    <a:pt x="1464856" y="87348"/>
                    <a:pt x="1464856" y="84134"/>
                  </a:cubicBezTo>
                  <a:lnTo>
                    <a:pt x="1464856" y="41580"/>
                  </a:lnTo>
                  <a:cubicBezTo>
                    <a:pt x="1464856" y="38270"/>
                    <a:pt x="1464466" y="36127"/>
                    <a:pt x="1463590" y="35056"/>
                  </a:cubicBezTo>
                  <a:cubicBezTo>
                    <a:pt x="1462762" y="34034"/>
                    <a:pt x="1460961" y="33498"/>
                    <a:pt x="1458137" y="33498"/>
                  </a:cubicBezTo>
                  <a:lnTo>
                    <a:pt x="1415777" y="33498"/>
                  </a:lnTo>
                  <a:close/>
                  <a:moveTo>
                    <a:pt x="1477904" y="80434"/>
                  </a:moveTo>
                  <a:cubicBezTo>
                    <a:pt x="1477904" y="87591"/>
                    <a:pt x="1476541" y="92509"/>
                    <a:pt x="1473815" y="95284"/>
                  </a:cubicBezTo>
                  <a:cubicBezTo>
                    <a:pt x="1471088" y="98011"/>
                    <a:pt x="1466122" y="99423"/>
                    <a:pt x="1458964" y="99423"/>
                  </a:cubicBezTo>
                  <a:lnTo>
                    <a:pt x="1415047" y="99423"/>
                  </a:lnTo>
                  <a:cubicBezTo>
                    <a:pt x="1407890" y="99423"/>
                    <a:pt x="1402972" y="98060"/>
                    <a:pt x="1400197" y="95430"/>
                  </a:cubicBezTo>
                  <a:cubicBezTo>
                    <a:pt x="1397470" y="92801"/>
                    <a:pt x="1396107" y="87786"/>
                    <a:pt x="1396107" y="80434"/>
                  </a:cubicBezTo>
                  <a:lnTo>
                    <a:pt x="1396107" y="45378"/>
                  </a:lnTo>
                  <a:cubicBezTo>
                    <a:pt x="1396107" y="38221"/>
                    <a:pt x="1397470" y="33255"/>
                    <a:pt x="1400197" y="30528"/>
                  </a:cubicBezTo>
                  <a:cubicBezTo>
                    <a:pt x="1402972" y="27801"/>
                    <a:pt x="1407890" y="26438"/>
                    <a:pt x="1415047" y="26438"/>
                  </a:cubicBezTo>
                  <a:lnTo>
                    <a:pt x="1458964" y="26438"/>
                  </a:lnTo>
                  <a:cubicBezTo>
                    <a:pt x="1466122" y="26438"/>
                    <a:pt x="1471039" y="27753"/>
                    <a:pt x="1473815" y="30431"/>
                  </a:cubicBezTo>
                  <a:cubicBezTo>
                    <a:pt x="1476541" y="33060"/>
                    <a:pt x="1477904" y="38026"/>
                    <a:pt x="1477904" y="45427"/>
                  </a:cubicBezTo>
                  <a:lnTo>
                    <a:pt x="1477904" y="80483"/>
                  </a:lnTo>
                  <a:close/>
                  <a:moveTo>
                    <a:pt x="1368598" y="6816"/>
                  </a:moveTo>
                  <a:lnTo>
                    <a:pt x="1381646" y="6816"/>
                  </a:lnTo>
                  <a:lnTo>
                    <a:pt x="1381646" y="17382"/>
                  </a:lnTo>
                  <a:lnTo>
                    <a:pt x="1368598" y="17382"/>
                  </a:lnTo>
                  <a:lnTo>
                    <a:pt x="1368598" y="6816"/>
                  </a:lnTo>
                  <a:close/>
                  <a:moveTo>
                    <a:pt x="1381646" y="83842"/>
                  </a:moveTo>
                  <a:cubicBezTo>
                    <a:pt x="1381646" y="90464"/>
                    <a:pt x="1382133" y="95625"/>
                    <a:pt x="1383058" y="99374"/>
                  </a:cubicBezTo>
                  <a:lnTo>
                    <a:pt x="1367234" y="99374"/>
                  </a:lnTo>
                  <a:cubicBezTo>
                    <a:pt x="1368159" y="95625"/>
                    <a:pt x="1368646" y="90464"/>
                    <a:pt x="1368646" y="83842"/>
                  </a:cubicBezTo>
                  <a:lnTo>
                    <a:pt x="1368646" y="41872"/>
                  </a:lnTo>
                  <a:cubicBezTo>
                    <a:pt x="1368646" y="35251"/>
                    <a:pt x="1368159" y="30090"/>
                    <a:pt x="1367234" y="26341"/>
                  </a:cubicBezTo>
                  <a:lnTo>
                    <a:pt x="1381695" y="26341"/>
                  </a:lnTo>
                  <a:lnTo>
                    <a:pt x="1381695" y="83794"/>
                  </a:lnTo>
                  <a:close/>
                  <a:moveTo>
                    <a:pt x="1317961" y="33547"/>
                  </a:moveTo>
                  <a:lnTo>
                    <a:pt x="1317961" y="84134"/>
                  </a:lnTo>
                  <a:cubicBezTo>
                    <a:pt x="1317961" y="87445"/>
                    <a:pt x="1318399" y="89588"/>
                    <a:pt x="1319227" y="90659"/>
                  </a:cubicBezTo>
                  <a:cubicBezTo>
                    <a:pt x="1320055" y="91681"/>
                    <a:pt x="1321856" y="92217"/>
                    <a:pt x="1324632" y="92217"/>
                  </a:cubicBezTo>
                  <a:lnTo>
                    <a:pt x="1342500" y="92217"/>
                  </a:lnTo>
                  <a:cubicBezTo>
                    <a:pt x="1349122" y="92217"/>
                    <a:pt x="1354283" y="91730"/>
                    <a:pt x="1358032" y="90805"/>
                  </a:cubicBezTo>
                  <a:lnTo>
                    <a:pt x="1356961" y="99374"/>
                  </a:lnTo>
                  <a:lnTo>
                    <a:pt x="1323901" y="99374"/>
                  </a:lnTo>
                  <a:cubicBezTo>
                    <a:pt x="1316744" y="99374"/>
                    <a:pt x="1311826" y="98011"/>
                    <a:pt x="1309051" y="95382"/>
                  </a:cubicBezTo>
                  <a:cubicBezTo>
                    <a:pt x="1306324" y="92752"/>
                    <a:pt x="1304961" y="87737"/>
                    <a:pt x="1304961" y="80385"/>
                  </a:cubicBezTo>
                  <a:lnTo>
                    <a:pt x="1304961" y="33498"/>
                  </a:lnTo>
                  <a:lnTo>
                    <a:pt x="1293665" y="33498"/>
                  </a:lnTo>
                  <a:lnTo>
                    <a:pt x="1293665" y="26341"/>
                  </a:lnTo>
                  <a:lnTo>
                    <a:pt x="1304961" y="26341"/>
                  </a:lnTo>
                  <a:lnTo>
                    <a:pt x="1304961" y="11929"/>
                  </a:lnTo>
                  <a:lnTo>
                    <a:pt x="1318010" y="9446"/>
                  </a:lnTo>
                  <a:lnTo>
                    <a:pt x="1318010" y="26341"/>
                  </a:lnTo>
                  <a:lnTo>
                    <a:pt x="1354332" y="26341"/>
                  </a:lnTo>
                  <a:lnTo>
                    <a:pt x="1354332" y="33498"/>
                  </a:lnTo>
                  <a:lnTo>
                    <a:pt x="1318010" y="33498"/>
                  </a:lnTo>
                  <a:close/>
                  <a:moveTo>
                    <a:pt x="1202276" y="41921"/>
                  </a:moveTo>
                  <a:cubicBezTo>
                    <a:pt x="1202276" y="35299"/>
                    <a:pt x="1201838" y="30138"/>
                    <a:pt x="1200864" y="26389"/>
                  </a:cubicBezTo>
                  <a:lnTo>
                    <a:pt x="1215325" y="26389"/>
                  </a:lnTo>
                  <a:lnTo>
                    <a:pt x="1215325" y="84134"/>
                  </a:lnTo>
                  <a:cubicBezTo>
                    <a:pt x="1215325" y="87445"/>
                    <a:pt x="1215763" y="89588"/>
                    <a:pt x="1216542" y="90659"/>
                  </a:cubicBezTo>
                  <a:cubicBezTo>
                    <a:pt x="1217370" y="91681"/>
                    <a:pt x="1219171" y="92217"/>
                    <a:pt x="1221995" y="92217"/>
                  </a:cubicBezTo>
                  <a:lnTo>
                    <a:pt x="1263770" y="92217"/>
                  </a:lnTo>
                  <a:cubicBezTo>
                    <a:pt x="1266448" y="92217"/>
                    <a:pt x="1268250" y="91681"/>
                    <a:pt x="1269126" y="90561"/>
                  </a:cubicBezTo>
                  <a:cubicBezTo>
                    <a:pt x="1270003" y="89490"/>
                    <a:pt x="1270441" y="87348"/>
                    <a:pt x="1270441" y="84134"/>
                  </a:cubicBezTo>
                  <a:lnTo>
                    <a:pt x="1270441" y="41872"/>
                  </a:lnTo>
                  <a:cubicBezTo>
                    <a:pt x="1270441" y="35251"/>
                    <a:pt x="1269954" y="30090"/>
                    <a:pt x="1269029" y="26341"/>
                  </a:cubicBezTo>
                  <a:lnTo>
                    <a:pt x="1283441" y="26341"/>
                  </a:lnTo>
                  <a:lnTo>
                    <a:pt x="1283441" y="83794"/>
                  </a:lnTo>
                  <a:cubicBezTo>
                    <a:pt x="1283441" y="90415"/>
                    <a:pt x="1283928" y="95576"/>
                    <a:pt x="1284853" y="99325"/>
                  </a:cubicBezTo>
                  <a:lnTo>
                    <a:pt x="1271804" y="99325"/>
                  </a:lnTo>
                  <a:lnTo>
                    <a:pt x="1271025" y="94018"/>
                  </a:lnTo>
                  <a:cubicBezTo>
                    <a:pt x="1270100" y="95966"/>
                    <a:pt x="1269029" y="97329"/>
                    <a:pt x="1267860" y="98108"/>
                  </a:cubicBezTo>
                  <a:cubicBezTo>
                    <a:pt x="1266643" y="98887"/>
                    <a:pt x="1264939" y="99277"/>
                    <a:pt x="1262650" y="99277"/>
                  </a:cubicBezTo>
                  <a:lnTo>
                    <a:pt x="1221216" y="99277"/>
                  </a:lnTo>
                  <a:cubicBezTo>
                    <a:pt x="1214108" y="99277"/>
                    <a:pt x="1209141" y="97913"/>
                    <a:pt x="1206366" y="95284"/>
                  </a:cubicBezTo>
                  <a:cubicBezTo>
                    <a:pt x="1203639" y="92655"/>
                    <a:pt x="1202228" y="87640"/>
                    <a:pt x="1202228" y="80288"/>
                  </a:cubicBezTo>
                  <a:lnTo>
                    <a:pt x="1202228" y="41775"/>
                  </a:lnTo>
                  <a:close/>
                  <a:moveTo>
                    <a:pt x="1186160" y="0"/>
                  </a:moveTo>
                  <a:lnTo>
                    <a:pt x="1186160" y="83842"/>
                  </a:lnTo>
                  <a:cubicBezTo>
                    <a:pt x="1186160" y="90464"/>
                    <a:pt x="1186647" y="95625"/>
                    <a:pt x="1187572" y="99374"/>
                  </a:cubicBezTo>
                  <a:lnTo>
                    <a:pt x="1171748" y="99374"/>
                  </a:lnTo>
                  <a:cubicBezTo>
                    <a:pt x="1172673" y="95625"/>
                    <a:pt x="1173160" y="90464"/>
                    <a:pt x="1173160" y="83842"/>
                  </a:cubicBezTo>
                  <a:lnTo>
                    <a:pt x="1173160" y="15532"/>
                  </a:lnTo>
                  <a:cubicBezTo>
                    <a:pt x="1173160" y="8910"/>
                    <a:pt x="1172673" y="3700"/>
                    <a:pt x="1171748" y="0"/>
                  </a:cubicBezTo>
                  <a:lnTo>
                    <a:pt x="1186209" y="0"/>
                  </a:lnTo>
                  <a:close/>
                  <a:moveTo>
                    <a:pt x="1096573" y="33547"/>
                  </a:moveTo>
                  <a:cubicBezTo>
                    <a:pt x="1093895" y="33547"/>
                    <a:pt x="1092093" y="34082"/>
                    <a:pt x="1091217" y="35153"/>
                  </a:cubicBezTo>
                  <a:cubicBezTo>
                    <a:pt x="1090340" y="36225"/>
                    <a:pt x="1089902" y="38367"/>
                    <a:pt x="1089902" y="41580"/>
                  </a:cubicBezTo>
                  <a:lnTo>
                    <a:pt x="1089902" y="84134"/>
                  </a:lnTo>
                  <a:cubicBezTo>
                    <a:pt x="1089902" y="87445"/>
                    <a:pt x="1090340" y="89588"/>
                    <a:pt x="1091119" y="90659"/>
                  </a:cubicBezTo>
                  <a:cubicBezTo>
                    <a:pt x="1091947" y="91681"/>
                    <a:pt x="1093749" y="92217"/>
                    <a:pt x="1096573" y="92217"/>
                  </a:cubicBezTo>
                  <a:lnTo>
                    <a:pt x="1138981" y="92217"/>
                  </a:lnTo>
                  <a:cubicBezTo>
                    <a:pt x="1141659" y="92217"/>
                    <a:pt x="1143460" y="91681"/>
                    <a:pt x="1144336" y="90561"/>
                  </a:cubicBezTo>
                  <a:cubicBezTo>
                    <a:pt x="1145213" y="89490"/>
                    <a:pt x="1145651" y="87348"/>
                    <a:pt x="1145651" y="84134"/>
                  </a:cubicBezTo>
                  <a:lnTo>
                    <a:pt x="1145651" y="41580"/>
                  </a:lnTo>
                  <a:cubicBezTo>
                    <a:pt x="1145651" y="38270"/>
                    <a:pt x="1145213" y="36127"/>
                    <a:pt x="1144434" y="35056"/>
                  </a:cubicBezTo>
                  <a:cubicBezTo>
                    <a:pt x="1143606" y="34034"/>
                    <a:pt x="1141805" y="33498"/>
                    <a:pt x="1139029" y="33498"/>
                  </a:cubicBezTo>
                  <a:lnTo>
                    <a:pt x="1096621" y="33498"/>
                  </a:lnTo>
                  <a:close/>
                  <a:moveTo>
                    <a:pt x="1158651" y="80434"/>
                  </a:moveTo>
                  <a:cubicBezTo>
                    <a:pt x="1158651" y="87591"/>
                    <a:pt x="1157288" y="92509"/>
                    <a:pt x="1154561" y="95284"/>
                  </a:cubicBezTo>
                  <a:cubicBezTo>
                    <a:pt x="1151786" y="98011"/>
                    <a:pt x="1146868" y="99423"/>
                    <a:pt x="1139711" y="99423"/>
                  </a:cubicBezTo>
                  <a:lnTo>
                    <a:pt x="1095793" y="99423"/>
                  </a:lnTo>
                  <a:cubicBezTo>
                    <a:pt x="1088636" y="99423"/>
                    <a:pt x="1083719" y="98060"/>
                    <a:pt x="1080943" y="95430"/>
                  </a:cubicBezTo>
                  <a:cubicBezTo>
                    <a:pt x="1078217" y="92801"/>
                    <a:pt x="1076854" y="87786"/>
                    <a:pt x="1076854" y="80434"/>
                  </a:cubicBezTo>
                  <a:lnTo>
                    <a:pt x="1076854" y="45378"/>
                  </a:lnTo>
                  <a:cubicBezTo>
                    <a:pt x="1076854" y="38221"/>
                    <a:pt x="1078217" y="33255"/>
                    <a:pt x="1080943" y="30528"/>
                  </a:cubicBezTo>
                  <a:cubicBezTo>
                    <a:pt x="1083719" y="27801"/>
                    <a:pt x="1088636" y="26438"/>
                    <a:pt x="1095793" y="26438"/>
                  </a:cubicBezTo>
                  <a:lnTo>
                    <a:pt x="1139711" y="26438"/>
                  </a:lnTo>
                  <a:cubicBezTo>
                    <a:pt x="1146868" y="26438"/>
                    <a:pt x="1151786" y="27753"/>
                    <a:pt x="1154561" y="30431"/>
                  </a:cubicBezTo>
                  <a:cubicBezTo>
                    <a:pt x="1157336" y="33060"/>
                    <a:pt x="1158651" y="38026"/>
                    <a:pt x="1158651" y="45427"/>
                  </a:cubicBezTo>
                  <a:lnTo>
                    <a:pt x="1158651" y="80483"/>
                  </a:lnTo>
                  <a:close/>
                  <a:moveTo>
                    <a:pt x="1062101" y="0"/>
                  </a:moveTo>
                  <a:lnTo>
                    <a:pt x="1063318" y="10273"/>
                  </a:lnTo>
                  <a:cubicBezTo>
                    <a:pt x="1062588" y="10079"/>
                    <a:pt x="1060543" y="9640"/>
                    <a:pt x="1057281" y="9007"/>
                  </a:cubicBezTo>
                  <a:cubicBezTo>
                    <a:pt x="1053970" y="8375"/>
                    <a:pt x="1049490" y="8082"/>
                    <a:pt x="1043940" y="8082"/>
                  </a:cubicBezTo>
                  <a:lnTo>
                    <a:pt x="1002651" y="8082"/>
                  </a:lnTo>
                  <a:cubicBezTo>
                    <a:pt x="999974" y="8082"/>
                    <a:pt x="998172" y="8618"/>
                    <a:pt x="997296" y="9689"/>
                  </a:cubicBezTo>
                  <a:cubicBezTo>
                    <a:pt x="996419" y="10760"/>
                    <a:pt x="995981" y="12903"/>
                    <a:pt x="995981" y="16116"/>
                  </a:cubicBezTo>
                  <a:lnTo>
                    <a:pt x="995981" y="32719"/>
                  </a:lnTo>
                  <a:cubicBezTo>
                    <a:pt x="995981" y="36030"/>
                    <a:pt x="996419" y="38172"/>
                    <a:pt x="997247" y="39195"/>
                  </a:cubicBezTo>
                  <a:cubicBezTo>
                    <a:pt x="998075" y="40217"/>
                    <a:pt x="999876" y="40753"/>
                    <a:pt x="1002651" y="40753"/>
                  </a:cubicBezTo>
                  <a:lnTo>
                    <a:pt x="1043648" y="40753"/>
                  </a:lnTo>
                  <a:cubicBezTo>
                    <a:pt x="1051925" y="40753"/>
                    <a:pt x="1057621" y="42067"/>
                    <a:pt x="1060835" y="44745"/>
                  </a:cubicBezTo>
                  <a:cubicBezTo>
                    <a:pt x="1064000" y="47374"/>
                    <a:pt x="1065558" y="52487"/>
                    <a:pt x="1065558" y="60033"/>
                  </a:cubicBezTo>
                  <a:lnTo>
                    <a:pt x="1065558" y="80045"/>
                  </a:lnTo>
                  <a:cubicBezTo>
                    <a:pt x="1065558" y="87591"/>
                    <a:pt x="1064000" y="92704"/>
                    <a:pt x="1060835" y="95333"/>
                  </a:cubicBezTo>
                  <a:cubicBezTo>
                    <a:pt x="1057670" y="97962"/>
                    <a:pt x="1051973" y="99325"/>
                    <a:pt x="1043648" y="99325"/>
                  </a:cubicBezTo>
                  <a:lnTo>
                    <a:pt x="982202" y="99325"/>
                  </a:lnTo>
                  <a:lnTo>
                    <a:pt x="980936" y="90464"/>
                  </a:lnTo>
                  <a:cubicBezTo>
                    <a:pt x="981667" y="90513"/>
                    <a:pt x="983712" y="90707"/>
                    <a:pt x="987022" y="90902"/>
                  </a:cubicBezTo>
                  <a:cubicBezTo>
                    <a:pt x="990333" y="91146"/>
                    <a:pt x="994764" y="91243"/>
                    <a:pt x="1000363" y="91243"/>
                  </a:cubicBezTo>
                  <a:lnTo>
                    <a:pt x="1043063" y="91243"/>
                  </a:lnTo>
                  <a:cubicBezTo>
                    <a:pt x="1045741" y="91243"/>
                    <a:pt x="1047543" y="90707"/>
                    <a:pt x="1048419" y="89636"/>
                  </a:cubicBezTo>
                  <a:cubicBezTo>
                    <a:pt x="1049296" y="88565"/>
                    <a:pt x="1049734" y="86423"/>
                    <a:pt x="1049734" y="83209"/>
                  </a:cubicBezTo>
                  <a:lnTo>
                    <a:pt x="1049734" y="63783"/>
                  </a:lnTo>
                  <a:cubicBezTo>
                    <a:pt x="1049734" y="60472"/>
                    <a:pt x="1049296" y="58281"/>
                    <a:pt x="1048468" y="57258"/>
                  </a:cubicBezTo>
                  <a:cubicBezTo>
                    <a:pt x="1047640" y="56236"/>
                    <a:pt x="1045839" y="55700"/>
                    <a:pt x="1043015" y="55700"/>
                  </a:cubicBezTo>
                  <a:lnTo>
                    <a:pt x="1002018" y="55700"/>
                  </a:lnTo>
                  <a:cubicBezTo>
                    <a:pt x="993741" y="55700"/>
                    <a:pt x="988045" y="54386"/>
                    <a:pt x="984880" y="51756"/>
                  </a:cubicBezTo>
                  <a:cubicBezTo>
                    <a:pt x="981715" y="49127"/>
                    <a:pt x="980157" y="44015"/>
                    <a:pt x="980157" y="36468"/>
                  </a:cubicBezTo>
                  <a:lnTo>
                    <a:pt x="980157" y="19232"/>
                  </a:lnTo>
                  <a:cubicBezTo>
                    <a:pt x="980157" y="11685"/>
                    <a:pt x="981764" y="6573"/>
                    <a:pt x="984880" y="3944"/>
                  </a:cubicBezTo>
                  <a:cubicBezTo>
                    <a:pt x="988045" y="1315"/>
                    <a:pt x="993741" y="0"/>
                    <a:pt x="1002018" y="0"/>
                  </a:cubicBezTo>
                  <a:lnTo>
                    <a:pt x="1062101" y="0"/>
                  </a:lnTo>
                  <a:close/>
                  <a:moveTo>
                    <a:pt x="915206" y="108041"/>
                  </a:moveTo>
                  <a:cubicBezTo>
                    <a:pt x="915206" y="115198"/>
                    <a:pt x="913843" y="120116"/>
                    <a:pt x="911068" y="122891"/>
                  </a:cubicBezTo>
                  <a:cubicBezTo>
                    <a:pt x="908292" y="125617"/>
                    <a:pt x="903375" y="126981"/>
                    <a:pt x="896266" y="126981"/>
                  </a:cubicBezTo>
                  <a:lnTo>
                    <a:pt x="836184" y="126981"/>
                  </a:lnTo>
                  <a:lnTo>
                    <a:pt x="834918" y="118752"/>
                  </a:lnTo>
                  <a:cubicBezTo>
                    <a:pt x="838667" y="119483"/>
                    <a:pt x="843828" y="119872"/>
                    <a:pt x="850450" y="119872"/>
                  </a:cubicBezTo>
                  <a:lnTo>
                    <a:pt x="895487" y="119872"/>
                  </a:lnTo>
                  <a:cubicBezTo>
                    <a:pt x="898165" y="119872"/>
                    <a:pt x="899966" y="119337"/>
                    <a:pt x="900843" y="118217"/>
                  </a:cubicBezTo>
                  <a:cubicBezTo>
                    <a:pt x="901719" y="117146"/>
                    <a:pt x="902158" y="115003"/>
                    <a:pt x="902158" y="111741"/>
                  </a:cubicBezTo>
                  <a:lnTo>
                    <a:pt x="902158" y="96988"/>
                  </a:lnTo>
                  <a:cubicBezTo>
                    <a:pt x="900746" y="98546"/>
                    <a:pt x="898506" y="99325"/>
                    <a:pt x="895487" y="99325"/>
                  </a:cubicBezTo>
                  <a:lnTo>
                    <a:pt x="853128" y="99325"/>
                  </a:lnTo>
                  <a:cubicBezTo>
                    <a:pt x="845970" y="99325"/>
                    <a:pt x="841053" y="97962"/>
                    <a:pt x="838278" y="95333"/>
                  </a:cubicBezTo>
                  <a:cubicBezTo>
                    <a:pt x="835551" y="92704"/>
                    <a:pt x="834139" y="87689"/>
                    <a:pt x="834139" y="80337"/>
                  </a:cubicBezTo>
                  <a:lnTo>
                    <a:pt x="834139" y="41824"/>
                  </a:lnTo>
                  <a:cubicBezTo>
                    <a:pt x="834139" y="35202"/>
                    <a:pt x="833701" y="30041"/>
                    <a:pt x="832776" y="26292"/>
                  </a:cubicBezTo>
                  <a:lnTo>
                    <a:pt x="847236" y="26292"/>
                  </a:lnTo>
                  <a:lnTo>
                    <a:pt x="847236" y="84037"/>
                  </a:lnTo>
                  <a:cubicBezTo>
                    <a:pt x="847236" y="87348"/>
                    <a:pt x="847626" y="89490"/>
                    <a:pt x="848454" y="90561"/>
                  </a:cubicBezTo>
                  <a:cubicBezTo>
                    <a:pt x="849281" y="91584"/>
                    <a:pt x="851083" y="92119"/>
                    <a:pt x="853858" y="92119"/>
                  </a:cubicBezTo>
                  <a:lnTo>
                    <a:pt x="895487" y="92119"/>
                  </a:lnTo>
                  <a:cubicBezTo>
                    <a:pt x="898165" y="92119"/>
                    <a:pt x="899966" y="91584"/>
                    <a:pt x="900843" y="90464"/>
                  </a:cubicBezTo>
                  <a:cubicBezTo>
                    <a:pt x="901719" y="89393"/>
                    <a:pt x="902158" y="87251"/>
                    <a:pt x="902158" y="84037"/>
                  </a:cubicBezTo>
                  <a:lnTo>
                    <a:pt x="902158" y="41775"/>
                  </a:lnTo>
                  <a:cubicBezTo>
                    <a:pt x="902158" y="35153"/>
                    <a:pt x="901719" y="29992"/>
                    <a:pt x="900746" y="26243"/>
                  </a:cubicBezTo>
                  <a:lnTo>
                    <a:pt x="915206" y="26243"/>
                  </a:lnTo>
                  <a:lnTo>
                    <a:pt x="915206" y="107895"/>
                  </a:lnTo>
                  <a:close/>
                  <a:moveTo>
                    <a:pt x="786034" y="33547"/>
                  </a:moveTo>
                  <a:lnTo>
                    <a:pt x="786034" y="84134"/>
                  </a:lnTo>
                  <a:cubicBezTo>
                    <a:pt x="786034" y="87445"/>
                    <a:pt x="786473" y="89588"/>
                    <a:pt x="787300" y="90659"/>
                  </a:cubicBezTo>
                  <a:cubicBezTo>
                    <a:pt x="788128" y="91681"/>
                    <a:pt x="789929" y="92217"/>
                    <a:pt x="792705" y="92217"/>
                  </a:cubicBezTo>
                  <a:lnTo>
                    <a:pt x="810525" y="92217"/>
                  </a:lnTo>
                  <a:cubicBezTo>
                    <a:pt x="817147" y="92217"/>
                    <a:pt x="822356" y="91730"/>
                    <a:pt x="826057" y="90805"/>
                  </a:cubicBezTo>
                  <a:lnTo>
                    <a:pt x="824986" y="99374"/>
                  </a:lnTo>
                  <a:lnTo>
                    <a:pt x="791877" y="99374"/>
                  </a:lnTo>
                  <a:cubicBezTo>
                    <a:pt x="784768" y="99374"/>
                    <a:pt x="779802" y="98011"/>
                    <a:pt x="777076" y="95382"/>
                  </a:cubicBezTo>
                  <a:cubicBezTo>
                    <a:pt x="774300" y="92752"/>
                    <a:pt x="772937" y="87737"/>
                    <a:pt x="772937" y="80385"/>
                  </a:cubicBezTo>
                  <a:lnTo>
                    <a:pt x="772937" y="33498"/>
                  </a:lnTo>
                  <a:lnTo>
                    <a:pt x="761593" y="33498"/>
                  </a:lnTo>
                  <a:lnTo>
                    <a:pt x="761593" y="26341"/>
                  </a:lnTo>
                  <a:lnTo>
                    <a:pt x="772937" y="26341"/>
                  </a:lnTo>
                  <a:lnTo>
                    <a:pt x="772937" y="11929"/>
                  </a:lnTo>
                  <a:lnTo>
                    <a:pt x="785986" y="9446"/>
                  </a:lnTo>
                  <a:lnTo>
                    <a:pt x="785986" y="26341"/>
                  </a:lnTo>
                  <a:lnTo>
                    <a:pt x="822308" y="26341"/>
                  </a:lnTo>
                  <a:lnTo>
                    <a:pt x="822308" y="33498"/>
                  </a:lnTo>
                  <a:lnTo>
                    <a:pt x="785986" y="33498"/>
                  </a:lnTo>
                  <a:close/>
                  <a:moveTo>
                    <a:pt x="736031" y="6816"/>
                  </a:moveTo>
                  <a:lnTo>
                    <a:pt x="749080" y="6816"/>
                  </a:lnTo>
                  <a:lnTo>
                    <a:pt x="749080" y="17382"/>
                  </a:lnTo>
                  <a:lnTo>
                    <a:pt x="736031" y="17382"/>
                  </a:lnTo>
                  <a:lnTo>
                    <a:pt x="736031" y="6816"/>
                  </a:lnTo>
                  <a:close/>
                  <a:moveTo>
                    <a:pt x="749080" y="83842"/>
                  </a:moveTo>
                  <a:cubicBezTo>
                    <a:pt x="749080" y="90464"/>
                    <a:pt x="749518" y="95625"/>
                    <a:pt x="750443" y="99374"/>
                  </a:cubicBezTo>
                  <a:lnTo>
                    <a:pt x="734619" y="99374"/>
                  </a:lnTo>
                  <a:cubicBezTo>
                    <a:pt x="735544" y="95625"/>
                    <a:pt x="736031" y="90464"/>
                    <a:pt x="736031" y="83842"/>
                  </a:cubicBezTo>
                  <a:lnTo>
                    <a:pt x="736031" y="41872"/>
                  </a:lnTo>
                  <a:cubicBezTo>
                    <a:pt x="736031" y="35251"/>
                    <a:pt x="735544" y="30090"/>
                    <a:pt x="734619" y="26341"/>
                  </a:cubicBezTo>
                  <a:lnTo>
                    <a:pt x="749080" y="26341"/>
                  </a:lnTo>
                  <a:lnTo>
                    <a:pt x="749080" y="83794"/>
                  </a:lnTo>
                  <a:close/>
                  <a:moveTo>
                    <a:pt x="650777" y="26389"/>
                  </a:moveTo>
                  <a:cubicBezTo>
                    <a:pt x="651166" y="28580"/>
                    <a:pt x="651702" y="30577"/>
                    <a:pt x="652335" y="32378"/>
                  </a:cubicBezTo>
                  <a:cubicBezTo>
                    <a:pt x="652967" y="34180"/>
                    <a:pt x="653552" y="35835"/>
                    <a:pt x="654185" y="37247"/>
                  </a:cubicBezTo>
                  <a:lnTo>
                    <a:pt x="682570" y="93142"/>
                  </a:lnTo>
                  <a:lnTo>
                    <a:pt x="710907" y="40314"/>
                  </a:lnTo>
                  <a:cubicBezTo>
                    <a:pt x="713683" y="35056"/>
                    <a:pt x="715338" y="30382"/>
                    <a:pt x="715874" y="26341"/>
                  </a:cubicBezTo>
                  <a:lnTo>
                    <a:pt x="730139" y="26341"/>
                  </a:lnTo>
                  <a:lnTo>
                    <a:pt x="728435" y="28191"/>
                  </a:lnTo>
                  <a:cubicBezTo>
                    <a:pt x="726244" y="30382"/>
                    <a:pt x="724540" y="32329"/>
                    <a:pt x="723323" y="34180"/>
                  </a:cubicBezTo>
                  <a:cubicBezTo>
                    <a:pt x="722057" y="35981"/>
                    <a:pt x="720840" y="38026"/>
                    <a:pt x="719623" y="40314"/>
                  </a:cubicBezTo>
                  <a:lnTo>
                    <a:pt x="688559" y="99325"/>
                  </a:lnTo>
                  <a:lnTo>
                    <a:pt x="671810" y="99325"/>
                  </a:lnTo>
                  <a:lnTo>
                    <a:pt x="639091" y="34715"/>
                  </a:lnTo>
                  <a:cubicBezTo>
                    <a:pt x="638458" y="33498"/>
                    <a:pt x="637825" y="32281"/>
                    <a:pt x="637241" y="31161"/>
                  </a:cubicBezTo>
                  <a:cubicBezTo>
                    <a:pt x="636608" y="30041"/>
                    <a:pt x="635634" y="28386"/>
                    <a:pt x="634271" y="26341"/>
                  </a:cubicBezTo>
                  <a:lnTo>
                    <a:pt x="650874" y="26341"/>
                  </a:lnTo>
                  <a:close/>
                  <a:moveTo>
                    <a:pt x="615233" y="6816"/>
                  </a:moveTo>
                  <a:lnTo>
                    <a:pt x="628282" y="6816"/>
                  </a:lnTo>
                  <a:lnTo>
                    <a:pt x="628282" y="17382"/>
                  </a:lnTo>
                  <a:lnTo>
                    <a:pt x="615233" y="17382"/>
                  </a:lnTo>
                  <a:lnTo>
                    <a:pt x="615233" y="6816"/>
                  </a:lnTo>
                  <a:close/>
                  <a:moveTo>
                    <a:pt x="628282" y="83842"/>
                  </a:moveTo>
                  <a:cubicBezTo>
                    <a:pt x="628282" y="90464"/>
                    <a:pt x="628720" y="95625"/>
                    <a:pt x="629694" y="99374"/>
                  </a:cubicBezTo>
                  <a:lnTo>
                    <a:pt x="613870" y="99374"/>
                  </a:lnTo>
                  <a:cubicBezTo>
                    <a:pt x="614795" y="95625"/>
                    <a:pt x="615282" y="90464"/>
                    <a:pt x="615282" y="83842"/>
                  </a:cubicBezTo>
                  <a:lnTo>
                    <a:pt x="615282" y="41872"/>
                  </a:lnTo>
                  <a:cubicBezTo>
                    <a:pt x="615282" y="35251"/>
                    <a:pt x="614795" y="30090"/>
                    <a:pt x="613870" y="26341"/>
                  </a:cubicBezTo>
                  <a:lnTo>
                    <a:pt x="628331" y="26341"/>
                  </a:lnTo>
                  <a:lnTo>
                    <a:pt x="628331" y="83794"/>
                  </a:lnTo>
                  <a:close/>
                  <a:moveTo>
                    <a:pt x="564646" y="33547"/>
                  </a:moveTo>
                  <a:lnTo>
                    <a:pt x="564646" y="84134"/>
                  </a:lnTo>
                  <a:cubicBezTo>
                    <a:pt x="564646" y="87445"/>
                    <a:pt x="565084" y="89588"/>
                    <a:pt x="565863" y="90659"/>
                  </a:cubicBezTo>
                  <a:cubicBezTo>
                    <a:pt x="566691" y="91681"/>
                    <a:pt x="568492" y="92217"/>
                    <a:pt x="571316" y="92217"/>
                  </a:cubicBezTo>
                  <a:lnTo>
                    <a:pt x="589185" y="92217"/>
                  </a:lnTo>
                  <a:cubicBezTo>
                    <a:pt x="595807" y="92217"/>
                    <a:pt x="600968" y="91730"/>
                    <a:pt x="604717" y="90805"/>
                  </a:cubicBezTo>
                  <a:lnTo>
                    <a:pt x="603646" y="99374"/>
                  </a:lnTo>
                  <a:lnTo>
                    <a:pt x="570586" y="99374"/>
                  </a:lnTo>
                  <a:cubicBezTo>
                    <a:pt x="563429" y="99374"/>
                    <a:pt x="558511" y="98011"/>
                    <a:pt x="555736" y="95382"/>
                  </a:cubicBezTo>
                  <a:cubicBezTo>
                    <a:pt x="553009" y="92752"/>
                    <a:pt x="551646" y="87737"/>
                    <a:pt x="551646" y="80385"/>
                  </a:cubicBezTo>
                  <a:lnTo>
                    <a:pt x="551646" y="33498"/>
                  </a:lnTo>
                  <a:lnTo>
                    <a:pt x="540301" y="33498"/>
                  </a:lnTo>
                  <a:lnTo>
                    <a:pt x="540301" y="26341"/>
                  </a:lnTo>
                  <a:lnTo>
                    <a:pt x="551646" y="26341"/>
                  </a:lnTo>
                  <a:lnTo>
                    <a:pt x="551646" y="11929"/>
                  </a:lnTo>
                  <a:lnTo>
                    <a:pt x="564694" y="9446"/>
                  </a:lnTo>
                  <a:lnTo>
                    <a:pt x="564694" y="26341"/>
                  </a:lnTo>
                  <a:lnTo>
                    <a:pt x="601016" y="26341"/>
                  </a:lnTo>
                  <a:lnTo>
                    <a:pt x="601016" y="33498"/>
                  </a:lnTo>
                  <a:lnTo>
                    <a:pt x="564694" y="33498"/>
                  </a:lnTo>
                  <a:close/>
                  <a:moveTo>
                    <a:pt x="473500" y="84134"/>
                  </a:moveTo>
                  <a:cubicBezTo>
                    <a:pt x="473500" y="87445"/>
                    <a:pt x="473890" y="89588"/>
                    <a:pt x="474766" y="90659"/>
                  </a:cubicBezTo>
                  <a:cubicBezTo>
                    <a:pt x="475594" y="91681"/>
                    <a:pt x="477395" y="92217"/>
                    <a:pt x="480219" y="92217"/>
                  </a:cubicBezTo>
                  <a:lnTo>
                    <a:pt x="519511" y="92217"/>
                  </a:lnTo>
                  <a:cubicBezTo>
                    <a:pt x="526133" y="92217"/>
                    <a:pt x="531294" y="91730"/>
                    <a:pt x="535043" y="90805"/>
                  </a:cubicBezTo>
                  <a:lnTo>
                    <a:pt x="533972" y="99374"/>
                  </a:lnTo>
                  <a:lnTo>
                    <a:pt x="479489" y="99374"/>
                  </a:lnTo>
                  <a:cubicBezTo>
                    <a:pt x="472331" y="99374"/>
                    <a:pt x="467414" y="98011"/>
                    <a:pt x="464639" y="95382"/>
                  </a:cubicBezTo>
                  <a:cubicBezTo>
                    <a:pt x="461863" y="92752"/>
                    <a:pt x="460500" y="87737"/>
                    <a:pt x="460500" y="80385"/>
                  </a:cubicBezTo>
                  <a:lnTo>
                    <a:pt x="460500" y="45329"/>
                  </a:lnTo>
                  <a:cubicBezTo>
                    <a:pt x="460500" y="38172"/>
                    <a:pt x="461863" y="33206"/>
                    <a:pt x="464639" y="30479"/>
                  </a:cubicBezTo>
                  <a:cubicBezTo>
                    <a:pt x="467414" y="27753"/>
                    <a:pt x="472331" y="26389"/>
                    <a:pt x="479489" y="26389"/>
                  </a:cubicBezTo>
                  <a:lnTo>
                    <a:pt x="532901" y="26389"/>
                  </a:lnTo>
                  <a:lnTo>
                    <a:pt x="533534" y="34910"/>
                  </a:lnTo>
                  <a:cubicBezTo>
                    <a:pt x="529784" y="33985"/>
                    <a:pt x="524623" y="33498"/>
                    <a:pt x="518002" y="33498"/>
                  </a:cubicBezTo>
                  <a:lnTo>
                    <a:pt x="480268" y="33498"/>
                  </a:lnTo>
                  <a:cubicBezTo>
                    <a:pt x="477590" y="33498"/>
                    <a:pt x="475788" y="34034"/>
                    <a:pt x="474912" y="35105"/>
                  </a:cubicBezTo>
                  <a:cubicBezTo>
                    <a:pt x="474036" y="36176"/>
                    <a:pt x="473597" y="38318"/>
                    <a:pt x="473597" y="41532"/>
                  </a:cubicBezTo>
                  <a:lnTo>
                    <a:pt x="473597" y="84086"/>
                  </a:lnTo>
                  <a:close/>
                  <a:moveTo>
                    <a:pt x="379725" y="67385"/>
                  </a:moveTo>
                  <a:lnTo>
                    <a:pt x="379725" y="84134"/>
                  </a:lnTo>
                  <a:cubicBezTo>
                    <a:pt x="379725" y="87445"/>
                    <a:pt x="380115" y="89588"/>
                    <a:pt x="380942" y="90659"/>
                  </a:cubicBezTo>
                  <a:cubicBezTo>
                    <a:pt x="381770" y="91730"/>
                    <a:pt x="383572" y="92217"/>
                    <a:pt x="386347" y="92217"/>
                  </a:cubicBezTo>
                  <a:lnTo>
                    <a:pt x="432942" y="92217"/>
                  </a:lnTo>
                  <a:cubicBezTo>
                    <a:pt x="439564" y="92217"/>
                    <a:pt x="444774" y="91730"/>
                    <a:pt x="448474" y="90805"/>
                  </a:cubicBezTo>
                  <a:lnTo>
                    <a:pt x="446916" y="99374"/>
                  </a:lnTo>
                  <a:lnTo>
                    <a:pt x="385568" y="99374"/>
                  </a:lnTo>
                  <a:cubicBezTo>
                    <a:pt x="378411" y="99374"/>
                    <a:pt x="373493" y="98011"/>
                    <a:pt x="370718" y="95382"/>
                  </a:cubicBezTo>
                  <a:cubicBezTo>
                    <a:pt x="367991" y="92752"/>
                    <a:pt x="366579" y="87737"/>
                    <a:pt x="366579" y="80385"/>
                  </a:cubicBezTo>
                  <a:lnTo>
                    <a:pt x="366579" y="45329"/>
                  </a:lnTo>
                  <a:cubicBezTo>
                    <a:pt x="366579" y="38172"/>
                    <a:pt x="367942" y="33206"/>
                    <a:pt x="370718" y="30479"/>
                  </a:cubicBezTo>
                  <a:cubicBezTo>
                    <a:pt x="373444" y="27753"/>
                    <a:pt x="378411" y="26389"/>
                    <a:pt x="385568" y="26389"/>
                  </a:cubicBezTo>
                  <a:lnTo>
                    <a:pt x="429485" y="26389"/>
                  </a:lnTo>
                  <a:cubicBezTo>
                    <a:pt x="436642" y="26389"/>
                    <a:pt x="441560" y="27704"/>
                    <a:pt x="444335" y="30382"/>
                  </a:cubicBezTo>
                  <a:cubicBezTo>
                    <a:pt x="447062" y="33011"/>
                    <a:pt x="448425" y="37977"/>
                    <a:pt x="448425" y="45378"/>
                  </a:cubicBezTo>
                  <a:lnTo>
                    <a:pt x="448425" y="67385"/>
                  </a:lnTo>
                  <a:lnTo>
                    <a:pt x="379676" y="67385"/>
                  </a:lnTo>
                  <a:close/>
                  <a:moveTo>
                    <a:pt x="435474" y="60228"/>
                  </a:moveTo>
                  <a:lnTo>
                    <a:pt x="435474" y="41580"/>
                  </a:lnTo>
                  <a:cubicBezTo>
                    <a:pt x="435474" y="38270"/>
                    <a:pt x="435036" y="36127"/>
                    <a:pt x="434257" y="35056"/>
                  </a:cubicBezTo>
                  <a:cubicBezTo>
                    <a:pt x="433429" y="34034"/>
                    <a:pt x="431579" y="33498"/>
                    <a:pt x="428804" y="33498"/>
                  </a:cubicBezTo>
                  <a:lnTo>
                    <a:pt x="386395" y="33498"/>
                  </a:lnTo>
                  <a:cubicBezTo>
                    <a:pt x="383718" y="33498"/>
                    <a:pt x="381916" y="34034"/>
                    <a:pt x="381040" y="35105"/>
                  </a:cubicBezTo>
                  <a:cubicBezTo>
                    <a:pt x="380163" y="36176"/>
                    <a:pt x="379725" y="38318"/>
                    <a:pt x="379725" y="41532"/>
                  </a:cubicBezTo>
                  <a:lnTo>
                    <a:pt x="379725" y="60180"/>
                  </a:lnTo>
                  <a:lnTo>
                    <a:pt x="435474" y="60180"/>
                  </a:lnTo>
                  <a:close/>
                  <a:moveTo>
                    <a:pt x="273534" y="41921"/>
                  </a:moveTo>
                  <a:cubicBezTo>
                    <a:pt x="273534" y="35299"/>
                    <a:pt x="273048" y="30138"/>
                    <a:pt x="272123" y="26389"/>
                  </a:cubicBezTo>
                  <a:lnTo>
                    <a:pt x="287167" y="26389"/>
                  </a:lnTo>
                  <a:lnTo>
                    <a:pt x="287167" y="31697"/>
                  </a:lnTo>
                  <a:cubicBezTo>
                    <a:pt x="288823" y="29749"/>
                    <a:pt x="290235" y="28337"/>
                    <a:pt x="291452" y="27558"/>
                  </a:cubicBezTo>
                  <a:cubicBezTo>
                    <a:pt x="292669" y="26779"/>
                    <a:pt x="294033" y="26389"/>
                    <a:pt x="295591" y="26389"/>
                  </a:cubicBezTo>
                  <a:lnTo>
                    <a:pt x="335808" y="26389"/>
                  </a:lnTo>
                  <a:cubicBezTo>
                    <a:pt x="342965" y="26389"/>
                    <a:pt x="347883" y="27704"/>
                    <a:pt x="350658" y="30382"/>
                  </a:cubicBezTo>
                  <a:cubicBezTo>
                    <a:pt x="353384" y="33011"/>
                    <a:pt x="354796" y="37977"/>
                    <a:pt x="354796" y="45378"/>
                  </a:cubicBezTo>
                  <a:lnTo>
                    <a:pt x="354796" y="83891"/>
                  </a:lnTo>
                  <a:cubicBezTo>
                    <a:pt x="354796" y="90513"/>
                    <a:pt x="355235" y="95674"/>
                    <a:pt x="356208" y="99423"/>
                  </a:cubicBezTo>
                  <a:lnTo>
                    <a:pt x="340384" y="99423"/>
                  </a:lnTo>
                  <a:cubicBezTo>
                    <a:pt x="341310" y="95674"/>
                    <a:pt x="341796" y="90513"/>
                    <a:pt x="341796" y="83891"/>
                  </a:cubicBezTo>
                  <a:lnTo>
                    <a:pt x="341796" y="41629"/>
                  </a:lnTo>
                  <a:cubicBezTo>
                    <a:pt x="341796" y="38318"/>
                    <a:pt x="341407" y="36176"/>
                    <a:pt x="340579" y="35105"/>
                  </a:cubicBezTo>
                  <a:cubicBezTo>
                    <a:pt x="339751" y="34082"/>
                    <a:pt x="337901" y="33547"/>
                    <a:pt x="335126" y="33547"/>
                  </a:cubicBezTo>
                  <a:lnTo>
                    <a:pt x="293351" y="33547"/>
                  </a:lnTo>
                  <a:cubicBezTo>
                    <a:pt x="290673" y="33547"/>
                    <a:pt x="288872" y="34082"/>
                    <a:pt x="287995" y="35153"/>
                  </a:cubicBezTo>
                  <a:cubicBezTo>
                    <a:pt x="287119" y="36225"/>
                    <a:pt x="286681" y="38367"/>
                    <a:pt x="286681" y="41580"/>
                  </a:cubicBezTo>
                  <a:lnTo>
                    <a:pt x="286681" y="83842"/>
                  </a:lnTo>
                  <a:cubicBezTo>
                    <a:pt x="286681" y="90464"/>
                    <a:pt x="287167" y="95625"/>
                    <a:pt x="288093" y="99374"/>
                  </a:cubicBezTo>
                  <a:lnTo>
                    <a:pt x="272269" y="99374"/>
                  </a:lnTo>
                  <a:cubicBezTo>
                    <a:pt x="273194" y="95625"/>
                    <a:pt x="273681" y="90464"/>
                    <a:pt x="273681" y="83842"/>
                  </a:cubicBezTo>
                  <a:lnTo>
                    <a:pt x="273681" y="41872"/>
                  </a:lnTo>
                  <a:close/>
                  <a:moveTo>
                    <a:pt x="178688" y="41921"/>
                  </a:moveTo>
                  <a:cubicBezTo>
                    <a:pt x="178688" y="35299"/>
                    <a:pt x="178202" y="30138"/>
                    <a:pt x="177276" y="26389"/>
                  </a:cubicBezTo>
                  <a:lnTo>
                    <a:pt x="192321" y="26389"/>
                  </a:lnTo>
                  <a:lnTo>
                    <a:pt x="192321" y="31697"/>
                  </a:lnTo>
                  <a:cubicBezTo>
                    <a:pt x="193977" y="29749"/>
                    <a:pt x="195389" y="28337"/>
                    <a:pt x="196606" y="27558"/>
                  </a:cubicBezTo>
                  <a:cubicBezTo>
                    <a:pt x="197823" y="26779"/>
                    <a:pt x="199187" y="26389"/>
                    <a:pt x="200696" y="26389"/>
                  </a:cubicBezTo>
                  <a:lnTo>
                    <a:pt x="240913" y="26389"/>
                  </a:lnTo>
                  <a:cubicBezTo>
                    <a:pt x="248070" y="26389"/>
                    <a:pt x="252988" y="27704"/>
                    <a:pt x="255714" y="30382"/>
                  </a:cubicBezTo>
                  <a:cubicBezTo>
                    <a:pt x="258441" y="33011"/>
                    <a:pt x="259853" y="37977"/>
                    <a:pt x="259853" y="45378"/>
                  </a:cubicBezTo>
                  <a:lnTo>
                    <a:pt x="259853" y="83891"/>
                  </a:lnTo>
                  <a:cubicBezTo>
                    <a:pt x="259853" y="90513"/>
                    <a:pt x="260340" y="95674"/>
                    <a:pt x="261265" y="99423"/>
                  </a:cubicBezTo>
                  <a:lnTo>
                    <a:pt x="245441" y="99423"/>
                  </a:lnTo>
                  <a:cubicBezTo>
                    <a:pt x="246366" y="95674"/>
                    <a:pt x="246853" y="90513"/>
                    <a:pt x="246853" y="83891"/>
                  </a:cubicBezTo>
                  <a:lnTo>
                    <a:pt x="246853" y="41629"/>
                  </a:lnTo>
                  <a:cubicBezTo>
                    <a:pt x="246853" y="38318"/>
                    <a:pt x="246415" y="36176"/>
                    <a:pt x="245587" y="35105"/>
                  </a:cubicBezTo>
                  <a:cubicBezTo>
                    <a:pt x="244759" y="34082"/>
                    <a:pt x="242958" y="33547"/>
                    <a:pt x="240183" y="33547"/>
                  </a:cubicBezTo>
                  <a:lnTo>
                    <a:pt x="198407" y="33547"/>
                  </a:lnTo>
                  <a:cubicBezTo>
                    <a:pt x="195730" y="33547"/>
                    <a:pt x="193928" y="34082"/>
                    <a:pt x="193052" y="35153"/>
                  </a:cubicBezTo>
                  <a:cubicBezTo>
                    <a:pt x="192127" y="36225"/>
                    <a:pt x="191737" y="38367"/>
                    <a:pt x="191737" y="41580"/>
                  </a:cubicBezTo>
                  <a:lnTo>
                    <a:pt x="191737" y="83842"/>
                  </a:lnTo>
                  <a:cubicBezTo>
                    <a:pt x="191737" y="90464"/>
                    <a:pt x="192175" y="95625"/>
                    <a:pt x="193149" y="99374"/>
                  </a:cubicBezTo>
                  <a:lnTo>
                    <a:pt x="177325" y="99374"/>
                  </a:lnTo>
                  <a:cubicBezTo>
                    <a:pt x="178250" y="95625"/>
                    <a:pt x="178737" y="90464"/>
                    <a:pt x="178737" y="83842"/>
                  </a:cubicBezTo>
                  <a:lnTo>
                    <a:pt x="178737" y="41872"/>
                  </a:lnTo>
                  <a:close/>
                  <a:moveTo>
                    <a:pt x="104633" y="33547"/>
                  </a:moveTo>
                  <a:cubicBezTo>
                    <a:pt x="101955" y="33547"/>
                    <a:pt x="100153" y="34082"/>
                    <a:pt x="99277" y="35153"/>
                  </a:cubicBezTo>
                  <a:cubicBezTo>
                    <a:pt x="98400" y="36225"/>
                    <a:pt x="97962" y="38367"/>
                    <a:pt x="97962" y="41580"/>
                  </a:cubicBezTo>
                  <a:lnTo>
                    <a:pt x="97962" y="84134"/>
                  </a:lnTo>
                  <a:cubicBezTo>
                    <a:pt x="97962" y="87445"/>
                    <a:pt x="98400" y="89588"/>
                    <a:pt x="99228" y="90659"/>
                  </a:cubicBezTo>
                  <a:cubicBezTo>
                    <a:pt x="100056" y="91681"/>
                    <a:pt x="101857" y="92217"/>
                    <a:pt x="104633" y="92217"/>
                  </a:cubicBezTo>
                  <a:lnTo>
                    <a:pt x="147041" y="92217"/>
                  </a:lnTo>
                  <a:cubicBezTo>
                    <a:pt x="149719" y="92217"/>
                    <a:pt x="151520" y="91681"/>
                    <a:pt x="152396" y="90561"/>
                  </a:cubicBezTo>
                  <a:cubicBezTo>
                    <a:pt x="153273" y="89490"/>
                    <a:pt x="153711" y="87348"/>
                    <a:pt x="153711" y="84134"/>
                  </a:cubicBezTo>
                  <a:lnTo>
                    <a:pt x="153711" y="41580"/>
                  </a:lnTo>
                  <a:cubicBezTo>
                    <a:pt x="153711" y="38270"/>
                    <a:pt x="153322" y="36127"/>
                    <a:pt x="152494" y="35056"/>
                  </a:cubicBezTo>
                  <a:cubicBezTo>
                    <a:pt x="151666" y="34034"/>
                    <a:pt x="149865" y="33498"/>
                    <a:pt x="147041" y="33498"/>
                  </a:cubicBezTo>
                  <a:lnTo>
                    <a:pt x="104633" y="33498"/>
                  </a:lnTo>
                  <a:close/>
                  <a:moveTo>
                    <a:pt x="166760" y="80434"/>
                  </a:moveTo>
                  <a:cubicBezTo>
                    <a:pt x="166760" y="87591"/>
                    <a:pt x="165396" y="92509"/>
                    <a:pt x="162621" y="95284"/>
                  </a:cubicBezTo>
                  <a:cubicBezTo>
                    <a:pt x="159894" y="98011"/>
                    <a:pt x="154928" y="99423"/>
                    <a:pt x="147820" y="99423"/>
                  </a:cubicBezTo>
                  <a:lnTo>
                    <a:pt x="103854" y="99423"/>
                  </a:lnTo>
                  <a:cubicBezTo>
                    <a:pt x="96696" y="99423"/>
                    <a:pt x="91779" y="98060"/>
                    <a:pt x="89052" y="95430"/>
                  </a:cubicBezTo>
                  <a:cubicBezTo>
                    <a:pt x="86325" y="92801"/>
                    <a:pt x="84914" y="87786"/>
                    <a:pt x="84914" y="80434"/>
                  </a:cubicBezTo>
                  <a:lnTo>
                    <a:pt x="84914" y="45378"/>
                  </a:lnTo>
                  <a:cubicBezTo>
                    <a:pt x="84914" y="38221"/>
                    <a:pt x="86325" y="33255"/>
                    <a:pt x="89052" y="30528"/>
                  </a:cubicBezTo>
                  <a:cubicBezTo>
                    <a:pt x="91779" y="27801"/>
                    <a:pt x="96745" y="26438"/>
                    <a:pt x="103854" y="26438"/>
                  </a:cubicBezTo>
                  <a:lnTo>
                    <a:pt x="147820" y="26438"/>
                  </a:lnTo>
                  <a:cubicBezTo>
                    <a:pt x="154977" y="26438"/>
                    <a:pt x="159894" y="27753"/>
                    <a:pt x="162621" y="30431"/>
                  </a:cubicBezTo>
                  <a:cubicBezTo>
                    <a:pt x="165348" y="33060"/>
                    <a:pt x="166760" y="38026"/>
                    <a:pt x="166760" y="45427"/>
                  </a:cubicBezTo>
                  <a:lnTo>
                    <a:pt x="166760" y="80483"/>
                  </a:lnTo>
                  <a:close/>
                  <a:moveTo>
                    <a:pt x="75322" y="0"/>
                  </a:moveTo>
                  <a:lnTo>
                    <a:pt x="76247" y="10273"/>
                  </a:lnTo>
                  <a:cubicBezTo>
                    <a:pt x="73959" y="9300"/>
                    <a:pt x="70988" y="8667"/>
                    <a:pt x="67239" y="8472"/>
                  </a:cubicBezTo>
                  <a:cubicBezTo>
                    <a:pt x="63539" y="8228"/>
                    <a:pt x="58427" y="8131"/>
                    <a:pt x="52048" y="8131"/>
                  </a:cubicBezTo>
                  <a:lnTo>
                    <a:pt x="22543" y="8131"/>
                  </a:lnTo>
                  <a:cubicBezTo>
                    <a:pt x="19865" y="8131"/>
                    <a:pt x="18064" y="8667"/>
                    <a:pt x="17187" y="9738"/>
                  </a:cubicBezTo>
                  <a:cubicBezTo>
                    <a:pt x="16311" y="10809"/>
                    <a:pt x="15873" y="12951"/>
                    <a:pt x="15873" y="16165"/>
                  </a:cubicBezTo>
                  <a:lnTo>
                    <a:pt x="15873" y="83258"/>
                  </a:lnTo>
                  <a:cubicBezTo>
                    <a:pt x="15873" y="86569"/>
                    <a:pt x="16262" y="88711"/>
                    <a:pt x="17090" y="89782"/>
                  </a:cubicBezTo>
                  <a:cubicBezTo>
                    <a:pt x="17917" y="90805"/>
                    <a:pt x="19719" y="91292"/>
                    <a:pt x="22543" y="91292"/>
                  </a:cubicBezTo>
                  <a:lnTo>
                    <a:pt x="56382" y="91292"/>
                  </a:lnTo>
                  <a:cubicBezTo>
                    <a:pt x="65827" y="91292"/>
                    <a:pt x="72887" y="90659"/>
                    <a:pt x="77659" y="89442"/>
                  </a:cubicBezTo>
                  <a:lnTo>
                    <a:pt x="76685" y="99374"/>
                  </a:lnTo>
                  <a:lnTo>
                    <a:pt x="21910" y="99374"/>
                  </a:lnTo>
                  <a:cubicBezTo>
                    <a:pt x="13633" y="99374"/>
                    <a:pt x="7888" y="98011"/>
                    <a:pt x="4723" y="95382"/>
                  </a:cubicBezTo>
                  <a:cubicBezTo>
                    <a:pt x="1558" y="92752"/>
                    <a:pt x="0" y="87640"/>
                    <a:pt x="0" y="80093"/>
                  </a:cubicBezTo>
                  <a:lnTo>
                    <a:pt x="0" y="19232"/>
                  </a:lnTo>
                  <a:cubicBezTo>
                    <a:pt x="0" y="11685"/>
                    <a:pt x="1558" y="6573"/>
                    <a:pt x="4723" y="3944"/>
                  </a:cubicBezTo>
                  <a:cubicBezTo>
                    <a:pt x="7888" y="1315"/>
                    <a:pt x="13584" y="0"/>
                    <a:pt x="21910" y="0"/>
                  </a:cubicBezTo>
                  <a:lnTo>
                    <a:pt x="75322" y="0"/>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49" name="Group 448">
              <a:extLst>
                <a:ext uri="{FF2B5EF4-FFF2-40B4-BE49-F238E27FC236}">
                  <a16:creationId xmlns:a16="http://schemas.microsoft.com/office/drawing/2014/main" id="{B7C94DA4-7633-4706-8FF5-C587584CA33E}"/>
                </a:ext>
              </a:extLst>
            </p:cNvPr>
            <p:cNvGrpSpPr/>
            <p:nvPr userDrawn="1"/>
          </p:nvGrpSpPr>
          <p:grpSpPr>
            <a:xfrm>
              <a:off x="8420386" y="5121329"/>
              <a:ext cx="2725509" cy="388440"/>
              <a:chOff x="8420386" y="5121329"/>
              <a:chExt cx="2725509" cy="388440"/>
            </a:xfrm>
          </p:grpSpPr>
          <p:sp>
            <p:nvSpPr>
              <p:cNvPr id="450" name="Freeform: Shape 449">
                <a:extLst>
                  <a:ext uri="{FF2B5EF4-FFF2-40B4-BE49-F238E27FC236}">
                    <a16:creationId xmlns:a16="http://schemas.microsoft.com/office/drawing/2014/main" id="{A75C322F-9CB0-4A40-A0C2-FC0D980D54D3}"/>
                  </a:ext>
                </a:extLst>
              </p:cNvPr>
              <p:cNvSpPr/>
              <p:nvPr/>
            </p:nvSpPr>
            <p:spPr>
              <a:xfrm>
                <a:off x="8420386" y="5121377"/>
                <a:ext cx="446338" cy="388391"/>
              </a:xfrm>
              <a:custGeom>
                <a:avLst/>
                <a:gdLst>
                  <a:gd name="connsiteX0" fmla="*/ 65633 w 446338"/>
                  <a:gd name="connsiteY0" fmla="*/ 316819 h 388391"/>
                  <a:gd name="connsiteX1" fmla="*/ 446186 w 446338"/>
                  <a:gd name="connsiteY1" fmla="*/ 78243 h 388391"/>
                  <a:gd name="connsiteX2" fmla="*/ 334396 w 446338"/>
                  <a:gd name="connsiteY2" fmla="*/ 0 h 388391"/>
                  <a:gd name="connsiteX3" fmla="*/ 0 w 446338"/>
                  <a:gd name="connsiteY3" fmla="*/ 0 h 388391"/>
                  <a:gd name="connsiteX4" fmla="*/ 0 w 446338"/>
                  <a:gd name="connsiteY4" fmla="*/ 388392 h 388391"/>
                  <a:gd name="connsiteX5" fmla="*/ 99618 w 446338"/>
                  <a:gd name="connsiteY5" fmla="*/ 388392 h 388391"/>
                  <a:gd name="connsiteX6" fmla="*/ 65633 w 446338"/>
                  <a:gd name="connsiteY6" fmla="*/ 316819 h 38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6338" h="388391">
                    <a:moveTo>
                      <a:pt x="65633" y="316819"/>
                    </a:moveTo>
                    <a:cubicBezTo>
                      <a:pt x="75030" y="193441"/>
                      <a:pt x="455047" y="181658"/>
                      <a:pt x="446186" y="78243"/>
                    </a:cubicBezTo>
                    <a:cubicBezTo>
                      <a:pt x="442680" y="37052"/>
                      <a:pt x="386736" y="13292"/>
                      <a:pt x="334396" y="0"/>
                    </a:cubicBezTo>
                    <a:lnTo>
                      <a:pt x="0" y="0"/>
                    </a:lnTo>
                    <a:lnTo>
                      <a:pt x="0" y="388392"/>
                    </a:lnTo>
                    <a:lnTo>
                      <a:pt x="99618" y="388392"/>
                    </a:lnTo>
                    <a:cubicBezTo>
                      <a:pt x="81505" y="373980"/>
                      <a:pt x="62955" y="350706"/>
                      <a:pt x="65633" y="316819"/>
                    </a:cubicBezTo>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1" name="Freeform: Shape 450">
                <a:extLst>
                  <a:ext uri="{FF2B5EF4-FFF2-40B4-BE49-F238E27FC236}">
                    <a16:creationId xmlns:a16="http://schemas.microsoft.com/office/drawing/2014/main" id="{61534F26-A921-4BF1-9EEE-2ECB00BD65EE}"/>
                  </a:ext>
                </a:extLst>
              </p:cNvPr>
              <p:cNvSpPr/>
              <p:nvPr/>
            </p:nvSpPr>
            <p:spPr>
              <a:xfrm>
                <a:off x="8718015" y="5121329"/>
                <a:ext cx="285031" cy="388440"/>
              </a:xfrm>
              <a:custGeom>
                <a:avLst/>
                <a:gdLst>
                  <a:gd name="connsiteX0" fmla="*/ 114474 w 285031"/>
                  <a:gd name="connsiteY0" fmla="*/ 0 h 388440"/>
                  <a:gd name="connsiteX1" fmla="*/ 219544 w 285031"/>
                  <a:gd name="connsiteY1" fmla="*/ 81164 h 388440"/>
                  <a:gd name="connsiteX2" fmla="*/ 6 w 285031"/>
                  <a:gd name="connsiteY2" fmla="*/ 303673 h 388440"/>
                  <a:gd name="connsiteX3" fmla="*/ 46358 w 285031"/>
                  <a:gd name="connsiteY3" fmla="*/ 388440 h 388440"/>
                  <a:gd name="connsiteX4" fmla="*/ 285031 w 285031"/>
                  <a:gd name="connsiteY4" fmla="*/ 388440 h 388440"/>
                  <a:gd name="connsiteX5" fmla="*/ 285031 w 285031"/>
                  <a:gd name="connsiteY5" fmla="*/ 0 h 388440"/>
                  <a:gd name="connsiteX6" fmla="*/ 114474 w 285031"/>
                  <a:gd name="connsiteY6" fmla="*/ 0 h 38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1" h="388440">
                    <a:moveTo>
                      <a:pt x="114474" y="0"/>
                    </a:moveTo>
                    <a:cubicBezTo>
                      <a:pt x="169784" y="17625"/>
                      <a:pt x="221930" y="44210"/>
                      <a:pt x="219544" y="81164"/>
                    </a:cubicBezTo>
                    <a:cubicBezTo>
                      <a:pt x="214140" y="162426"/>
                      <a:pt x="-1309" y="210774"/>
                      <a:pt x="6" y="303673"/>
                    </a:cubicBezTo>
                    <a:cubicBezTo>
                      <a:pt x="444" y="336197"/>
                      <a:pt x="26882" y="368770"/>
                      <a:pt x="46358" y="388440"/>
                    </a:cubicBezTo>
                    <a:lnTo>
                      <a:pt x="285031" y="388440"/>
                    </a:lnTo>
                    <a:lnTo>
                      <a:pt x="285031" y="0"/>
                    </a:lnTo>
                    <a:lnTo>
                      <a:pt x="114474" y="0"/>
                    </a:lnTo>
                    <a:close/>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52" name="Freeform: Shape 451">
                <a:extLst>
                  <a:ext uri="{FF2B5EF4-FFF2-40B4-BE49-F238E27FC236}">
                    <a16:creationId xmlns:a16="http://schemas.microsoft.com/office/drawing/2014/main" id="{25CE9C1A-62C7-4F4B-A928-89A257A1A435}"/>
                  </a:ext>
                </a:extLst>
              </p:cNvPr>
              <p:cNvSpPr/>
              <p:nvPr/>
            </p:nvSpPr>
            <p:spPr>
              <a:xfrm>
                <a:off x="11059229" y="5125954"/>
                <a:ext cx="86666" cy="85303"/>
              </a:xfrm>
              <a:custGeom>
                <a:avLst/>
                <a:gdLst>
                  <a:gd name="connsiteX0" fmla="*/ 34667 w 86666"/>
                  <a:gd name="connsiteY0" fmla="*/ 39097 h 85303"/>
                  <a:gd name="connsiteX1" fmla="*/ 34667 w 86666"/>
                  <a:gd name="connsiteY1" fmla="*/ 25221 h 85303"/>
                  <a:gd name="connsiteX2" fmla="*/ 44404 w 86666"/>
                  <a:gd name="connsiteY2" fmla="*/ 25221 h 85303"/>
                  <a:gd name="connsiteX3" fmla="*/ 55116 w 86666"/>
                  <a:gd name="connsiteY3" fmla="*/ 32183 h 85303"/>
                  <a:gd name="connsiteX4" fmla="*/ 44404 w 86666"/>
                  <a:gd name="connsiteY4" fmla="*/ 39146 h 85303"/>
                  <a:gd name="connsiteX5" fmla="*/ 34667 w 86666"/>
                  <a:gd name="connsiteY5" fmla="*/ 39146 h 85303"/>
                  <a:gd name="connsiteX6" fmla="*/ 34667 w 86666"/>
                  <a:gd name="connsiteY6" fmla="*/ 46011 h 85303"/>
                  <a:gd name="connsiteX7" fmla="*/ 42554 w 86666"/>
                  <a:gd name="connsiteY7" fmla="*/ 46011 h 85303"/>
                  <a:gd name="connsiteX8" fmla="*/ 55213 w 86666"/>
                  <a:gd name="connsiteY8" fmla="*/ 67093 h 85303"/>
                  <a:gd name="connsiteX9" fmla="*/ 63880 w 86666"/>
                  <a:gd name="connsiteY9" fmla="*/ 67093 h 85303"/>
                  <a:gd name="connsiteX10" fmla="*/ 50150 w 86666"/>
                  <a:gd name="connsiteY10" fmla="*/ 45622 h 85303"/>
                  <a:gd name="connsiteX11" fmla="*/ 63052 w 86666"/>
                  <a:gd name="connsiteY11" fmla="*/ 32281 h 85303"/>
                  <a:gd name="connsiteX12" fmla="*/ 45183 w 86666"/>
                  <a:gd name="connsiteY12" fmla="*/ 18258 h 85303"/>
                  <a:gd name="connsiteX13" fmla="*/ 26682 w 86666"/>
                  <a:gd name="connsiteY13" fmla="*/ 18258 h 85303"/>
                  <a:gd name="connsiteX14" fmla="*/ 26682 w 86666"/>
                  <a:gd name="connsiteY14" fmla="*/ 67093 h 85303"/>
                  <a:gd name="connsiteX15" fmla="*/ 34667 w 86666"/>
                  <a:gd name="connsiteY15" fmla="*/ 67093 h 85303"/>
                  <a:gd name="connsiteX16" fmla="*/ 34667 w 86666"/>
                  <a:gd name="connsiteY16" fmla="*/ 46011 h 85303"/>
                  <a:gd name="connsiteX17" fmla="*/ 43333 w 86666"/>
                  <a:gd name="connsiteY17" fmla="*/ 77902 h 85303"/>
                  <a:gd name="connsiteX18" fmla="*/ 9592 w 86666"/>
                  <a:gd name="connsiteY18" fmla="*/ 42700 h 85303"/>
                  <a:gd name="connsiteX19" fmla="*/ 43333 w 86666"/>
                  <a:gd name="connsiteY19" fmla="*/ 7449 h 85303"/>
                  <a:gd name="connsiteX20" fmla="*/ 77075 w 86666"/>
                  <a:gd name="connsiteY20" fmla="*/ 42700 h 85303"/>
                  <a:gd name="connsiteX21" fmla="*/ 43333 w 86666"/>
                  <a:gd name="connsiteY21" fmla="*/ 77902 h 85303"/>
                  <a:gd name="connsiteX22" fmla="*/ 43333 w 86666"/>
                  <a:gd name="connsiteY22" fmla="*/ 0 h 85303"/>
                  <a:gd name="connsiteX23" fmla="*/ 0 w 86666"/>
                  <a:gd name="connsiteY23" fmla="*/ 42652 h 85303"/>
                  <a:gd name="connsiteX24" fmla="*/ 43333 w 86666"/>
                  <a:gd name="connsiteY24" fmla="*/ 85303 h 85303"/>
                  <a:gd name="connsiteX25" fmla="*/ 86667 w 86666"/>
                  <a:gd name="connsiteY25" fmla="*/ 42652 h 85303"/>
                  <a:gd name="connsiteX26" fmla="*/ 43333 w 86666"/>
                  <a:gd name="connsiteY26" fmla="*/ 0 h 8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6666" h="85303">
                    <a:moveTo>
                      <a:pt x="34667" y="39097"/>
                    </a:moveTo>
                    <a:lnTo>
                      <a:pt x="34667" y="25221"/>
                    </a:lnTo>
                    <a:lnTo>
                      <a:pt x="44404" y="25221"/>
                    </a:lnTo>
                    <a:cubicBezTo>
                      <a:pt x="49371" y="25221"/>
                      <a:pt x="55116" y="26146"/>
                      <a:pt x="55116" y="32183"/>
                    </a:cubicBezTo>
                    <a:cubicBezTo>
                      <a:pt x="55116" y="38221"/>
                      <a:pt x="49371" y="39146"/>
                      <a:pt x="44404" y="39146"/>
                    </a:cubicBezTo>
                    <a:lnTo>
                      <a:pt x="34667" y="39146"/>
                    </a:lnTo>
                    <a:close/>
                    <a:moveTo>
                      <a:pt x="34667" y="46011"/>
                    </a:moveTo>
                    <a:lnTo>
                      <a:pt x="42554" y="46011"/>
                    </a:lnTo>
                    <a:lnTo>
                      <a:pt x="55213" y="67093"/>
                    </a:lnTo>
                    <a:lnTo>
                      <a:pt x="63880" y="67093"/>
                    </a:lnTo>
                    <a:lnTo>
                      <a:pt x="50150" y="45622"/>
                    </a:lnTo>
                    <a:cubicBezTo>
                      <a:pt x="57599" y="44843"/>
                      <a:pt x="63052" y="41240"/>
                      <a:pt x="63052" y="32281"/>
                    </a:cubicBezTo>
                    <a:cubicBezTo>
                      <a:pt x="63052" y="22397"/>
                      <a:pt x="57064" y="18258"/>
                      <a:pt x="45183" y="18258"/>
                    </a:cubicBezTo>
                    <a:lnTo>
                      <a:pt x="26682" y="18258"/>
                    </a:lnTo>
                    <a:lnTo>
                      <a:pt x="26682" y="67093"/>
                    </a:lnTo>
                    <a:lnTo>
                      <a:pt x="34667" y="67093"/>
                    </a:lnTo>
                    <a:lnTo>
                      <a:pt x="34667" y="46011"/>
                    </a:lnTo>
                    <a:close/>
                    <a:moveTo>
                      <a:pt x="43333" y="77902"/>
                    </a:moveTo>
                    <a:cubicBezTo>
                      <a:pt x="24393" y="77902"/>
                      <a:pt x="9592" y="62809"/>
                      <a:pt x="9592" y="42700"/>
                    </a:cubicBezTo>
                    <a:cubicBezTo>
                      <a:pt x="9592" y="22592"/>
                      <a:pt x="24393" y="7449"/>
                      <a:pt x="43333" y="7449"/>
                    </a:cubicBezTo>
                    <a:cubicBezTo>
                      <a:pt x="62273" y="7449"/>
                      <a:pt x="77075" y="22543"/>
                      <a:pt x="77075" y="42700"/>
                    </a:cubicBezTo>
                    <a:cubicBezTo>
                      <a:pt x="77075" y="62857"/>
                      <a:pt x="62273" y="77902"/>
                      <a:pt x="43333" y="77902"/>
                    </a:cubicBezTo>
                    <a:moveTo>
                      <a:pt x="43333" y="0"/>
                    </a:moveTo>
                    <a:cubicBezTo>
                      <a:pt x="20109" y="0"/>
                      <a:pt x="0" y="17577"/>
                      <a:pt x="0" y="42652"/>
                    </a:cubicBezTo>
                    <a:cubicBezTo>
                      <a:pt x="0" y="67726"/>
                      <a:pt x="20157" y="85303"/>
                      <a:pt x="43333" y="85303"/>
                    </a:cubicBezTo>
                    <a:cubicBezTo>
                      <a:pt x="66509" y="85303"/>
                      <a:pt x="86667" y="67726"/>
                      <a:pt x="86667" y="42652"/>
                    </a:cubicBezTo>
                    <a:cubicBezTo>
                      <a:pt x="86667" y="17577"/>
                      <a:pt x="66558" y="0"/>
                      <a:pt x="43333" y="0"/>
                    </a:cubicBezTo>
                  </a:path>
                </a:pathLst>
              </a:custGeom>
              <a:solidFill>
                <a:srgbClr val="A1ABB2"/>
              </a:solidFill>
              <a:ln w="48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453" name="Group 452">
            <a:extLst>
              <a:ext uri="{FF2B5EF4-FFF2-40B4-BE49-F238E27FC236}">
                <a16:creationId xmlns:a16="http://schemas.microsoft.com/office/drawing/2014/main" id="{46938558-79C5-4A26-B7EC-689068FD6314}"/>
              </a:ext>
            </a:extLst>
          </p:cNvPr>
          <p:cNvGrpSpPr/>
          <p:nvPr userDrawn="1"/>
        </p:nvGrpSpPr>
        <p:grpSpPr>
          <a:xfrm>
            <a:off x="6385424" y="3530348"/>
            <a:ext cx="617796" cy="333956"/>
            <a:chOff x="8195252" y="4510939"/>
            <a:chExt cx="2972942" cy="1607057"/>
          </a:xfrm>
        </p:grpSpPr>
        <p:grpSp>
          <p:nvGrpSpPr>
            <p:cNvPr id="454" name="Graphic 566">
              <a:extLst>
                <a:ext uri="{FF2B5EF4-FFF2-40B4-BE49-F238E27FC236}">
                  <a16:creationId xmlns:a16="http://schemas.microsoft.com/office/drawing/2014/main" id="{5086118B-3F75-40A0-AF57-3600E6127782}"/>
                </a:ext>
              </a:extLst>
            </p:cNvPr>
            <p:cNvGrpSpPr/>
            <p:nvPr/>
          </p:nvGrpSpPr>
          <p:grpSpPr>
            <a:xfrm>
              <a:off x="8627877" y="4901273"/>
              <a:ext cx="1203769" cy="820292"/>
              <a:chOff x="8627877" y="4901273"/>
              <a:chExt cx="1203769" cy="820292"/>
            </a:xfrm>
            <a:solidFill>
              <a:srgbClr val="A1ABB2"/>
            </a:solidFill>
          </p:grpSpPr>
          <p:sp>
            <p:nvSpPr>
              <p:cNvPr id="481" name="Freeform: Shape 480">
                <a:extLst>
                  <a:ext uri="{FF2B5EF4-FFF2-40B4-BE49-F238E27FC236}">
                    <a16:creationId xmlns:a16="http://schemas.microsoft.com/office/drawing/2014/main" id="{05310FA4-0A69-44B0-BA49-139B4F868FCB}"/>
                  </a:ext>
                </a:extLst>
              </p:cNvPr>
              <p:cNvSpPr/>
              <p:nvPr/>
            </p:nvSpPr>
            <p:spPr>
              <a:xfrm>
                <a:off x="8631960" y="4905532"/>
                <a:ext cx="1195399" cy="811673"/>
              </a:xfrm>
              <a:custGeom>
                <a:avLst/>
                <a:gdLst>
                  <a:gd name="connsiteX0" fmla="*/ 1041000 w 1195399"/>
                  <a:gd name="connsiteY0" fmla="*/ 465800 h 811673"/>
                  <a:gd name="connsiteX1" fmla="*/ 1133488 w 1195399"/>
                  <a:gd name="connsiteY1" fmla="*/ 181384 h 811673"/>
                  <a:gd name="connsiteX2" fmla="*/ 506267 w 1195399"/>
                  <a:gd name="connsiteY2" fmla="*/ 195290 h 811673"/>
                  <a:gd name="connsiteX3" fmla="*/ 125076 w 1195399"/>
                  <a:gd name="connsiteY3" fmla="*/ 693543 h 811673"/>
                  <a:gd name="connsiteX4" fmla="*/ 613233 w 1195399"/>
                  <a:gd name="connsiteY4" fmla="*/ 739263 h 811673"/>
                  <a:gd name="connsiteX5" fmla="*/ 612471 w 1195399"/>
                  <a:gd name="connsiteY5" fmla="*/ 741168 h 811673"/>
                  <a:gd name="connsiteX6" fmla="*/ 17158 w 1195399"/>
                  <a:gd name="connsiteY6" fmla="*/ 700686 h 811673"/>
                  <a:gd name="connsiteX7" fmla="*/ 456070 w 1195399"/>
                  <a:gd name="connsiteY7" fmla="*/ 126996 h 811673"/>
                  <a:gd name="connsiteX8" fmla="*/ 1178256 w 1195399"/>
                  <a:gd name="connsiteY8" fmla="*/ 110994 h 811673"/>
                  <a:gd name="connsiteX9" fmla="*/ 1045572 w 1195399"/>
                  <a:gd name="connsiteY9" fmla="*/ 466371 h 811673"/>
                  <a:gd name="connsiteX10" fmla="*/ 1040905 w 1195399"/>
                  <a:gd name="connsiteY10" fmla="*/ 465895 h 811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5399" h="811673">
                    <a:moveTo>
                      <a:pt x="1041000" y="465800"/>
                    </a:moveTo>
                    <a:cubicBezTo>
                      <a:pt x="1133298" y="363121"/>
                      <a:pt x="1172255" y="257679"/>
                      <a:pt x="1133488" y="181384"/>
                    </a:cubicBezTo>
                    <a:cubicBezTo>
                      <a:pt x="1065575" y="47652"/>
                      <a:pt x="784778" y="53844"/>
                      <a:pt x="506267" y="195290"/>
                    </a:cubicBezTo>
                    <a:cubicBezTo>
                      <a:pt x="227851" y="336736"/>
                      <a:pt x="57163" y="559812"/>
                      <a:pt x="125076" y="693543"/>
                    </a:cubicBezTo>
                    <a:cubicBezTo>
                      <a:pt x="181655" y="804890"/>
                      <a:pt x="385776" y="819273"/>
                      <a:pt x="613233" y="739263"/>
                    </a:cubicBezTo>
                    <a:lnTo>
                      <a:pt x="612471" y="741168"/>
                    </a:lnTo>
                    <a:cubicBezTo>
                      <a:pt x="337484" y="846609"/>
                      <a:pt x="85071" y="834322"/>
                      <a:pt x="17158" y="700686"/>
                    </a:cubicBezTo>
                    <a:cubicBezTo>
                      <a:pt x="-61042" y="546667"/>
                      <a:pt x="135459" y="289778"/>
                      <a:pt x="456070" y="126996"/>
                    </a:cubicBezTo>
                    <a:cubicBezTo>
                      <a:pt x="776682" y="-35882"/>
                      <a:pt x="1100055" y="-43026"/>
                      <a:pt x="1178256" y="110994"/>
                    </a:cubicBezTo>
                    <a:cubicBezTo>
                      <a:pt x="1226357" y="205767"/>
                      <a:pt x="1170445" y="339498"/>
                      <a:pt x="1045572" y="466371"/>
                    </a:cubicBezTo>
                    <a:lnTo>
                      <a:pt x="1040905" y="4658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2" name="Freeform: Shape 481">
                <a:extLst>
                  <a:ext uri="{FF2B5EF4-FFF2-40B4-BE49-F238E27FC236}">
                    <a16:creationId xmlns:a16="http://schemas.microsoft.com/office/drawing/2014/main" id="{F1529F66-8033-4322-B93A-B46726513DDF}"/>
                  </a:ext>
                </a:extLst>
              </p:cNvPr>
              <p:cNvSpPr/>
              <p:nvPr/>
            </p:nvSpPr>
            <p:spPr>
              <a:xfrm>
                <a:off x="8627877" y="4901273"/>
                <a:ext cx="1203769" cy="820292"/>
              </a:xfrm>
              <a:custGeom>
                <a:avLst/>
                <a:gdLst>
                  <a:gd name="connsiteX0" fmla="*/ 17621 w 1203769"/>
                  <a:gd name="connsiteY0" fmla="*/ 706850 h 820292"/>
                  <a:gd name="connsiteX1" fmla="*/ 0 w 1203769"/>
                  <a:gd name="connsiteY1" fmla="*/ 630174 h 820292"/>
                  <a:gd name="connsiteX2" fmla="*/ 0 w 1203769"/>
                  <a:gd name="connsiteY2" fmla="*/ 630174 h 820292"/>
                  <a:gd name="connsiteX3" fmla="*/ 458343 w 1203769"/>
                  <a:gd name="connsiteY3" fmla="*/ 127445 h 820292"/>
                  <a:gd name="connsiteX4" fmla="*/ 458343 w 1203769"/>
                  <a:gd name="connsiteY4" fmla="*/ 127445 h 820292"/>
                  <a:gd name="connsiteX5" fmla="*/ 926401 w 1203769"/>
                  <a:gd name="connsiteY5" fmla="*/ 0 h 820292"/>
                  <a:gd name="connsiteX6" fmla="*/ 926401 w 1203769"/>
                  <a:gd name="connsiteY6" fmla="*/ 0 h 820292"/>
                  <a:gd name="connsiteX7" fmla="*/ 1186148 w 1203769"/>
                  <a:gd name="connsiteY7" fmla="*/ 113348 h 820292"/>
                  <a:gd name="connsiteX8" fmla="*/ 1186148 w 1203769"/>
                  <a:gd name="connsiteY8" fmla="*/ 113348 h 820292"/>
                  <a:gd name="connsiteX9" fmla="*/ 1203770 w 1203769"/>
                  <a:gd name="connsiteY9" fmla="*/ 190024 h 820292"/>
                  <a:gd name="connsiteX10" fmla="*/ 1203770 w 1203769"/>
                  <a:gd name="connsiteY10" fmla="*/ 190024 h 820292"/>
                  <a:gd name="connsiteX11" fmla="*/ 1052703 w 1203769"/>
                  <a:gd name="connsiteY11" fmla="*/ 473678 h 820292"/>
                  <a:gd name="connsiteX12" fmla="*/ 1052703 w 1203769"/>
                  <a:gd name="connsiteY12" fmla="*/ 473678 h 820292"/>
                  <a:gd name="connsiteX13" fmla="*/ 1051274 w 1203769"/>
                  <a:gd name="connsiteY13" fmla="*/ 475107 h 820292"/>
                  <a:gd name="connsiteX14" fmla="*/ 1049274 w 1203769"/>
                  <a:gd name="connsiteY14" fmla="*/ 474916 h 820292"/>
                  <a:gd name="connsiteX15" fmla="*/ 1044607 w 1203769"/>
                  <a:gd name="connsiteY15" fmla="*/ 474345 h 820292"/>
                  <a:gd name="connsiteX16" fmla="*/ 1045083 w 1203769"/>
                  <a:gd name="connsiteY16" fmla="*/ 470154 h 820292"/>
                  <a:gd name="connsiteX17" fmla="*/ 1048226 w 1203769"/>
                  <a:gd name="connsiteY17" fmla="*/ 473012 h 820292"/>
                  <a:gd name="connsiteX18" fmla="*/ 1045083 w 1203769"/>
                  <a:gd name="connsiteY18" fmla="*/ 470154 h 820292"/>
                  <a:gd name="connsiteX19" fmla="*/ 1044607 w 1203769"/>
                  <a:gd name="connsiteY19" fmla="*/ 474345 h 820292"/>
                  <a:gd name="connsiteX20" fmla="*/ 1036415 w 1203769"/>
                  <a:gd name="connsiteY20" fmla="*/ 473488 h 820292"/>
                  <a:gd name="connsiteX21" fmla="*/ 1041940 w 1203769"/>
                  <a:gd name="connsiteY21" fmla="*/ 467392 h 820292"/>
                  <a:gd name="connsiteX22" fmla="*/ 1148239 w 1203769"/>
                  <a:gd name="connsiteY22" fmla="*/ 250603 h 820292"/>
                  <a:gd name="connsiteX23" fmla="*/ 1148239 w 1203769"/>
                  <a:gd name="connsiteY23" fmla="*/ 250603 h 820292"/>
                  <a:gd name="connsiteX24" fmla="*/ 1133761 w 1203769"/>
                  <a:gd name="connsiteY24" fmla="*/ 187643 h 820292"/>
                  <a:gd name="connsiteX25" fmla="*/ 1133761 w 1203769"/>
                  <a:gd name="connsiteY25" fmla="*/ 187643 h 820292"/>
                  <a:gd name="connsiteX26" fmla="*/ 915162 w 1203769"/>
                  <a:gd name="connsiteY26" fmla="*/ 93536 h 820292"/>
                  <a:gd name="connsiteX27" fmla="*/ 915162 w 1203769"/>
                  <a:gd name="connsiteY27" fmla="*/ 93536 h 820292"/>
                  <a:gd name="connsiteX28" fmla="*/ 512255 w 1203769"/>
                  <a:gd name="connsiteY28" fmla="*/ 203359 h 820292"/>
                  <a:gd name="connsiteX29" fmla="*/ 512255 w 1203769"/>
                  <a:gd name="connsiteY29" fmla="*/ 203359 h 820292"/>
                  <a:gd name="connsiteX30" fmla="*/ 118491 w 1203769"/>
                  <a:gd name="connsiteY30" fmla="*/ 633032 h 820292"/>
                  <a:gd name="connsiteX31" fmla="*/ 118491 w 1203769"/>
                  <a:gd name="connsiteY31" fmla="*/ 633032 h 820292"/>
                  <a:gd name="connsiteX32" fmla="*/ 132969 w 1203769"/>
                  <a:gd name="connsiteY32" fmla="*/ 695992 h 820292"/>
                  <a:gd name="connsiteX33" fmla="*/ 132969 w 1203769"/>
                  <a:gd name="connsiteY33" fmla="*/ 695992 h 820292"/>
                  <a:gd name="connsiteX34" fmla="*/ 351568 w 1203769"/>
                  <a:gd name="connsiteY34" fmla="*/ 790099 h 820292"/>
                  <a:gd name="connsiteX35" fmla="*/ 351568 w 1203769"/>
                  <a:gd name="connsiteY35" fmla="*/ 790099 h 820292"/>
                  <a:gd name="connsiteX36" fmla="*/ 615982 w 1203769"/>
                  <a:gd name="connsiteY36" fmla="*/ 739712 h 820292"/>
                  <a:gd name="connsiteX37" fmla="*/ 615982 w 1203769"/>
                  <a:gd name="connsiteY37" fmla="*/ 739712 h 820292"/>
                  <a:gd name="connsiteX38" fmla="*/ 624840 w 1203769"/>
                  <a:gd name="connsiteY38" fmla="*/ 736568 h 820292"/>
                  <a:gd name="connsiteX39" fmla="*/ 621221 w 1203769"/>
                  <a:gd name="connsiteY39" fmla="*/ 745236 h 820292"/>
                  <a:gd name="connsiteX40" fmla="*/ 619697 w 1203769"/>
                  <a:gd name="connsiteY40" fmla="*/ 748856 h 820292"/>
                  <a:gd name="connsiteX41" fmla="*/ 618077 w 1203769"/>
                  <a:gd name="connsiteY41" fmla="*/ 749522 h 820292"/>
                  <a:gd name="connsiteX42" fmla="*/ 277273 w 1203769"/>
                  <a:gd name="connsiteY42" fmla="*/ 820293 h 820292"/>
                  <a:gd name="connsiteX43" fmla="*/ 277273 w 1203769"/>
                  <a:gd name="connsiteY43" fmla="*/ 820293 h 820292"/>
                  <a:gd name="connsiteX44" fmla="*/ 17526 w 1203769"/>
                  <a:gd name="connsiteY44" fmla="*/ 706946 h 820292"/>
                  <a:gd name="connsiteX45" fmla="*/ 17526 w 1203769"/>
                  <a:gd name="connsiteY45" fmla="*/ 706946 h 820292"/>
                  <a:gd name="connsiteX46" fmla="*/ 462153 w 1203769"/>
                  <a:gd name="connsiteY46" fmla="*/ 134969 h 820292"/>
                  <a:gd name="connsiteX47" fmla="*/ 8382 w 1203769"/>
                  <a:gd name="connsiteY47" fmla="*/ 630174 h 820292"/>
                  <a:gd name="connsiteX48" fmla="*/ 8382 w 1203769"/>
                  <a:gd name="connsiteY48" fmla="*/ 630174 h 820292"/>
                  <a:gd name="connsiteX49" fmla="*/ 25051 w 1203769"/>
                  <a:gd name="connsiteY49" fmla="*/ 703040 h 820292"/>
                  <a:gd name="connsiteX50" fmla="*/ 25051 w 1203769"/>
                  <a:gd name="connsiteY50" fmla="*/ 703040 h 820292"/>
                  <a:gd name="connsiteX51" fmla="*/ 277273 w 1203769"/>
                  <a:gd name="connsiteY51" fmla="*/ 811721 h 820292"/>
                  <a:gd name="connsiteX52" fmla="*/ 277273 w 1203769"/>
                  <a:gd name="connsiteY52" fmla="*/ 811721 h 820292"/>
                  <a:gd name="connsiteX53" fmla="*/ 464534 w 1203769"/>
                  <a:gd name="connsiteY53" fmla="*/ 788194 h 820292"/>
                  <a:gd name="connsiteX54" fmla="*/ 464534 w 1203769"/>
                  <a:gd name="connsiteY54" fmla="*/ 788194 h 820292"/>
                  <a:gd name="connsiteX55" fmla="*/ 351473 w 1203769"/>
                  <a:gd name="connsiteY55" fmla="*/ 798386 h 820292"/>
                  <a:gd name="connsiteX56" fmla="*/ 351473 w 1203769"/>
                  <a:gd name="connsiteY56" fmla="*/ 798386 h 820292"/>
                  <a:gd name="connsiteX57" fmla="*/ 125349 w 1203769"/>
                  <a:gd name="connsiteY57" fmla="*/ 699707 h 820292"/>
                  <a:gd name="connsiteX58" fmla="*/ 125349 w 1203769"/>
                  <a:gd name="connsiteY58" fmla="*/ 699707 h 820292"/>
                  <a:gd name="connsiteX59" fmla="*/ 110014 w 1203769"/>
                  <a:gd name="connsiteY59" fmla="*/ 632936 h 820292"/>
                  <a:gd name="connsiteX60" fmla="*/ 110014 w 1203769"/>
                  <a:gd name="connsiteY60" fmla="*/ 632936 h 820292"/>
                  <a:gd name="connsiteX61" fmla="*/ 508349 w 1203769"/>
                  <a:gd name="connsiteY61" fmla="*/ 195834 h 820292"/>
                  <a:gd name="connsiteX62" fmla="*/ 508349 w 1203769"/>
                  <a:gd name="connsiteY62" fmla="*/ 195834 h 820292"/>
                  <a:gd name="connsiteX63" fmla="*/ 915067 w 1203769"/>
                  <a:gd name="connsiteY63" fmla="*/ 85058 h 820292"/>
                  <a:gd name="connsiteX64" fmla="*/ 915067 w 1203769"/>
                  <a:gd name="connsiteY64" fmla="*/ 85058 h 820292"/>
                  <a:gd name="connsiteX65" fmla="*/ 1141190 w 1203769"/>
                  <a:gd name="connsiteY65" fmla="*/ 183737 h 820292"/>
                  <a:gd name="connsiteX66" fmla="*/ 1141190 w 1203769"/>
                  <a:gd name="connsiteY66" fmla="*/ 183737 h 820292"/>
                  <a:gd name="connsiteX67" fmla="*/ 1156526 w 1203769"/>
                  <a:gd name="connsiteY67" fmla="*/ 250508 h 820292"/>
                  <a:gd name="connsiteX68" fmla="*/ 1156526 w 1203769"/>
                  <a:gd name="connsiteY68" fmla="*/ 250508 h 820292"/>
                  <a:gd name="connsiteX69" fmla="*/ 1095089 w 1203769"/>
                  <a:gd name="connsiteY69" fmla="*/ 413766 h 820292"/>
                  <a:gd name="connsiteX70" fmla="*/ 1095089 w 1203769"/>
                  <a:gd name="connsiteY70" fmla="*/ 413766 h 820292"/>
                  <a:gd name="connsiteX71" fmla="*/ 1195197 w 1203769"/>
                  <a:gd name="connsiteY71" fmla="*/ 189928 h 820292"/>
                  <a:gd name="connsiteX72" fmla="*/ 1195197 w 1203769"/>
                  <a:gd name="connsiteY72" fmla="*/ 189928 h 820292"/>
                  <a:gd name="connsiteX73" fmla="*/ 1178528 w 1203769"/>
                  <a:gd name="connsiteY73" fmla="*/ 117062 h 820292"/>
                  <a:gd name="connsiteX74" fmla="*/ 1178528 w 1203769"/>
                  <a:gd name="connsiteY74" fmla="*/ 117062 h 820292"/>
                  <a:gd name="connsiteX75" fmla="*/ 926306 w 1203769"/>
                  <a:gd name="connsiteY75" fmla="*/ 8382 h 820292"/>
                  <a:gd name="connsiteX76" fmla="*/ 926306 w 1203769"/>
                  <a:gd name="connsiteY76" fmla="*/ 8382 h 820292"/>
                  <a:gd name="connsiteX77" fmla="*/ 462153 w 1203769"/>
                  <a:gd name="connsiteY77" fmla="*/ 134874 h 820292"/>
                  <a:gd name="connsiteX78" fmla="*/ 462153 w 1203769"/>
                  <a:gd name="connsiteY78" fmla="*/ 134874 h 82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203769" h="820292">
                    <a:moveTo>
                      <a:pt x="17621" y="706850"/>
                    </a:moveTo>
                    <a:cubicBezTo>
                      <a:pt x="5715" y="683324"/>
                      <a:pt x="0" y="657511"/>
                      <a:pt x="0" y="630174"/>
                    </a:cubicBezTo>
                    <a:lnTo>
                      <a:pt x="0" y="630174"/>
                    </a:lnTo>
                    <a:cubicBezTo>
                      <a:pt x="476" y="473488"/>
                      <a:pt x="184595" y="266700"/>
                      <a:pt x="458343" y="127445"/>
                    </a:cubicBezTo>
                    <a:lnTo>
                      <a:pt x="458343" y="127445"/>
                    </a:lnTo>
                    <a:cubicBezTo>
                      <a:pt x="625031" y="42767"/>
                      <a:pt x="792385" y="0"/>
                      <a:pt x="926401" y="0"/>
                    </a:cubicBezTo>
                    <a:lnTo>
                      <a:pt x="926401" y="0"/>
                    </a:lnTo>
                    <a:cubicBezTo>
                      <a:pt x="1050798" y="0"/>
                      <a:pt x="1147191" y="36957"/>
                      <a:pt x="1186148" y="113348"/>
                    </a:cubicBezTo>
                    <a:lnTo>
                      <a:pt x="1186148" y="113348"/>
                    </a:lnTo>
                    <a:cubicBezTo>
                      <a:pt x="1198055" y="136874"/>
                      <a:pt x="1203770" y="162687"/>
                      <a:pt x="1203770" y="190024"/>
                    </a:cubicBezTo>
                    <a:lnTo>
                      <a:pt x="1203770" y="190024"/>
                    </a:lnTo>
                    <a:cubicBezTo>
                      <a:pt x="1203770" y="276035"/>
                      <a:pt x="1147953" y="376904"/>
                      <a:pt x="1052703" y="473678"/>
                    </a:cubicBezTo>
                    <a:lnTo>
                      <a:pt x="1052703" y="473678"/>
                    </a:lnTo>
                    <a:lnTo>
                      <a:pt x="1051274" y="475107"/>
                    </a:lnTo>
                    <a:lnTo>
                      <a:pt x="1049274" y="474916"/>
                    </a:lnTo>
                    <a:lnTo>
                      <a:pt x="1044607" y="474345"/>
                    </a:lnTo>
                    <a:lnTo>
                      <a:pt x="1045083" y="470154"/>
                    </a:lnTo>
                    <a:lnTo>
                      <a:pt x="1048226" y="473012"/>
                    </a:lnTo>
                    <a:lnTo>
                      <a:pt x="1045083" y="470154"/>
                    </a:lnTo>
                    <a:lnTo>
                      <a:pt x="1044607" y="474345"/>
                    </a:lnTo>
                    <a:lnTo>
                      <a:pt x="1036415" y="473488"/>
                    </a:lnTo>
                    <a:lnTo>
                      <a:pt x="1041940" y="467392"/>
                    </a:lnTo>
                    <a:cubicBezTo>
                      <a:pt x="1109853" y="391859"/>
                      <a:pt x="1148334" y="314992"/>
                      <a:pt x="1148239" y="250603"/>
                    </a:cubicBezTo>
                    <a:lnTo>
                      <a:pt x="1148239" y="250603"/>
                    </a:lnTo>
                    <a:cubicBezTo>
                      <a:pt x="1148239" y="227933"/>
                      <a:pt x="1143572" y="206788"/>
                      <a:pt x="1133761" y="187643"/>
                    </a:cubicBezTo>
                    <a:lnTo>
                      <a:pt x="1133761" y="187643"/>
                    </a:lnTo>
                    <a:cubicBezTo>
                      <a:pt x="1102328" y="125349"/>
                      <a:pt x="1021937" y="93536"/>
                      <a:pt x="915162" y="93536"/>
                    </a:cubicBezTo>
                    <a:lnTo>
                      <a:pt x="915162" y="93536"/>
                    </a:lnTo>
                    <a:cubicBezTo>
                      <a:pt x="800386" y="93536"/>
                      <a:pt x="655987" y="130302"/>
                      <a:pt x="512255" y="203359"/>
                    </a:cubicBezTo>
                    <a:lnTo>
                      <a:pt x="512255" y="203359"/>
                    </a:lnTo>
                    <a:cubicBezTo>
                      <a:pt x="275844" y="323183"/>
                      <a:pt x="118015" y="502920"/>
                      <a:pt x="118491" y="633032"/>
                    </a:cubicBezTo>
                    <a:lnTo>
                      <a:pt x="118491" y="633032"/>
                    </a:lnTo>
                    <a:cubicBezTo>
                      <a:pt x="118491" y="655701"/>
                      <a:pt x="123158" y="676751"/>
                      <a:pt x="132969" y="695992"/>
                    </a:cubicBezTo>
                    <a:lnTo>
                      <a:pt x="132969" y="695992"/>
                    </a:lnTo>
                    <a:cubicBezTo>
                      <a:pt x="164497" y="758190"/>
                      <a:pt x="244793" y="790099"/>
                      <a:pt x="351568" y="790099"/>
                    </a:cubicBezTo>
                    <a:lnTo>
                      <a:pt x="351568" y="790099"/>
                    </a:lnTo>
                    <a:cubicBezTo>
                      <a:pt x="429197" y="790099"/>
                      <a:pt x="520541" y="773240"/>
                      <a:pt x="615982" y="739712"/>
                    </a:cubicBezTo>
                    <a:lnTo>
                      <a:pt x="615982" y="739712"/>
                    </a:lnTo>
                    <a:lnTo>
                      <a:pt x="624840" y="736568"/>
                    </a:lnTo>
                    <a:lnTo>
                      <a:pt x="621221" y="745236"/>
                    </a:lnTo>
                    <a:lnTo>
                      <a:pt x="619697" y="748856"/>
                    </a:lnTo>
                    <a:lnTo>
                      <a:pt x="618077" y="749522"/>
                    </a:lnTo>
                    <a:cubicBezTo>
                      <a:pt x="495395" y="796576"/>
                      <a:pt x="377095" y="820293"/>
                      <a:pt x="277273" y="820293"/>
                    </a:cubicBezTo>
                    <a:lnTo>
                      <a:pt x="277273" y="820293"/>
                    </a:lnTo>
                    <a:cubicBezTo>
                      <a:pt x="152876" y="820293"/>
                      <a:pt x="56388" y="783336"/>
                      <a:pt x="17526" y="706946"/>
                    </a:cubicBezTo>
                    <a:lnTo>
                      <a:pt x="17526" y="706946"/>
                    </a:lnTo>
                    <a:close/>
                    <a:moveTo>
                      <a:pt x="462153" y="134969"/>
                    </a:moveTo>
                    <a:cubicBezTo>
                      <a:pt x="189833" y="272987"/>
                      <a:pt x="8001" y="479965"/>
                      <a:pt x="8382" y="630174"/>
                    </a:cubicBezTo>
                    <a:lnTo>
                      <a:pt x="8382" y="630174"/>
                    </a:lnTo>
                    <a:cubicBezTo>
                      <a:pt x="8382" y="656368"/>
                      <a:pt x="13811" y="680752"/>
                      <a:pt x="25051" y="703040"/>
                    </a:cubicBezTo>
                    <a:lnTo>
                      <a:pt x="25051" y="703040"/>
                    </a:lnTo>
                    <a:cubicBezTo>
                      <a:pt x="61532" y="775049"/>
                      <a:pt x="154210" y="811721"/>
                      <a:pt x="277273" y="811721"/>
                    </a:cubicBezTo>
                    <a:lnTo>
                      <a:pt x="277273" y="811721"/>
                    </a:lnTo>
                    <a:cubicBezTo>
                      <a:pt x="334328" y="811721"/>
                      <a:pt x="397669" y="803815"/>
                      <a:pt x="464534" y="788194"/>
                    </a:cubicBezTo>
                    <a:lnTo>
                      <a:pt x="464534" y="788194"/>
                    </a:lnTo>
                    <a:cubicBezTo>
                      <a:pt x="424720" y="794957"/>
                      <a:pt x="386810" y="798386"/>
                      <a:pt x="351473" y="798386"/>
                    </a:cubicBezTo>
                    <a:lnTo>
                      <a:pt x="351473" y="798386"/>
                    </a:lnTo>
                    <a:cubicBezTo>
                      <a:pt x="243269" y="798386"/>
                      <a:pt x="159353" y="766286"/>
                      <a:pt x="125349" y="699707"/>
                    </a:cubicBezTo>
                    <a:lnTo>
                      <a:pt x="125349" y="699707"/>
                    </a:lnTo>
                    <a:cubicBezTo>
                      <a:pt x="114967" y="679228"/>
                      <a:pt x="110014" y="656654"/>
                      <a:pt x="110014" y="632936"/>
                    </a:cubicBezTo>
                    <a:lnTo>
                      <a:pt x="110014" y="632936"/>
                    </a:lnTo>
                    <a:cubicBezTo>
                      <a:pt x="110490" y="496443"/>
                      <a:pt x="270605" y="316801"/>
                      <a:pt x="508349" y="195834"/>
                    </a:cubicBezTo>
                    <a:lnTo>
                      <a:pt x="508349" y="195834"/>
                    </a:lnTo>
                    <a:cubicBezTo>
                      <a:pt x="653129" y="122301"/>
                      <a:pt x="798576" y="85153"/>
                      <a:pt x="915067" y="85058"/>
                    </a:cubicBezTo>
                    <a:lnTo>
                      <a:pt x="915067" y="85058"/>
                    </a:lnTo>
                    <a:cubicBezTo>
                      <a:pt x="1023176" y="85058"/>
                      <a:pt x="1107186" y="117157"/>
                      <a:pt x="1141190" y="183737"/>
                    </a:cubicBezTo>
                    <a:lnTo>
                      <a:pt x="1141190" y="183737"/>
                    </a:lnTo>
                    <a:cubicBezTo>
                      <a:pt x="1151573" y="204216"/>
                      <a:pt x="1156526" y="226695"/>
                      <a:pt x="1156526" y="250508"/>
                    </a:cubicBezTo>
                    <a:lnTo>
                      <a:pt x="1156526" y="250508"/>
                    </a:lnTo>
                    <a:cubicBezTo>
                      <a:pt x="1156526" y="300895"/>
                      <a:pt x="1134523" y="356902"/>
                      <a:pt x="1095089" y="413766"/>
                    </a:cubicBezTo>
                    <a:lnTo>
                      <a:pt x="1095089" y="413766"/>
                    </a:lnTo>
                    <a:cubicBezTo>
                      <a:pt x="1159288" y="335280"/>
                      <a:pt x="1195197" y="256889"/>
                      <a:pt x="1195197" y="189928"/>
                    </a:cubicBezTo>
                    <a:lnTo>
                      <a:pt x="1195197" y="189928"/>
                    </a:lnTo>
                    <a:cubicBezTo>
                      <a:pt x="1195197" y="163735"/>
                      <a:pt x="1189768" y="139351"/>
                      <a:pt x="1178528" y="117062"/>
                    </a:cubicBezTo>
                    <a:lnTo>
                      <a:pt x="1178528" y="117062"/>
                    </a:lnTo>
                    <a:cubicBezTo>
                      <a:pt x="1142048" y="45053"/>
                      <a:pt x="1049369" y="8382"/>
                      <a:pt x="926306" y="8382"/>
                    </a:cubicBezTo>
                    <a:lnTo>
                      <a:pt x="926306" y="8382"/>
                    </a:lnTo>
                    <a:cubicBezTo>
                      <a:pt x="794099" y="8382"/>
                      <a:pt x="627698" y="50768"/>
                      <a:pt x="462153" y="134874"/>
                    </a:cubicBezTo>
                    <a:lnTo>
                      <a:pt x="462153" y="13487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55" name="Graphic 566">
              <a:extLst>
                <a:ext uri="{FF2B5EF4-FFF2-40B4-BE49-F238E27FC236}">
                  <a16:creationId xmlns:a16="http://schemas.microsoft.com/office/drawing/2014/main" id="{B0A4B00D-1F18-4CF4-8EFC-9411036F13E2}"/>
                </a:ext>
              </a:extLst>
            </p:cNvPr>
            <p:cNvGrpSpPr/>
            <p:nvPr/>
          </p:nvGrpSpPr>
          <p:grpSpPr>
            <a:xfrm>
              <a:off x="8195252" y="4510939"/>
              <a:ext cx="1968150" cy="1339119"/>
              <a:chOff x="8195252" y="4510939"/>
              <a:chExt cx="1968150" cy="1339119"/>
            </a:xfrm>
            <a:solidFill>
              <a:srgbClr val="A1ABB2"/>
            </a:solidFill>
          </p:grpSpPr>
          <p:sp>
            <p:nvSpPr>
              <p:cNvPr id="479" name="Freeform: Shape 478">
                <a:extLst>
                  <a:ext uri="{FF2B5EF4-FFF2-40B4-BE49-F238E27FC236}">
                    <a16:creationId xmlns:a16="http://schemas.microsoft.com/office/drawing/2014/main" id="{F4F4C20A-FE35-4694-A216-89946E3BB2A2}"/>
                  </a:ext>
                </a:extLst>
              </p:cNvPr>
              <p:cNvSpPr/>
              <p:nvPr/>
            </p:nvSpPr>
            <p:spPr>
              <a:xfrm>
                <a:off x="8199410" y="4515180"/>
                <a:ext cx="1959763" cy="1330731"/>
              </a:xfrm>
              <a:custGeom>
                <a:avLst/>
                <a:gdLst>
                  <a:gd name="connsiteX0" fmla="*/ 1706531 w 1959763"/>
                  <a:gd name="connsiteY0" fmla="*/ 763664 h 1330731"/>
                  <a:gd name="connsiteX1" fmla="*/ 1858074 w 1959763"/>
                  <a:gd name="connsiteY1" fmla="*/ 297320 h 1330731"/>
                  <a:gd name="connsiteX2" fmla="*/ 829850 w 1959763"/>
                  <a:gd name="connsiteY2" fmla="*/ 320085 h 1330731"/>
                  <a:gd name="connsiteX3" fmla="*/ 205010 w 1959763"/>
                  <a:gd name="connsiteY3" fmla="*/ 1136949 h 1330731"/>
                  <a:gd name="connsiteX4" fmla="*/ 1005301 w 1959763"/>
                  <a:gd name="connsiteY4" fmla="*/ 1212006 h 1330731"/>
                  <a:gd name="connsiteX5" fmla="*/ 1003967 w 1959763"/>
                  <a:gd name="connsiteY5" fmla="*/ 1215149 h 1330731"/>
                  <a:gd name="connsiteX6" fmla="*/ 28131 w 1959763"/>
                  <a:gd name="connsiteY6" fmla="*/ 1148760 h 1330731"/>
                  <a:gd name="connsiteX7" fmla="*/ 747745 w 1959763"/>
                  <a:gd name="connsiteY7" fmla="*/ 208166 h 1330731"/>
                  <a:gd name="connsiteX8" fmla="*/ 1931607 w 1959763"/>
                  <a:gd name="connsiteY8" fmla="*/ 181972 h 1330731"/>
                  <a:gd name="connsiteX9" fmla="*/ 1714151 w 1959763"/>
                  <a:gd name="connsiteY9" fmla="*/ 764522 h 1330731"/>
                  <a:gd name="connsiteX10" fmla="*/ 1706531 w 1959763"/>
                  <a:gd name="connsiteY10" fmla="*/ 763664 h 133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59763" h="1330731">
                    <a:moveTo>
                      <a:pt x="1706531" y="763664"/>
                    </a:moveTo>
                    <a:cubicBezTo>
                      <a:pt x="1857788" y="595262"/>
                      <a:pt x="1921606" y="422479"/>
                      <a:pt x="1858074" y="297320"/>
                    </a:cubicBezTo>
                    <a:cubicBezTo>
                      <a:pt x="1746727" y="78055"/>
                      <a:pt x="1286384" y="88246"/>
                      <a:pt x="829850" y="320085"/>
                    </a:cubicBezTo>
                    <a:cubicBezTo>
                      <a:pt x="373412" y="551924"/>
                      <a:pt x="93663" y="917684"/>
                      <a:pt x="205010" y="1136949"/>
                    </a:cubicBezTo>
                    <a:cubicBezTo>
                      <a:pt x="297784" y="1319543"/>
                      <a:pt x="632397" y="1343070"/>
                      <a:pt x="1005301" y="1212006"/>
                    </a:cubicBezTo>
                    <a:lnTo>
                      <a:pt x="1003967" y="1215149"/>
                    </a:lnTo>
                    <a:cubicBezTo>
                      <a:pt x="553149" y="1388028"/>
                      <a:pt x="139383" y="1367835"/>
                      <a:pt x="28131" y="1148760"/>
                    </a:cubicBezTo>
                    <a:cubicBezTo>
                      <a:pt x="-100075" y="896157"/>
                      <a:pt x="222060" y="475057"/>
                      <a:pt x="747745" y="208166"/>
                    </a:cubicBezTo>
                    <a:cubicBezTo>
                      <a:pt x="1273334" y="-58820"/>
                      <a:pt x="1803401" y="-70535"/>
                      <a:pt x="1931607" y="181972"/>
                    </a:cubicBezTo>
                    <a:cubicBezTo>
                      <a:pt x="2010569" y="337420"/>
                      <a:pt x="1918844" y="556686"/>
                      <a:pt x="1714151" y="764522"/>
                    </a:cubicBezTo>
                    <a:lnTo>
                      <a:pt x="1706531" y="76366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0" name="Freeform: Shape 479">
                <a:extLst>
                  <a:ext uri="{FF2B5EF4-FFF2-40B4-BE49-F238E27FC236}">
                    <a16:creationId xmlns:a16="http://schemas.microsoft.com/office/drawing/2014/main" id="{0BDA2CA4-E407-4239-836B-AF2D30BF74C4}"/>
                  </a:ext>
                </a:extLst>
              </p:cNvPr>
              <p:cNvSpPr/>
              <p:nvPr/>
            </p:nvSpPr>
            <p:spPr>
              <a:xfrm>
                <a:off x="8195252" y="4510939"/>
                <a:ext cx="1968150" cy="1339119"/>
              </a:xfrm>
              <a:custGeom>
                <a:avLst/>
                <a:gdLst>
                  <a:gd name="connsiteX0" fmla="*/ 28575 w 1968150"/>
                  <a:gd name="connsiteY0" fmla="*/ 1154811 h 1339119"/>
                  <a:gd name="connsiteX1" fmla="*/ 0 w 1968150"/>
                  <a:gd name="connsiteY1" fmla="*/ 1030415 h 1339119"/>
                  <a:gd name="connsiteX2" fmla="*/ 0 w 1968150"/>
                  <a:gd name="connsiteY2" fmla="*/ 1030415 h 1339119"/>
                  <a:gd name="connsiteX3" fmla="*/ 749999 w 1968150"/>
                  <a:gd name="connsiteY3" fmla="*/ 208598 h 1339119"/>
                  <a:gd name="connsiteX4" fmla="*/ 749999 w 1968150"/>
                  <a:gd name="connsiteY4" fmla="*/ 208598 h 1339119"/>
                  <a:gd name="connsiteX5" fmla="*/ 1516094 w 1968150"/>
                  <a:gd name="connsiteY5" fmla="*/ 0 h 1339119"/>
                  <a:gd name="connsiteX6" fmla="*/ 1516094 w 1968150"/>
                  <a:gd name="connsiteY6" fmla="*/ 0 h 1339119"/>
                  <a:gd name="connsiteX7" fmla="*/ 1939576 w 1968150"/>
                  <a:gd name="connsiteY7" fmla="*/ 184309 h 1339119"/>
                  <a:gd name="connsiteX8" fmla="*/ 1939576 w 1968150"/>
                  <a:gd name="connsiteY8" fmla="*/ 184309 h 1339119"/>
                  <a:gd name="connsiteX9" fmla="*/ 1968151 w 1968150"/>
                  <a:gd name="connsiteY9" fmla="*/ 308705 h 1339119"/>
                  <a:gd name="connsiteX10" fmla="*/ 1968151 w 1968150"/>
                  <a:gd name="connsiteY10" fmla="*/ 308705 h 1339119"/>
                  <a:gd name="connsiteX11" fmla="*/ 1721358 w 1968150"/>
                  <a:gd name="connsiteY11" fmla="*/ 771715 h 1339119"/>
                  <a:gd name="connsiteX12" fmla="*/ 1721358 w 1968150"/>
                  <a:gd name="connsiteY12" fmla="*/ 771715 h 1339119"/>
                  <a:gd name="connsiteX13" fmla="*/ 1719929 w 1968150"/>
                  <a:gd name="connsiteY13" fmla="*/ 773144 h 1339119"/>
                  <a:gd name="connsiteX14" fmla="*/ 1710309 w 1968150"/>
                  <a:gd name="connsiteY14" fmla="*/ 772097 h 1339119"/>
                  <a:gd name="connsiteX15" fmla="*/ 1710785 w 1968150"/>
                  <a:gd name="connsiteY15" fmla="*/ 767906 h 1339119"/>
                  <a:gd name="connsiteX16" fmla="*/ 1713929 w 1968150"/>
                  <a:gd name="connsiteY16" fmla="*/ 770763 h 1339119"/>
                  <a:gd name="connsiteX17" fmla="*/ 1710785 w 1968150"/>
                  <a:gd name="connsiteY17" fmla="*/ 767906 h 1339119"/>
                  <a:gd name="connsiteX18" fmla="*/ 1710309 w 1968150"/>
                  <a:gd name="connsiteY18" fmla="*/ 772097 h 1339119"/>
                  <a:gd name="connsiteX19" fmla="*/ 1702118 w 1968150"/>
                  <a:gd name="connsiteY19" fmla="*/ 771239 h 1339119"/>
                  <a:gd name="connsiteX20" fmla="*/ 1707642 w 1968150"/>
                  <a:gd name="connsiteY20" fmla="*/ 765143 h 1339119"/>
                  <a:gd name="connsiteX21" fmla="*/ 1882521 w 1968150"/>
                  <a:gd name="connsiteY21" fmla="*/ 407956 h 1339119"/>
                  <a:gd name="connsiteX22" fmla="*/ 1882521 w 1968150"/>
                  <a:gd name="connsiteY22" fmla="*/ 407956 h 1339119"/>
                  <a:gd name="connsiteX23" fmla="*/ 1858518 w 1968150"/>
                  <a:gd name="connsiteY23" fmla="*/ 303467 h 1339119"/>
                  <a:gd name="connsiteX24" fmla="*/ 1858518 w 1968150"/>
                  <a:gd name="connsiteY24" fmla="*/ 303467 h 1339119"/>
                  <a:gd name="connsiteX25" fmla="*/ 1497806 w 1968150"/>
                  <a:gd name="connsiteY25" fmla="*/ 147733 h 1339119"/>
                  <a:gd name="connsiteX26" fmla="*/ 1497806 w 1968150"/>
                  <a:gd name="connsiteY26" fmla="*/ 147733 h 1339119"/>
                  <a:gd name="connsiteX27" fmla="*/ 836009 w 1968150"/>
                  <a:gd name="connsiteY27" fmla="*/ 328041 h 1339119"/>
                  <a:gd name="connsiteX28" fmla="*/ 836009 w 1968150"/>
                  <a:gd name="connsiteY28" fmla="*/ 328041 h 1339119"/>
                  <a:gd name="connsiteX29" fmla="*/ 188976 w 1968150"/>
                  <a:gd name="connsiteY29" fmla="*/ 1034796 h 1339119"/>
                  <a:gd name="connsiteX30" fmla="*/ 188976 w 1968150"/>
                  <a:gd name="connsiteY30" fmla="*/ 1034796 h 1339119"/>
                  <a:gd name="connsiteX31" fmla="*/ 212979 w 1968150"/>
                  <a:gd name="connsiteY31" fmla="*/ 1139285 h 1339119"/>
                  <a:gd name="connsiteX32" fmla="*/ 212979 w 1968150"/>
                  <a:gd name="connsiteY32" fmla="*/ 1139285 h 1339119"/>
                  <a:gd name="connsiteX33" fmla="*/ 573691 w 1968150"/>
                  <a:gd name="connsiteY33" fmla="*/ 1295019 h 1339119"/>
                  <a:gd name="connsiteX34" fmla="*/ 573691 w 1968150"/>
                  <a:gd name="connsiteY34" fmla="*/ 1295019 h 1339119"/>
                  <a:gd name="connsiteX35" fmla="*/ 1008126 w 1968150"/>
                  <a:gd name="connsiteY35" fmla="*/ 1212247 h 1339119"/>
                  <a:gd name="connsiteX36" fmla="*/ 1008126 w 1968150"/>
                  <a:gd name="connsiteY36" fmla="*/ 1212247 h 1339119"/>
                  <a:gd name="connsiteX37" fmla="*/ 1016984 w 1968150"/>
                  <a:gd name="connsiteY37" fmla="*/ 1209104 h 1339119"/>
                  <a:gd name="connsiteX38" fmla="*/ 1011365 w 1968150"/>
                  <a:gd name="connsiteY38" fmla="*/ 1222629 h 1339119"/>
                  <a:gd name="connsiteX39" fmla="*/ 1009650 w 1968150"/>
                  <a:gd name="connsiteY39" fmla="*/ 1223296 h 1339119"/>
                  <a:gd name="connsiteX40" fmla="*/ 451961 w 1968150"/>
                  <a:gd name="connsiteY40" fmla="*/ 1339120 h 1339119"/>
                  <a:gd name="connsiteX41" fmla="*/ 451961 w 1968150"/>
                  <a:gd name="connsiteY41" fmla="*/ 1339120 h 1339119"/>
                  <a:gd name="connsiteX42" fmla="*/ 28480 w 1968150"/>
                  <a:gd name="connsiteY42" fmla="*/ 1154811 h 1339119"/>
                  <a:gd name="connsiteX43" fmla="*/ 28480 w 1968150"/>
                  <a:gd name="connsiteY43" fmla="*/ 1154811 h 1339119"/>
                  <a:gd name="connsiteX44" fmla="*/ 753809 w 1968150"/>
                  <a:gd name="connsiteY44" fmla="*/ 216122 h 1339119"/>
                  <a:gd name="connsiteX45" fmla="*/ 8477 w 1968150"/>
                  <a:gd name="connsiteY45" fmla="*/ 1030415 h 1339119"/>
                  <a:gd name="connsiteX46" fmla="*/ 8477 w 1968150"/>
                  <a:gd name="connsiteY46" fmla="*/ 1030415 h 1339119"/>
                  <a:gd name="connsiteX47" fmla="*/ 36195 w 1968150"/>
                  <a:gd name="connsiteY47" fmla="*/ 1151001 h 1339119"/>
                  <a:gd name="connsiteX48" fmla="*/ 36195 w 1968150"/>
                  <a:gd name="connsiteY48" fmla="*/ 1151001 h 1339119"/>
                  <a:gd name="connsiteX49" fmla="*/ 452152 w 1968150"/>
                  <a:gd name="connsiteY49" fmla="*/ 1330643 h 1339119"/>
                  <a:gd name="connsiteX50" fmla="*/ 452152 w 1968150"/>
                  <a:gd name="connsiteY50" fmla="*/ 1330643 h 1339119"/>
                  <a:gd name="connsiteX51" fmla="*/ 857536 w 1968150"/>
                  <a:gd name="connsiteY51" fmla="*/ 1265968 h 1339119"/>
                  <a:gd name="connsiteX52" fmla="*/ 857536 w 1968150"/>
                  <a:gd name="connsiteY52" fmla="*/ 1265968 h 1339119"/>
                  <a:gd name="connsiteX53" fmla="*/ 573786 w 1968150"/>
                  <a:gd name="connsiteY53" fmla="*/ 1303401 h 1339119"/>
                  <a:gd name="connsiteX54" fmla="*/ 573786 w 1968150"/>
                  <a:gd name="connsiteY54" fmla="*/ 1303401 h 1339119"/>
                  <a:gd name="connsiteX55" fmla="*/ 205550 w 1968150"/>
                  <a:gd name="connsiteY55" fmla="*/ 1143095 h 1339119"/>
                  <a:gd name="connsiteX56" fmla="*/ 205550 w 1968150"/>
                  <a:gd name="connsiteY56" fmla="*/ 1143095 h 1339119"/>
                  <a:gd name="connsiteX57" fmla="*/ 180594 w 1968150"/>
                  <a:gd name="connsiteY57" fmla="*/ 1034796 h 1339119"/>
                  <a:gd name="connsiteX58" fmla="*/ 180594 w 1968150"/>
                  <a:gd name="connsiteY58" fmla="*/ 1034796 h 1339119"/>
                  <a:gd name="connsiteX59" fmla="*/ 832199 w 1968150"/>
                  <a:gd name="connsiteY59" fmla="*/ 320612 h 1339119"/>
                  <a:gd name="connsiteX60" fmla="*/ 832199 w 1968150"/>
                  <a:gd name="connsiteY60" fmla="*/ 320612 h 1339119"/>
                  <a:gd name="connsiteX61" fmla="*/ 1497806 w 1968150"/>
                  <a:gd name="connsiteY61" fmla="*/ 139351 h 1339119"/>
                  <a:gd name="connsiteX62" fmla="*/ 1497806 w 1968150"/>
                  <a:gd name="connsiteY62" fmla="*/ 139351 h 1339119"/>
                  <a:gd name="connsiteX63" fmla="*/ 1866043 w 1968150"/>
                  <a:gd name="connsiteY63" fmla="*/ 299657 h 1339119"/>
                  <a:gd name="connsiteX64" fmla="*/ 1866043 w 1968150"/>
                  <a:gd name="connsiteY64" fmla="*/ 299657 h 1339119"/>
                  <a:gd name="connsiteX65" fmla="*/ 1890998 w 1968150"/>
                  <a:gd name="connsiteY65" fmla="*/ 407956 h 1339119"/>
                  <a:gd name="connsiteX66" fmla="*/ 1890998 w 1968150"/>
                  <a:gd name="connsiteY66" fmla="*/ 407956 h 1339119"/>
                  <a:gd name="connsiteX67" fmla="*/ 1743170 w 1968150"/>
                  <a:gd name="connsiteY67" fmla="*/ 736854 h 1339119"/>
                  <a:gd name="connsiteX68" fmla="*/ 1743170 w 1968150"/>
                  <a:gd name="connsiteY68" fmla="*/ 736854 h 1339119"/>
                  <a:gd name="connsiteX69" fmla="*/ 1959769 w 1968150"/>
                  <a:gd name="connsiteY69" fmla="*/ 308705 h 1339119"/>
                  <a:gd name="connsiteX70" fmla="*/ 1959769 w 1968150"/>
                  <a:gd name="connsiteY70" fmla="*/ 308705 h 1339119"/>
                  <a:gd name="connsiteX71" fmla="*/ 1932146 w 1968150"/>
                  <a:gd name="connsiteY71" fmla="*/ 188119 h 1339119"/>
                  <a:gd name="connsiteX72" fmla="*/ 1932146 w 1968150"/>
                  <a:gd name="connsiteY72" fmla="*/ 188119 h 1339119"/>
                  <a:gd name="connsiteX73" fmla="*/ 1516094 w 1968150"/>
                  <a:gd name="connsiteY73" fmla="*/ 8382 h 1339119"/>
                  <a:gd name="connsiteX74" fmla="*/ 1516094 w 1968150"/>
                  <a:gd name="connsiteY74" fmla="*/ 8382 h 1339119"/>
                  <a:gd name="connsiteX75" fmla="*/ 753904 w 1968150"/>
                  <a:gd name="connsiteY75" fmla="*/ 216027 h 1339119"/>
                  <a:gd name="connsiteX76" fmla="*/ 753904 w 1968150"/>
                  <a:gd name="connsiteY76" fmla="*/ 216027 h 133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968150" h="1339119">
                    <a:moveTo>
                      <a:pt x="28575" y="1154811"/>
                    </a:moveTo>
                    <a:cubicBezTo>
                      <a:pt x="9239" y="1116711"/>
                      <a:pt x="0" y="1074801"/>
                      <a:pt x="0" y="1030415"/>
                    </a:cubicBezTo>
                    <a:lnTo>
                      <a:pt x="0" y="1030415"/>
                    </a:lnTo>
                    <a:cubicBezTo>
                      <a:pt x="476" y="775621"/>
                      <a:pt x="301657" y="436531"/>
                      <a:pt x="749999" y="208598"/>
                    </a:cubicBezTo>
                    <a:lnTo>
                      <a:pt x="749999" y="208598"/>
                    </a:lnTo>
                    <a:cubicBezTo>
                      <a:pt x="1022795" y="70009"/>
                      <a:pt x="1296924" y="0"/>
                      <a:pt x="1516094" y="0"/>
                    </a:cubicBezTo>
                    <a:lnTo>
                      <a:pt x="1516094" y="0"/>
                    </a:lnTo>
                    <a:cubicBezTo>
                      <a:pt x="1719643" y="0"/>
                      <a:pt x="1876520" y="60389"/>
                      <a:pt x="1939576" y="184309"/>
                    </a:cubicBezTo>
                    <a:lnTo>
                      <a:pt x="1939576" y="184309"/>
                    </a:lnTo>
                    <a:cubicBezTo>
                      <a:pt x="1958912" y="222409"/>
                      <a:pt x="1968151" y="264319"/>
                      <a:pt x="1968151" y="308705"/>
                    </a:cubicBezTo>
                    <a:lnTo>
                      <a:pt x="1968151" y="308705"/>
                    </a:lnTo>
                    <a:cubicBezTo>
                      <a:pt x="1968056" y="448532"/>
                      <a:pt x="1877092" y="613505"/>
                      <a:pt x="1721358" y="771715"/>
                    </a:cubicBezTo>
                    <a:lnTo>
                      <a:pt x="1721358" y="771715"/>
                    </a:lnTo>
                    <a:lnTo>
                      <a:pt x="1719929" y="773144"/>
                    </a:lnTo>
                    <a:lnTo>
                      <a:pt x="1710309" y="772097"/>
                    </a:lnTo>
                    <a:lnTo>
                      <a:pt x="1710785" y="767906"/>
                    </a:lnTo>
                    <a:lnTo>
                      <a:pt x="1713929" y="770763"/>
                    </a:lnTo>
                    <a:lnTo>
                      <a:pt x="1710785" y="767906"/>
                    </a:lnTo>
                    <a:lnTo>
                      <a:pt x="1710309" y="772097"/>
                    </a:lnTo>
                    <a:lnTo>
                      <a:pt x="1702118" y="771239"/>
                    </a:lnTo>
                    <a:lnTo>
                      <a:pt x="1707642" y="765143"/>
                    </a:lnTo>
                    <a:cubicBezTo>
                      <a:pt x="1819180" y="641033"/>
                      <a:pt x="1882616" y="514636"/>
                      <a:pt x="1882521" y="407956"/>
                    </a:cubicBezTo>
                    <a:lnTo>
                      <a:pt x="1882521" y="407956"/>
                    </a:lnTo>
                    <a:cubicBezTo>
                      <a:pt x="1882521" y="370427"/>
                      <a:pt x="1874711" y="335375"/>
                      <a:pt x="1858518" y="303467"/>
                    </a:cubicBezTo>
                    <a:lnTo>
                      <a:pt x="1858518" y="303467"/>
                    </a:lnTo>
                    <a:cubicBezTo>
                      <a:pt x="1806131" y="200025"/>
                      <a:pt x="1673257" y="147733"/>
                      <a:pt x="1497806" y="147733"/>
                    </a:cubicBezTo>
                    <a:lnTo>
                      <a:pt x="1497806" y="147733"/>
                    </a:lnTo>
                    <a:cubicBezTo>
                      <a:pt x="1309211" y="147733"/>
                      <a:pt x="1072039" y="208121"/>
                      <a:pt x="836009" y="328041"/>
                    </a:cubicBezTo>
                    <a:lnTo>
                      <a:pt x="836009" y="328041"/>
                    </a:lnTo>
                    <a:cubicBezTo>
                      <a:pt x="447961" y="524923"/>
                      <a:pt x="188500" y="819531"/>
                      <a:pt x="188976" y="1034796"/>
                    </a:cubicBezTo>
                    <a:lnTo>
                      <a:pt x="188976" y="1034796"/>
                    </a:lnTo>
                    <a:cubicBezTo>
                      <a:pt x="188976" y="1072325"/>
                      <a:pt x="196787" y="1107377"/>
                      <a:pt x="212979" y="1139285"/>
                    </a:cubicBezTo>
                    <a:lnTo>
                      <a:pt x="212979" y="1139285"/>
                    </a:lnTo>
                    <a:cubicBezTo>
                      <a:pt x="265367" y="1242727"/>
                      <a:pt x="398240" y="1295019"/>
                      <a:pt x="573691" y="1295019"/>
                    </a:cubicBezTo>
                    <a:lnTo>
                      <a:pt x="573691" y="1295019"/>
                    </a:lnTo>
                    <a:cubicBezTo>
                      <a:pt x="701421" y="1295019"/>
                      <a:pt x="851345" y="1267301"/>
                      <a:pt x="1008126" y="1212247"/>
                    </a:cubicBezTo>
                    <a:lnTo>
                      <a:pt x="1008126" y="1212247"/>
                    </a:lnTo>
                    <a:lnTo>
                      <a:pt x="1016984" y="1209104"/>
                    </a:lnTo>
                    <a:lnTo>
                      <a:pt x="1011365" y="1222629"/>
                    </a:lnTo>
                    <a:lnTo>
                      <a:pt x="1009650" y="1223296"/>
                    </a:lnTo>
                    <a:cubicBezTo>
                      <a:pt x="808673" y="1300353"/>
                      <a:pt x="615125" y="1339120"/>
                      <a:pt x="451961" y="1339120"/>
                    </a:cubicBezTo>
                    <a:lnTo>
                      <a:pt x="451961" y="1339120"/>
                    </a:lnTo>
                    <a:cubicBezTo>
                      <a:pt x="248412" y="1339120"/>
                      <a:pt x="91535" y="1278636"/>
                      <a:pt x="28480" y="1154811"/>
                    </a:cubicBezTo>
                    <a:lnTo>
                      <a:pt x="28480" y="1154811"/>
                    </a:lnTo>
                    <a:close/>
                    <a:moveTo>
                      <a:pt x="753809" y="216122"/>
                    </a:moveTo>
                    <a:cubicBezTo>
                      <a:pt x="306896" y="442817"/>
                      <a:pt x="8001" y="782003"/>
                      <a:pt x="8477" y="1030415"/>
                    </a:cubicBezTo>
                    <a:lnTo>
                      <a:pt x="8477" y="1030415"/>
                    </a:lnTo>
                    <a:cubicBezTo>
                      <a:pt x="8477" y="1073658"/>
                      <a:pt x="17431" y="1114139"/>
                      <a:pt x="36195" y="1151001"/>
                    </a:cubicBezTo>
                    <a:lnTo>
                      <a:pt x="36195" y="1151001"/>
                    </a:lnTo>
                    <a:cubicBezTo>
                      <a:pt x="96679" y="1270445"/>
                      <a:pt x="249936" y="1330643"/>
                      <a:pt x="452152" y="1330643"/>
                    </a:cubicBezTo>
                    <a:lnTo>
                      <a:pt x="452152" y="1330643"/>
                    </a:lnTo>
                    <a:cubicBezTo>
                      <a:pt x="573310" y="1330643"/>
                      <a:pt x="711708" y="1309021"/>
                      <a:pt x="857536" y="1265968"/>
                    </a:cubicBezTo>
                    <a:lnTo>
                      <a:pt x="857536" y="1265968"/>
                    </a:lnTo>
                    <a:cubicBezTo>
                      <a:pt x="756190" y="1290828"/>
                      <a:pt x="660083" y="1303401"/>
                      <a:pt x="573786" y="1303401"/>
                    </a:cubicBezTo>
                    <a:lnTo>
                      <a:pt x="573786" y="1303401"/>
                    </a:lnTo>
                    <a:cubicBezTo>
                      <a:pt x="396907" y="1303401"/>
                      <a:pt x="260414" y="1250918"/>
                      <a:pt x="205550" y="1143095"/>
                    </a:cubicBezTo>
                    <a:lnTo>
                      <a:pt x="205550" y="1143095"/>
                    </a:lnTo>
                    <a:cubicBezTo>
                      <a:pt x="188690" y="1109948"/>
                      <a:pt x="180594" y="1073468"/>
                      <a:pt x="180594" y="1034796"/>
                    </a:cubicBezTo>
                    <a:lnTo>
                      <a:pt x="180594" y="1034796"/>
                    </a:lnTo>
                    <a:cubicBezTo>
                      <a:pt x="181070" y="813054"/>
                      <a:pt x="442817" y="518636"/>
                      <a:pt x="832199" y="320612"/>
                    </a:cubicBezTo>
                    <a:lnTo>
                      <a:pt x="832199" y="320612"/>
                    </a:lnTo>
                    <a:cubicBezTo>
                      <a:pt x="1069277" y="200216"/>
                      <a:pt x="1307402" y="139351"/>
                      <a:pt x="1497806" y="139351"/>
                    </a:cubicBezTo>
                    <a:lnTo>
                      <a:pt x="1497806" y="139351"/>
                    </a:lnTo>
                    <a:cubicBezTo>
                      <a:pt x="1674686" y="139351"/>
                      <a:pt x="1811179" y="191834"/>
                      <a:pt x="1866043" y="299657"/>
                    </a:cubicBezTo>
                    <a:lnTo>
                      <a:pt x="1866043" y="299657"/>
                    </a:lnTo>
                    <a:cubicBezTo>
                      <a:pt x="1882902" y="332804"/>
                      <a:pt x="1890998" y="369284"/>
                      <a:pt x="1890998" y="407956"/>
                    </a:cubicBezTo>
                    <a:lnTo>
                      <a:pt x="1890998" y="407956"/>
                    </a:lnTo>
                    <a:cubicBezTo>
                      <a:pt x="1890998" y="508064"/>
                      <a:pt x="1837373" y="622745"/>
                      <a:pt x="1743170" y="736854"/>
                    </a:cubicBezTo>
                    <a:lnTo>
                      <a:pt x="1743170" y="736854"/>
                    </a:lnTo>
                    <a:cubicBezTo>
                      <a:pt x="1880997" y="588550"/>
                      <a:pt x="1959864" y="436436"/>
                      <a:pt x="1959769" y="308705"/>
                    </a:cubicBezTo>
                    <a:lnTo>
                      <a:pt x="1959769" y="308705"/>
                    </a:lnTo>
                    <a:cubicBezTo>
                      <a:pt x="1959769" y="265462"/>
                      <a:pt x="1950815" y="224981"/>
                      <a:pt x="1932146" y="188119"/>
                    </a:cubicBezTo>
                    <a:lnTo>
                      <a:pt x="1932146" y="188119"/>
                    </a:lnTo>
                    <a:cubicBezTo>
                      <a:pt x="1871472" y="68675"/>
                      <a:pt x="1718215" y="8382"/>
                      <a:pt x="1516094" y="8382"/>
                    </a:cubicBezTo>
                    <a:lnTo>
                      <a:pt x="1516094" y="8382"/>
                    </a:lnTo>
                    <a:cubicBezTo>
                      <a:pt x="1298734" y="8382"/>
                      <a:pt x="1025747" y="78010"/>
                      <a:pt x="753904" y="216027"/>
                    </a:cubicBezTo>
                    <a:lnTo>
                      <a:pt x="753904" y="2160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56" name="Graphic 566">
              <a:extLst>
                <a:ext uri="{FF2B5EF4-FFF2-40B4-BE49-F238E27FC236}">
                  <a16:creationId xmlns:a16="http://schemas.microsoft.com/office/drawing/2014/main" id="{C462BF16-3E6F-4812-8584-B4AC3FE3B2B7}"/>
                </a:ext>
              </a:extLst>
            </p:cNvPr>
            <p:cNvGrpSpPr/>
            <p:nvPr/>
          </p:nvGrpSpPr>
          <p:grpSpPr>
            <a:xfrm>
              <a:off x="8209825" y="5518874"/>
              <a:ext cx="2887217" cy="599122"/>
              <a:chOff x="8209825" y="5518874"/>
              <a:chExt cx="2887217" cy="599122"/>
            </a:xfrm>
            <a:solidFill>
              <a:srgbClr val="A1ABB2"/>
            </a:solidFill>
          </p:grpSpPr>
          <p:grpSp>
            <p:nvGrpSpPr>
              <p:cNvPr id="461" name="Graphic 566">
                <a:extLst>
                  <a:ext uri="{FF2B5EF4-FFF2-40B4-BE49-F238E27FC236}">
                    <a16:creationId xmlns:a16="http://schemas.microsoft.com/office/drawing/2014/main" id="{6CE6D091-B9EE-49B6-BC66-2C8AFA807943}"/>
                  </a:ext>
                </a:extLst>
              </p:cNvPr>
              <p:cNvGrpSpPr/>
              <p:nvPr/>
            </p:nvGrpSpPr>
            <p:grpSpPr>
              <a:xfrm>
                <a:off x="8209825" y="5723376"/>
                <a:ext cx="398525" cy="385952"/>
                <a:chOff x="8209825" y="5723376"/>
                <a:chExt cx="398525" cy="385952"/>
              </a:xfrm>
              <a:solidFill>
                <a:srgbClr val="A1ABB2"/>
              </a:solidFill>
            </p:grpSpPr>
            <p:sp>
              <p:nvSpPr>
                <p:cNvPr id="477" name="Freeform: Shape 476">
                  <a:extLst>
                    <a:ext uri="{FF2B5EF4-FFF2-40B4-BE49-F238E27FC236}">
                      <a16:creationId xmlns:a16="http://schemas.microsoft.com/office/drawing/2014/main" id="{B5331F97-3D59-42B9-9F76-C7301F3226CF}"/>
                    </a:ext>
                  </a:extLst>
                </p:cNvPr>
                <p:cNvSpPr/>
                <p:nvPr/>
              </p:nvSpPr>
              <p:spPr>
                <a:xfrm>
                  <a:off x="8214016" y="5727757"/>
                  <a:ext cx="390048" cy="377380"/>
                </a:xfrm>
                <a:custGeom>
                  <a:avLst/>
                  <a:gdLst>
                    <a:gd name="connsiteX0" fmla="*/ 389954 w 390048"/>
                    <a:gd name="connsiteY0" fmla="*/ 377285 h 377380"/>
                    <a:gd name="connsiteX1" fmla="*/ 242602 w 390048"/>
                    <a:gd name="connsiteY1" fmla="*/ 377285 h 377380"/>
                    <a:gd name="connsiteX2" fmla="*/ 242602 w 390048"/>
                    <a:gd name="connsiteY2" fmla="*/ 174688 h 377380"/>
                    <a:gd name="connsiteX3" fmla="*/ 231077 w 390048"/>
                    <a:gd name="connsiteY3" fmla="*/ 129445 h 377380"/>
                    <a:gd name="connsiteX4" fmla="*/ 198882 w 390048"/>
                    <a:gd name="connsiteY4" fmla="*/ 116776 h 377380"/>
                    <a:gd name="connsiteX5" fmla="*/ 161354 w 390048"/>
                    <a:gd name="connsiteY5" fmla="*/ 134303 h 377380"/>
                    <a:gd name="connsiteX6" fmla="*/ 146685 w 390048"/>
                    <a:gd name="connsiteY6" fmla="*/ 199930 h 377380"/>
                    <a:gd name="connsiteX7" fmla="*/ 146685 w 390048"/>
                    <a:gd name="connsiteY7" fmla="*/ 377380 h 377380"/>
                    <a:gd name="connsiteX8" fmla="*/ 0 w 390048"/>
                    <a:gd name="connsiteY8" fmla="*/ 377380 h 377380"/>
                    <a:gd name="connsiteX9" fmla="*/ 0 w 390048"/>
                    <a:gd name="connsiteY9" fmla="*/ 8192 h 377380"/>
                    <a:gd name="connsiteX10" fmla="*/ 137160 w 390048"/>
                    <a:gd name="connsiteY10" fmla="*/ 8192 h 377380"/>
                    <a:gd name="connsiteX11" fmla="*/ 137160 w 390048"/>
                    <a:gd name="connsiteY11" fmla="*/ 59531 h 377380"/>
                    <a:gd name="connsiteX12" fmla="*/ 189452 w 390048"/>
                    <a:gd name="connsiteY12" fmla="*/ 15907 h 377380"/>
                    <a:gd name="connsiteX13" fmla="*/ 263462 w 390048"/>
                    <a:gd name="connsiteY13" fmla="*/ 0 h 377380"/>
                    <a:gd name="connsiteX14" fmla="*/ 356426 w 390048"/>
                    <a:gd name="connsiteY14" fmla="*/ 35433 h 377380"/>
                    <a:gd name="connsiteX15" fmla="*/ 390049 w 390048"/>
                    <a:gd name="connsiteY15" fmla="*/ 143828 h 377380"/>
                    <a:gd name="connsiteX16" fmla="*/ 390049 w 390048"/>
                    <a:gd name="connsiteY16" fmla="*/ 377380 h 377380"/>
                    <a:gd name="connsiteX17" fmla="*/ 390049 w 390048"/>
                    <a:gd name="connsiteY17" fmla="*/ 377380 h 37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0048" h="377380">
                      <a:moveTo>
                        <a:pt x="389954" y="377285"/>
                      </a:moveTo>
                      <a:lnTo>
                        <a:pt x="242602" y="377285"/>
                      </a:lnTo>
                      <a:lnTo>
                        <a:pt x="242602" y="174688"/>
                      </a:lnTo>
                      <a:cubicBezTo>
                        <a:pt x="242602" y="153257"/>
                        <a:pt x="238697" y="138017"/>
                        <a:pt x="231077" y="129445"/>
                      </a:cubicBezTo>
                      <a:cubicBezTo>
                        <a:pt x="223457" y="120872"/>
                        <a:pt x="212884" y="116776"/>
                        <a:pt x="198882" y="116776"/>
                      </a:cubicBezTo>
                      <a:cubicBezTo>
                        <a:pt x="183261" y="116776"/>
                        <a:pt x="171069" y="122492"/>
                        <a:pt x="161354" y="134303"/>
                      </a:cubicBezTo>
                      <a:cubicBezTo>
                        <a:pt x="151638" y="146113"/>
                        <a:pt x="146685" y="168212"/>
                        <a:pt x="146685" y="199930"/>
                      </a:cubicBezTo>
                      <a:lnTo>
                        <a:pt x="146685" y="377380"/>
                      </a:lnTo>
                      <a:lnTo>
                        <a:pt x="0" y="377380"/>
                      </a:lnTo>
                      <a:lnTo>
                        <a:pt x="0" y="8192"/>
                      </a:lnTo>
                      <a:lnTo>
                        <a:pt x="137160" y="8192"/>
                      </a:lnTo>
                      <a:lnTo>
                        <a:pt x="137160" y="59531"/>
                      </a:lnTo>
                      <a:cubicBezTo>
                        <a:pt x="154305" y="39719"/>
                        <a:pt x="171831" y="25146"/>
                        <a:pt x="189452" y="15907"/>
                      </a:cubicBezTo>
                      <a:cubicBezTo>
                        <a:pt x="209645" y="5334"/>
                        <a:pt x="234601" y="0"/>
                        <a:pt x="263462" y="0"/>
                      </a:cubicBezTo>
                      <a:cubicBezTo>
                        <a:pt x="302800" y="0"/>
                        <a:pt x="334042" y="11906"/>
                        <a:pt x="356426" y="35433"/>
                      </a:cubicBezTo>
                      <a:cubicBezTo>
                        <a:pt x="378714" y="58864"/>
                        <a:pt x="390049" y="95345"/>
                        <a:pt x="390049" y="143828"/>
                      </a:cubicBezTo>
                      <a:lnTo>
                        <a:pt x="390049" y="377380"/>
                      </a:lnTo>
                      <a:lnTo>
                        <a:pt x="390049" y="37738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8" name="Freeform: Shape 477">
                  <a:extLst>
                    <a:ext uri="{FF2B5EF4-FFF2-40B4-BE49-F238E27FC236}">
                      <a16:creationId xmlns:a16="http://schemas.microsoft.com/office/drawing/2014/main" id="{D3DBFB67-262B-4CA7-8807-A60F49A05370}"/>
                    </a:ext>
                  </a:extLst>
                </p:cNvPr>
                <p:cNvSpPr/>
                <p:nvPr/>
              </p:nvSpPr>
              <p:spPr>
                <a:xfrm>
                  <a:off x="8209825" y="5723376"/>
                  <a:ext cx="398525" cy="385952"/>
                </a:xfrm>
                <a:custGeom>
                  <a:avLst/>
                  <a:gdLst>
                    <a:gd name="connsiteX0" fmla="*/ 267653 w 398525"/>
                    <a:gd name="connsiteY0" fmla="*/ 8573 h 385952"/>
                    <a:gd name="connsiteX1" fmla="*/ 357569 w 398525"/>
                    <a:gd name="connsiteY1" fmla="*/ 42672 h 385952"/>
                    <a:gd name="connsiteX2" fmla="*/ 390049 w 398525"/>
                    <a:gd name="connsiteY2" fmla="*/ 148114 h 385952"/>
                    <a:gd name="connsiteX3" fmla="*/ 390049 w 398525"/>
                    <a:gd name="connsiteY3" fmla="*/ 377381 h 385952"/>
                    <a:gd name="connsiteX4" fmla="*/ 251079 w 398525"/>
                    <a:gd name="connsiteY4" fmla="*/ 377381 h 385952"/>
                    <a:gd name="connsiteX5" fmla="*/ 251079 w 398525"/>
                    <a:gd name="connsiteY5" fmla="*/ 178975 h 385952"/>
                    <a:gd name="connsiteX6" fmla="*/ 238506 w 398525"/>
                    <a:gd name="connsiteY6" fmla="*/ 130873 h 385952"/>
                    <a:gd name="connsiteX7" fmla="*/ 203168 w 398525"/>
                    <a:gd name="connsiteY7" fmla="*/ 116777 h 385952"/>
                    <a:gd name="connsiteX8" fmla="*/ 162401 w 398525"/>
                    <a:gd name="connsiteY8" fmla="*/ 135827 h 385952"/>
                    <a:gd name="connsiteX9" fmla="*/ 146780 w 398525"/>
                    <a:gd name="connsiteY9" fmla="*/ 204121 h 385952"/>
                    <a:gd name="connsiteX10" fmla="*/ 146780 w 398525"/>
                    <a:gd name="connsiteY10" fmla="*/ 377381 h 385952"/>
                    <a:gd name="connsiteX11" fmla="*/ 8477 w 398525"/>
                    <a:gd name="connsiteY11" fmla="*/ 377381 h 385952"/>
                    <a:gd name="connsiteX12" fmla="*/ 8477 w 398525"/>
                    <a:gd name="connsiteY12" fmla="*/ 16573 h 385952"/>
                    <a:gd name="connsiteX13" fmla="*/ 137255 w 398525"/>
                    <a:gd name="connsiteY13" fmla="*/ 16573 h 385952"/>
                    <a:gd name="connsiteX14" fmla="*/ 137255 w 398525"/>
                    <a:gd name="connsiteY14" fmla="*/ 75343 h 385952"/>
                    <a:gd name="connsiteX15" fmla="*/ 195644 w 398525"/>
                    <a:gd name="connsiteY15" fmla="*/ 23908 h 385952"/>
                    <a:gd name="connsiteX16" fmla="*/ 267653 w 398525"/>
                    <a:gd name="connsiteY16" fmla="*/ 8477 h 385952"/>
                    <a:gd name="connsiteX17" fmla="*/ 267653 w 398525"/>
                    <a:gd name="connsiteY17" fmla="*/ 0 h 385952"/>
                    <a:gd name="connsiteX18" fmla="*/ 191738 w 398525"/>
                    <a:gd name="connsiteY18" fmla="*/ 16383 h 385952"/>
                    <a:gd name="connsiteX19" fmla="*/ 145637 w 398525"/>
                    <a:gd name="connsiteY19" fmla="*/ 52769 h 385952"/>
                    <a:gd name="connsiteX20" fmla="*/ 145637 w 398525"/>
                    <a:gd name="connsiteY20" fmla="*/ 8191 h 385952"/>
                    <a:gd name="connsiteX21" fmla="*/ 0 w 398525"/>
                    <a:gd name="connsiteY21" fmla="*/ 8191 h 385952"/>
                    <a:gd name="connsiteX22" fmla="*/ 0 w 398525"/>
                    <a:gd name="connsiteY22" fmla="*/ 385858 h 385952"/>
                    <a:gd name="connsiteX23" fmla="*/ 155162 w 398525"/>
                    <a:gd name="connsiteY23" fmla="*/ 385858 h 385952"/>
                    <a:gd name="connsiteX24" fmla="*/ 155162 w 398525"/>
                    <a:gd name="connsiteY24" fmla="*/ 204216 h 385952"/>
                    <a:gd name="connsiteX25" fmla="*/ 168878 w 398525"/>
                    <a:gd name="connsiteY25" fmla="*/ 141256 h 385952"/>
                    <a:gd name="connsiteX26" fmla="*/ 203168 w 398525"/>
                    <a:gd name="connsiteY26" fmla="*/ 125349 h 385952"/>
                    <a:gd name="connsiteX27" fmla="*/ 232220 w 398525"/>
                    <a:gd name="connsiteY27" fmla="*/ 136684 h 385952"/>
                    <a:gd name="connsiteX28" fmla="*/ 242697 w 398525"/>
                    <a:gd name="connsiteY28" fmla="*/ 179165 h 385952"/>
                    <a:gd name="connsiteX29" fmla="*/ 242697 w 398525"/>
                    <a:gd name="connsiteY29" fmla="*/ 385953 h 385952"/>
                    <a:gd name="connsiteX30" fmla="*/ 398526 w 398525"/>
                    <a:gd name="connsiteY30" fmla="*/ 385953 h 385952"/>
                    <a:gd name="connsiteX31" fmla="*/ 398526 w 398525"/>
                    <a:gd name="connsiteY31" fmla="*/ 148209 h 385952"/>
                    <a:gd name="connsiteX32" fmla="*/ 363760 w 398525"/>
                    <a:gd name="connsiteY32" fmla="*/ 36957 h 385952"/>
                    <a:gd name="connsiteX33" fmla="*/ 267748 w 398525"/>
                    <a:gd name="connsiteY33" fmla="*/ 190 h 385952"/>
                    <a:gd name="connsiteX34" fmla="*/ 267748 w 398525"/>
                    <a:gd name="connsiteY34" fmla="*/ 190 h 385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98525" h="385952">
                      <a:moveTo>
                        <a:pt x="267653" y="8573"/>
                      </a:moveTo>
                      <a:cubicBezTo>
                        <a:pt x="305943" y="8573"/>
                        <a:pt x="335852" y="20002"/>
                        <a:pt x="357569" y="42672"/>
                      </a:cubicBezTo>
                      <a:cubicBezTo>
                        <a:pt x="379190" y="65437"/>
                        <a:pt x="390049" y="100584"/>
                        <a:pt x="390049" y="148114"/>
                      </a:cubicBezTo>
                      <a:lnTo>
                        <a:pt x="390049" y="377381"/>
                      </a:lnTo>
                      <a:lnTo>
                        <a:pt x="251079" y="377381"/>
                      </a:lnTo>
                      <a:lnTo>
                        <a:pt x="251079" y="178975"/>
                      </a:lnTo>
                      <a:cubicBezTo>
                        <a:pt x="251079" y="156305"/>
                        <a:pt x="246888" y="140303"/>
                        <a:pt x="238506" y="130873"/>
                      </a:cubicBezTo>
                      <a:cubicBezTo>
                        <a:pt x="230124" y="121539"/>
                        <a:pt x="218313" y="116777"/>
                        <a:pt x="203168" y="116777"/>
                      </a:cubicBezTo>
                      <a:cubicBezTo>
                        <a:pt x="186404" y="116777"/>
                        <a:pt x="172784" y="123063"/>
                        <a:pt x="162401" y="135827"/>
                      </a:cubicBezTo>
                      <a:cubicBezTo>
                        <a:pt x="152019" y="148495"/>
                        <a:pt x="146780" y="171260"/>
                        <a:pt x="146780" y="204121"/>
                      </a:cubicBezTo>
                      <a:lnTo>
                        <a:pt x="146780" y="377381"/>
                      </a:lnTo>
                      <a:lnTo>
                        <a:pt x="8477" y="377381"/>
                      </a:lnTo>
                      <a:lnTo>
                        <a:pt x="8477" y="16573"/>
                      </a:lnTo>
                      <a:lnTo>
                        <a:pt x="137255" y="16573"/>
                      </a:lnTo>
                      <a:lnTo>
                        <a:pt x="137255" y="75343"/>
                      </a:lnTo>
                      <a:cubicBezTo>
                        <a:pt x="156496" y="51340"/>
                        <a:pt x="175927" y="34195"/>
                        <a:pt x="195644" y="23908"/>
                      </a:cubicBezTo>
                      <a:cubicBezTo>
                        <a:pt x="215360" y="13621"/>
                        <a:pt x="239363" y="8477"/>
                        <a:pt x="267653" y="8477"/>
                      </a:cubicBezTo>
                      <a:moveTo>
                        <a:pt x="267653" y="0"/>
                      </a:moveTo>
                      <a:cubicBezTo>
                        <a:pt x="238125" y="0"/>
                        <a:pt x="212598" y="5525"/>
                        <a:pt x="191738" y="16383"/>
                      </a:cubicBezTo>
                      <a:cubicBezTo>
                        <a:pt x="176213" y="24479"/>
                        <a:pt x="160782" y="36671"/>
                        <a:pt x="145637" y="52769"/>
                      </a:cubicBezTo>
                      <a:lnTo>
                        <a:pt x="145637" y="8191"/>
                      </a:lnTo>
                      <a:lnTo>
                        <a:pt x="0" y="8191"/>
                      </a:lnTo>
                      <a:lnTo>
                        <a:pt x="0" y="385858"/>
                      </a:lnTo>
                      <a:lnTo>
                        <a:pt x="155162" y="385858"/>
                      </a:lnTo>
                      <a:lnTo>
                        <a:pt x="155162" y="204216"/>
                      </a:lnTo>
                      <a:cubicBezTo>
                        <a:pt x="155162" y="173545"/>
                        <a:pt x="159734" y="152305"/>
                        <a:pt x="168878" y="141256"/>
                      </a:cubicBezTo>
                      <a:cubicBezTo>
                        <a:pt x="177641" y="130493"/>
                        <a:pt x="188881" y="125349"/>
                        <a:pt x="203168" y="125349"/>
                      </a:cubicBezTo>
                      <a:cubicBezTo>
                        <a:pt x="215932" y="125349"/>
                        <a:pt x="225457" y="129064"/>
                        <a:pt x="232220" y="136684"/>
                      </a:cubicBezTo>
                      <a:cubicBezTo>
                        <a:pt x="239173" y="144399"/>
                        <a:pt x="242697" y="158782"/>
                        <a:pt x="242697" y="179165"/>
                      </a:cubicBezTo>
                      <a:lnTo>
                        <a:pt x="242697" y="385953"/>
                      </a:lnTo>
                      <a:lnTo>
                        <a:pt x="398526" y="385953"/>
                      </a:lnTo>
                      <a:lnTo>
                        <a:pt x="398526" y="148209"/>
                      </a:lnTo>
                      <a:cubicBezTo>
                        <a:pt x="398526" y="98679"/>
                        <a:pt x="386810" y="61151"/>
                        <a:pt x="363760" y="36957"/>
                      </a:cubicBezTo>
                      <a:cubicBezTo>
                        <a:pt x="340614" y="12573"/>
                        <a:pt x="308324" y="190"/>
                        <a:pt x="267748" y="190"/>
                      </a:cubicBezTo>
                      <a:lnTo>
                        <a:pt x="267748" y="19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62" name="Graphic 566">
                <a:extLst>
                  <a:ext uri="{FF2B5EF4-FFF2-40B4-BE49-F238E27FC236}">
                    <a16:creationId xmlns:a16="http://schemas.microsoft.com/office/drawing/2014/main" id="{C91DC022-B0D1-49F1-9107-86615EFB85A4}"/>
                  </a:ext>
                </a:extLst>
              </p:cNvPr>
              <p:cNvGrpSpPr/>
              <p:nvPr/>
            </p:nvGrpSpPr>
            <p:grpSpPr>
              <a:xfrm>
                <a:off x="8690837" y="5518874"/>
                <a:ext cx="470630" cy="590359"/>
                <a:chOff x="8690837" y="5518874"/>
                <a:chExt cx="470630" cy="590359"/>
              </a:xfrm>
              <a:solidFill>
                <a:srgbClr val="A1ABB2"/>
              </a:solidFill>
            </p:grpSpPr>
            <p:sp>
              <p:nvSpPr>
                <p:cNvPr id="475" name="Freeform: Shape 474">
                  <a:extLst>
                    <a:ext uri="{FF2B5EF4-FFF2-40B4-BE49-F238E27FC236}">
                      <a16:creationId xmlns:a16="http://schemas.microsoft.com/office/drawing/2014/main" id="{09EED2A0-AA33-4272-8A5B-D39EB2CA6212}"/>
                    </a:ext>
                  </a:extLst>
                </p:cNvPr>
                <p:cNvSpPr/>
                <p:nvPr/>
              </p:nvSpPr>
              <p:spPr>
                <a:xfrm>
                  <a:off x="8695028" y="5523160"/>
                  <a:ext cx="462248" cy="581882"/>
                </a:xfrm>
                <a:custGeom>
                  <a:avLst/>
                  <a:gdLst>
                    <a:gd name="connsiteX0" fmla="*/ 462248 w 462248"/>
                    <a:gd name="connsiteY0" fmla="*/ 581882 h 581882"/>
                    <a:gd name="connsiteX1" fmla="*/ 458057 w 462248"/>
                    <a:gd name="connsiteY1" fmla="*/ 581882 h 581882"/>
                    <a:gd name="connsiteX2" fmla="*/ 4191 w 462248"/>
                    <a:gd name="connsiteY2" fmla="*/ 581882 h 581882"/>
                    <a:gd name="connsiteX3" fmla="*/ 0 w 462248"/>
                    <a:gd name="connsiteY3" fmla="*/ 581882 h 581882"/>
                    <a:gd name="connsiteX4" fmla="*/ 0 w 462248"/>
                    <a:gd name="connsiteY4" fmla="*/ 577691 h 581882"/>
                    <a:gd name="connsiteX5" fmla="*/ 0 w 462248"/>
                    <a:gd name="connsiteY5" fmla="*/ 4191 h 581882"/>
                    <a:gd name="connsiteX6" fmla="*/ 0 w 462248"/>
                    <a:gd name="connsiteY6" fmla="*/ 0 h 581882"/>
                    <a:gd name="connsiteX7" fmla="*/ 4191 w 462248"/>
                    <a:gd name="connsiteY7" fmla="*/ 0 h 581882"/>
                    <a:gd name="connsiteX8" fmla="*/ 181451 w 462248"/>
                    <a:gd name="connsiteY8" fmla="*/ 0 h 581882"/>
                    <a:gd name="connsiteX9" fmla="*/ 185642 w 462248"/>
                    <a:gd name="connsiteY9" fmla="*/ 0 h 581882"/>
                    <a:gd name="connsiteX10" fmla="*/ 185642 w 462248"/>
                    <a:gd name="connsiteY10" fmla="*/ 4191 h 581882"/>
                    <a:gd name="connsiteX11" fmla="*/ 185642 w 462248"/>
                    <a:gd name="connsiteY11" fmla="*/ 432244 h 581882"/>
                    <a:gd name="connsiteX12" fmla="*/ 458057 w 462248"/>
                    <a:gd name="connsiteY12" fmla="*/ 432244 h 581882"/>
                    <a:gd name="connsiteX13" fmla="*/ 462248 w 462248"/>
                    <a:gd name="connsiteY13" fmla="*/ 432244 h 581882"/>
                    <a:gd name="connsiteX14" fmla="*/ 462248 w 462248"/>
                    <a:gd name="connsiteY14" fmla="*/ 436436 h 581882"/>
                    <a:gd name="connsiteX15" fmla="*/ 462248 w 462248"/>
                    <a:gd name="connsiteY15" fmla="*/ 577691 h 581882"/>
                    <a:gd name="connsiteX16" fmla="*/ 462248 w 462248"/>
                    <a:gd name="connsiteY16" fmla="*/ 581882 h 581882"/>
                    <a:gd name="connsiteX17" fmla="*/ 462248 w 462248"/>
                    <a:gd name="connsiteY17" fmla="*/ 581882 h 58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2248" h="581882">
                      <a:moveTo>
                        <a:pt x="462248" y="581882"/>
                      </a:moveTo>
                      <a:lnTo>
                        <a:pt x="458057" y="581882"/>
                      </a:lnTo>
                      <a:lnTo>
                        <a:pt x="4191" y="581882"/>
                      </a:lnTo>
                      <a:lnTo>
                        <a:pt x="0" y="581882"/>
                      </a:lnTo>
                      <a:lnTo>
                        <a:pt x="0" y="577691"/>
                      </a:lnTo>
                      <a:lnTo>
                        <a:pt x="0" y="4191"/>
                      </a:lnTo>
                      <a:lnTo>
                        <a:pt x="0" y="0"/>
                      </a:lnTo>
                      <a:lnTo>
                        <a:pt x="4191" y="0"/>
                      </a:lnTo>
                      <a:lnTo>
                        <a:pt x="181451" y="0"/>
                      </a:lnTo>
                      <a:lnTo>
                        <a:pt x="185642" y="0"/>
                      </a:lnTo>
                      <a:lnTo>
                        <a:pt x="185642" y="4191"/>
                      </a:lnTo>
                      <a:lnTo>
                        <a:pt x="185642" y="432244"/>
                      </a:lnTo>
                      <a:lnTo>
                        <a:pt x="458057" y="432244"/>
                      </a:lnTo>
                      <a:lnTo>
                        <a:pt x="462248" y="432244"/>
                      </a:lnTo>
                      <a:lnTo>
                        <a:pt x="462248" y="436436"/>
                      </a:lnTo>
                      <a:lnTo>
                        <a:pt x="462248" y="577691"/>
                      </a:lnTo>
                      <a:lnTo>
                        <a:pt x="462248" y="581882"/>
                      </a:lnTo>
                      <a:lnTo>
                        <a:pt x="462248" y="58188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6" name="Freeform: Shape 475">
                  <a:extLst>
                    <a:ext uri="{FF2B5EF4-FFF2-40B4-BE49-F238E27FC236}">
                      <a16:creationId xmlns:a16="http://schemas.microsoft.com/office/drawing/2014/main" id="{53599896-04AC-438C-B88A-BAD8626F52A6}"/>
                    </a:ext>
                  </a:extLst>
                </p:cNvPr>
                <p:cNvSpPr/>
                <p:nvPr/>
              </p:nvSpPr>
              <p:spPr>
                <a:xfrm>
                  <a:off x="8690837" y="5518874"/>
                  <a:ext cx="470630" cy="590359"/>
                </a:xfrm>
                <a:custGeom>
                  <a:avLst/>
                  <a:gdLst>
                    <a:gd name="connsiteX0" fmla="*/ 185642 w 470630"/>
                    <a:gd name="connsiteY0" fmla="*/ 8477 h 590359"/>
                    <a:gd name="connsiteX1" fmla="*/ 185642 w 470630"/>
                    <a:gd name="connsiteY1" fmla="*/ 440722 h 590359"/>
                    <a:gd name="connsiteX2" fmla="*/ 462248 w 470630"/>
                    <a:gd name="connsiteY2" fmla="*/ 440722 h 590359"/>
                    <a:gd name="connsiteX3" fmla="*/ 462248 w 470630"/>
                    <a:gd name="connsiteY3" fmla="*/ 581978 h 590359"/>
                    <a:gd name="connsiteX4" fmla="*/ 8382 w 470630"/>
                    <a:gd name="connsiteY4" fmla="*/ 581978 h 590359"/>
                    <a:gd name="connsiteX5" fmla="*/ 8382 w 470630"/>
                    <a:gd name="connsiteY5" fmla="*/ 8477 h 590359"/>
                    <a:gd name="connsiteX6" fmla="*/ 185642 w 470630"/>
                    <a:gd name="connsiteY6" fmla="*/ 8477 h 590359"/>
                    <a:gd name="connsiteX7" fmla="*/ 194120 w 470630"/>
                    <a:gd name="connsiteY7" fmla="*/ 0 h 590359"/>
                    <a:gd name="connsiteX8" fmla="*/ 0 w 470630"/>
                    <a:gd name="connsiteY8" fmla="*/ 0 h 590359"/>
                    <a:gd name="connsiteX9" fmla="*/ 0 w 470630"/>
                    <a:gd name="connsiteY9" fmla="*/ 590360 h 590359"/>
                    <a:gd name="connsiteX10" fmla="*/ 470630 w 470630"/>
                    <a:gd name="connsiteY10" fmla="*/ 590360 h 590359"/>
                    <a:gd name="connsiteX11" fmla="*/ 470630 w 470630"/>
                    <a:gd name="connsiteY11" fmla="*/ 432340 h 590359"/>
                    <a:gd name="connsiteX12" fmla="*/ 194024 w 470630"/>
                    <a:gd name="connsiteY12" fmla="*/ 432340 h 590359"/>
                    <a:gd name="connsiteX13" fmla="*/ 194024 w 470630"/>
                    <a:gd name="connsiteY13" fmla="*/ 0 h 590359"/>
                    <a:gd name="connsiteX14" fmla="*/ 194024 w 470630"/>
                    <a:gd name="connsiteY14" fmla="*/ 0 h 590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0630" h="590359">
                      <a:moveTo>
                        <a:pt x="185642" y="8477"/>
                      </a:moveTo>
                      <a:lnTo>
                        <a:pt x="185642" y="440722"/>
                      </a:lnTo>
                      <a:lnTo>
                        <a:pt x="462248" y="440722"/>
                      </a:lnTo>
                      <a:lnTo>
                        <a:pt x="462248" y="581978"/>
                      </a:lnTo>
                      <a:lnTo>
                        <a:pt x="8382" y="581978"/>
                      </a:lnTo>
                      <a:lnTo>
                        <a:pt x="8382" y="8477"/>
                      </a:lnTo>
                      <a:lnTo>
                        <a:pt x="185642" y="8477"/>
                      </a:lnTo>
                      <a:moveTo>
                        <a:pt x="194120" y="0"/>
                      </a:moveTo>
                      <a:lnTo>
                        <a:pt x="0" y="0"/>
                      </a:lnTo>
                      <a:lnTo>
                        <a:pt x="0" y="590360"/>
                      </a:lnTo>
                      <a:lnTo>
                        <a:pt x="470630" y="590360"/>
                      </a:lnTo>
                      <a:lnTo>
                        <a:pt x="470630" y="432340"/>
                      </a:lnTo>
                      <a:lnTo>
                        <a:pt x="194024" y="432340"/>
                      </a:lnTo>
                      <a:lnTo>
                        <a:pt x="194024" y="0"/>
                      </a:lnTo>
                      <a:lnTo>
                        <a:pt x="194024"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63" name="Graphic 566">
                <a:extLst>
                  <a:ext uri="{FF2B5EF4-FFF2-40B4-BE49-F238E27FC236}">
                    <a16:creationId xmlns:a16="http://schemas.microsoft.com/office/drawing/2014/main" id="{2342C0AA-4B5A-4108-9BBD-D8B7F7F809AA}"/>
                  </a:ext>
                </a:extLst>
              </p:cNvPr>
              <p:cNvGrpSpPr/>
              <p:nvPr/>
            </p:nvGrpSpPr>
            <p:grpSpPr>
              <a:xfrm>
                <a:off x="9223666" y="5594407"/>
                <a:ext cx="171068" cy="514921"/>
                <a:chOff x="9223666" y="5594407"/>
                <a:chExt cx="171068" cy="514921"/>
              </a:xfrm>
              <a:solidFill>
                <a:srgbClr val="A1ABB2"/>
              </a:solidFill>
            </p:grpSpPr>
            <p:sp>
              <p:nvSpPr>
                <p:cNvPr id="473" name="Freeform: Shape 472">
                  <a:extLst>
                    <a:ext uri="{FF2B5EF4-FFF2-40B4-BE49-F238E27FC236}">
                      <a16:creationId xmlns:a16="http://schemas.microsoft.com/office/drawing/2014/main" id="{F0359C47-6E5F-4E6C-BA37-1EF18F11EF08}"/>
                    </a:ext>
                  </a:extLst>
                </p:cNvPr>
                <p:cNvSpPr/>
                <p:nvPr/>
              </p:nvSpPr>
              <p:spPr>
                <a:xfrm>
                  <a:off x="9227762" y="5598598"/>
                  <a:ext cx="162687" cy="506444"/>
                </a:xfrm>
                <a:custGeom>
                  <a:avLst/>
                  <a:gdLst>
                    <a:gd name="connsiteX0" fmla="*/ 162687 w 162687"/>
                    <a:gd name="connsiteY0" fmla="*/ 506444 h 506444"/>
                    <a:gd name="connsiteX1" fmla="*/ 158496 w 162687"/>
                    <a:gd name="connsiteY1" fmla="*/ 506444 h 506444"/>
                    <a:gd name="connsiteX2" fmla="*/ 4286 w 162687"/>
                    <a:gd name="connsiteY2" fmla="*/ 506444 h 506444"/>
                    <a:gd name="connsiteX3" fmla="*/ 0 w 162687"/>
                    <a:gd name="connsiteY3" fmla="*/ 506444 h 506444"/>
                    <a:gd name="connsiteX4" fmla="*/ 0 w 162687"/>
                    <a:gd name="connsiteY4" fmla="*/ 502253 h 506444"/>
                    <a:gd name="connsiteX5" fmla="*/ 0 w 162687"/>
                    <a:gd name="connsiteY5" fmla="*/ 4191 h 506444"/>
                    <a:gd name="connsiteX6" fmla="*/ 0 w 162687"/>
                    <a:gd name="connsiteY6" fmla="*/ 0 h 506444"/>
                    <a:gd name="connsiteX7" fmla="*/ 4286 w 162687"/>
                    <a:gd name="connsiteY7" fmla="*/ 0 h 506444"/>
                    <a:gd name="connsiteX8" fmla="*/ 158496 w 162687"/>
                    <a:gd name="connsiteY8" fmla="*/ 0 h 506444"/>
                    <a:gd name="connsiteX9" fmla="*/ 162687 w 162687"/>
                    <a:gd name="connsiteY9" fmla="*/ 0 h 506444"/>
                    <a:gd name="connsiteX10" fmla="*/ 162687 w 162687"/>
                    <a:gd name="connsiteY10" fmla="*/ 4191 h 506444"/>
                    <a:gd name="connsiteX11" fmla="*/ 162687 w 162687"/>
                    <a:gd name="connsiteY11" fmla="*/ 502253 h 506444"/>
                    <a:gd name="connsiteX12" fmla="*/ 162687 w 162687"/>
                    <a:gd name="connsiteY12" fmla="*/ 506444 h 506444"/>
                    <a:gd name="connsiteX13" fmla="*/ 162687 w 162687"/>
                    <a:gd name="connsiteY13"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687" h="506444">
                      <a:moveTo>
                        <a:pt x="162687" y="506444"/>
                      </a:moveTo>
                      <a:lnTo>
                        <a:pt x="158496" y="506444"/>
                      </a:lnTo>
                      <a:lnTo>
                        <a:pt x="4286" y="506444"/>
                      </a:lnTo>
                      <a:lnTo>
                        <a:pt x="0" y="506444"/>
                      </a:lnTo>
                      <a:lnTo>
                        <a:pt x="0" y="502253"/>
                      </a:lnTo>
                      <a:lnTo>
                        <a:pt x="0" y="4191"/>
                      </a:lnTo>
                      <a:lnTo>
                        <a:pt x="0" y="0"/>
                      </a:lnTo>
                      <a:lnTo>
                        <a:pt x="4286" y="0"/>
                      </a:lnTo>
                      <a:lnTo>
                        <a:pt x="158496" y="0"/>
                      </a:lnTo>
                      <a:lnTo>
                        <a:pt x="162687" y="0"/>
                      </a:lnTo>
                      <a:lnTo>
                        <a:pt x="162687" y="4191"/>
                      </a:lnTo>
                      <a:lnTo>
                        <a:pt x="162687" y="502253"/>
                      </a:lnTo>
                      <a:lnTo>
                        <a:pt x="162687" y="506444"/>
                      </a:lnTo>
                      <a:lnTo>
                        <a:pt x="162687"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4" name="Freeform: Shape 473">
                  <a:extLst>
                    <a:ext uri="{FF2B5EF4-FFF2-40B4-BE49-F238E27FC236}">
                      <a16:creationId xmlns:a16="http://schemas.microsoft.com/office/drawing/2014/main" id="{CB07D530-E65C-4BA2-89F3-6855C39679F2}"/>
                    </a:ext>
                  </a:extLst>
                </p:cNvPr>
                <p:cNvSpPr/>
                <p:nvPr/>
              </p:nvSpPr>
              <p:spPr>
                <a:xfrm>
                  <a:off x="9223666" y="5594407"/>
                  <a:ext cx="171068" cy="514921"/>
                </a:xfrm>
                <a:custGeom>
                  <a:avLst/>
                  <a:gdLst>
                    <a:gd name="connsiteX0" fmla="*/ 162592 w 171068"/>
                    <a:gd name="connsiteY0" fmla="*/ 8382 h 514921"/>
                    <a:gd name="connsiteX1" fmla="*/ 162592 w 171068"/>
                    <a:gd name="connsiteY1" fmla="*/ 506444 h 514921"/>
                    <a:gd name="connsiteX2" fmla="*/ 8382 w 171068"/>
                    <a:gd name="connsiteY2" fmla="*/ 506444 h 514921"/>
                    <a:gd name="connsiteX3" fmla="*/ 8382 w 171068"/>
                    <a:gd name="connsiteY3" fmla="*/ 8382 h 514921"/>
                    <a:gd name="connsiteX4" fmla="*/ 162592 w 171068"/>
                    <a:gd name="connsiteY4" fmla="*/ 8382 h 514921"/>
                    <a:gd name="connsiteX5" fmla="*/ 171069 w 171068"/>
                    <a:gd name="connsiteY5" fmla="*/ 0 h 514921"/>
                    <a:gd name="connsiteX6" fmla="*/ 0 w 171068"/>
                    <a:gd name="connsiteY6" fmla="*/ 0 h 514921"/>
                    <a:gd name="connsiteX7" fmla="*/ 0 w 171068"/>
                    <a:gd name="connsiteY7" fmla="*/ 514921 h 514921"/>
                    <a:gd name="connsiteX8" fmla="*/ 171069 w 171068"/>
                    <a:gd name="connsiteY8" fmla="*/ 514921 h 514921"/>
                    <a:gd name="connsiteX9" fmla="*/ 171069 w 171068"/>
                    <a:gd name="connsiteY9" fmla="*/ 0 h 514921"/>
                    <a:gd name="connsiteX10" fmla="*/ 171069 w 171068"/>
                    <a:gd name="connsiteY10"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068" h="514921">
                      <a:moveTo>
                        <a:pt x="162592" y="8382"/>
                      </a:moveTo>
                      <a:lnTo>
                        <a:pt x="162592" y="506444"/>
                      </a:lnTo>
                      <a:lnTo>
                        <a:pt x="8382" y="506444"/>
                      </a:lnTo>
                      <a:lnTo>
                        <a:pt x="8382" y="8382"/>
                      </a:lnTo>
                      <a:lnTo>
                        <a:pt x="162592" y="8382"/>
                      </a:lnTo>
                      <a:moveTo>
                        <a:pt x="171069" y="0"/>
                      </a:moveTo>
                      <a:lnTo>
                        <a:pt x="0" y="0"/>
                      </a:lnTo>
                      <a:lnTo>
                        <a:pt x="0" y="514921"/>
                      </a:lnTo>
                      <a:lnTo>
                        <a:pt x="171069" y="514921"/>
                      </a:lnTo>
                      <a:lnTo>
                        <a:pt x="171069" y="0"/>
                      </a:lnTo>
                      <a:lnTo>
                        <a:pt x="17106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64" name="Graphic 566">
                <a:extLst>
                  <a:ext uri="{FF2B5EF4-FFF2-40B4-BE49-F238E27FC236}">
                    <a16:creationId xmlns:a16="http://schemas.microsoft.com/office/drawing/2014/main" id="{82516152-081F-4B22-9268-D9A04FB3F997}"/>
                  </a:ext>
                </a:extLst>
              </p:cNvPr>
              <p:cNvGrpSpPr/>
              <p:nvPr/>
            </p:nvGrpSpPr>
            <p:grpSpPr>
              <a:xfrm>
                <a:off x="9469030" y="5586025"/>
                <a:ext cx="524065" cy="531971"/>
                <a:chOff x="9469030" y="5586025"/>
                <a:chExt cx="524065" cy="531971"/>
              </a:xfrm>
              <a:solidFill>
                <a:srgbClr val="A1ABB2"/>
              </a:solidFill>
            </p:grpSpPr>
            <p:sp>
              <p:nvSpPr>
                <p:cNvPr id="471" name="Freeform: Shape 470">
                  <a:extLst>
                    <a:ext uri="{FF2B5EF4-FFF2-40B4-BE49-F238E27FC236}">
                      <a16:creationId xmlns:a16="http://schemas.microsoft.com/office/drawing/2014/main" id="{A7BD880C-0182-4044-80E9-B3CFAA9282D9}"/>
                    </a:ext>
                  </a:extLst>
                </p:cNvPr>
                <p:cNvSpPr/>
                <p:nvPr/>
              </p:nvSpPr>
              <p:spPr>
                <a:xfrm>
                  <a:off x="9473316" y="5590026"/>
                  <a:ext cx="515683" cy="523589"/>
                </a:xfrm>
                <a:custGeom>
                  <a:avLst/>
                  <a:gdLst>
                    <a:gd name="connsiteX0" fmla="*/ 266224 w 515683"/>
                    <a:gd name="connsiteY0" fmla="*/ 523494 h 523589"/>
                    <a:gd name="connsiteX1" fmla="*/ 119634 w 515683"/>
                    <a:gd name="connsiteY1" fmla="*/ 492728 h 523589"/>
                    <a:gd name="connsiteX2" fmla="*/ 31242 w 515683"/>
                    <a:gd name="connsiteY2" fmla="*/ 400907 h 523589"/>
                    <a:gd name="connsiteX3" fmla="*/ 0 w 515683"/>
                    <a:gd name="connsiteY3" fmla="*/ 261652 h 523589"/>
                    <a:gd name="connsiteX4" fmla="*/ 34195 w 515683"/>
                    <a:gd name="connsiteY4" fmla="*/ 117824 h 523589"/>
                    <a:gd name="connsiteX5" fmla="*/ 134588 w 515683"/>
                    <a:gd name="connsiteY5" fmla="*/ 24479 h 523589"/>
                    <a:gd name="connsiteX6" fmla="*/ 272606 w 515683"/>
                    <a:gd name="connsiteY6" fmla="*/ 0 h 523589"/>
                    <a:gd name="connsiteX7" fmla="*/ 397574 w 515683"/>
                    <a:gd name="connsiteY7" fmla="*/ 15240 h 523589"/>
                    <a:gd name="connsiteX8" fmla="*/ 467297 w 515683"/>
                    <a:gd name="connsiteY8" fmla="*/ 62770 h 523589"/>
                    <a:gd name="connsiteX9" fmla="*/ 508730 w 515683"/>
                    <a:gd name="connsiteY9" fmla="*/ 144113 h 523589"/>
                    <a:gd name="connsiteX10" fmla="*/ 509969 w 515683"/>
                    <a:gd name="connsiteY10" fmla="*/ 148590 h 523589"/>
                    <a:gd name="connsiteX11" fmla="*/ 505397 w 515683"/>
                    <a:gd name="connsiteY11" fmla="*/ 149447 h 523589"/>
                    <a:gd name="connsiteX12" fmla="*/ 356997 w 515683"/>
                    <a:gd name="connsiteY12" fmla="*/ 175927 h 523589"/>
                    <a:gd name="connsiteX13" fmla="*/ 353378 w 515683"/>
                    <a:gd name="connsiteY13" fmla="*/ 176594 h 523589"/>
                    <a:gd name="connsiteX14" fmla="*/ 352235 w 515683"/>
                    <a:gd name="connsiteY14" fmla="*/ 173069 h 523589"/>
                    <a:gd name="connsiteX15" fmla="*/ 322802 w 515683"/>
                    <a:gd name="connsiteY15" fmla="*/ 132112 h 523589"/>
                    <a:gd name="connsiteX16" fmla="*/ 269272 w 515683"/>
                    <a:gd name="connsiteY16" fmla="*/ 117919 h 523589"/>
                    <a:gd name="connsiteX17" fmla="*/ 191738 w 515683"/>
                    <a:gd name="connsiteY17" fmla="*/ 151638 h 523589"/>
                    <a:gd name="connsiteX18" fmla="*/ 162687 w 515683"/>
                    <a:gd name="connsiteY18" fmla="*/ 260128 h 523589"/>
                    <a:gd name="connsiteX19" fmla="*/ 192024 w 515683"/>
                    <a:gd name="connsiteY19" fmla="*/ 372808 h 523589"/>
                    <a:gd name="connsiteX20" fmla="*/ 273653 w 515683"/>
                    <a:gd name="connsiteY20" fmla="*/ 406051 h 523589"/>
                    <a:gd name="connsiteX21" fmla="*/ 321659 w 515683"/>
                    <a:gd name="connsiteY21" fmla="*/ 398812 h 523589"/>
                    <a:gd name="connsiteX22" fmla="*/ 372428 w 515683"/>
                    <a:gd name="connsiteY22" fmla="*/ 374999 h 523589"/>
                    <a:gd name="connsiteX23" fmla="*/ 372428 w 515683"/>
                    <a:gd name="connsiteY23" fmla="*/ 334708 h 523589"/>
                    <a:gd name="connsiteX24" fmla="*/ 269462 w 515683"/>
                    <a:gd name="connsiteY24" fmla="*/ 334708 h 523589"/>
                    <a:gd name="connsiteX25" fmla="*/ 269462 w 515683"/>
                    <a:gd name="connsiteY25" fmla="*/ 222694 h 523589"/>
                    <a:gd name="connsiteX26" fmla="*/ 515684 w 515683"/>
                    <a:gd name="connsiteY26" fmla="*/ 222694 h 523589"/>
                    <a:gd name="connsiteX27" fmla="*/ 515684 w 515683"/>
                    <a:gd name="connsiteY27" fmla="*/ 441484 h 523589"/>
                    <a:gd name="connsiteX28" fmla="*/ 513874 w 515683"/>
                    <a:gd name="connsiteY28" fmla="*/ 442722 h 523589"/>
                    <a:gd name="connsiteX29" fmla="*/ 392049 w 515683"/>
                    <a:gd name="connsiteY29" fmla="*/ 506635 h 523589"/>
                    <a:gd name="connsiteX30" fmla="*/ 266224 w 515683"/>
                    <a:gd name="connsiteY30" fmla="*/ 523589 h 523589"/>
                    <a:gd name="connsiteX31" fmla="*/ 266224 w 515683"/>
                    <a:gd name="connsiteY31" fmla="*/ 523589 h 5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515683" h="523589">
                      <a:moveTo>
                        <a:pt x="266224" y="523494"/>
                      </a:moveTo>
                      <a:cubicBezTo>
                        <a:pt x="206693" y="523494"/>
                        <a:pt x="157353" y="513207"/>
                        <a:pt x="119634" y="492728"/>
                      </a:cubicBezTo>
                      <a:cubicBezTo>
                        <a:pt x="81820" y="472249"/>
                        <a:pt x="52007" y="441389"/>
                        <a:pt x="31242" y="400907"/>
                      </a:cubicBezTo>
                      <a:cubicBezTo>
                        <a:pt x="10478" y="360616"/>
                        <a:pt x="0" y="313753"/>
                        <a:pt x="0" y="261652"/>
                      </a:cubicBezTo>
                      <a:cubicBezTo>
                        <a:pt x="0" y="206883"/>
                        <a:pt x="11525" y="158401"/>
                        <a:pt x="34195" y="117824"/>
                      </a:cubicBezTo>
                      <a:cubicBezTo>
                        <a:pt x="56960" y="77057"/>
                        <a:pt x="90678" y="45625"/>
                        <a:pt x="134588" y="24479"/>
                      </a:cubicBezTo>
                      <a:cubicBezTo>
                        <a:pt x="168783" y="8192"/>
                        <a:pt x="215170" y="0"/>
                        <a:pt x="272606" y="0"/>
                      </a:cubicBezTo>
                      <a:cubicBezTo>
                        <a:pt x="330041" y="0"/>
                        <a:pt x="369856" y="5144"/>
                        <a:pt x="397574" y="15240"/>
                      </a:cubicBezTo>
                      <a:cubicBezTo>
                        <a:pt x="425387" y="25432"/>
                        <a:pt x="448818" y="41434"/>
                        <a:pt x="467297" y="62770"/>
                      </a:cubicBezTo>
                      <a:cubicBezTo>
                        <a:pt x="485585" y="84106"/>
                        <a:pt x="499586" y="111442"/>
                        <a:pt x="508730" y="144113"/>
                      </a:cubicBezTo>
                      <a:lnTo>
                        <a:pt x="509969" y="148590"/>
                      </a:lnTo>
                      <a:lnTo>
                        <a:pt x="505397" y="149447"/>
                      </a:lnTo>
                      <a:lnTo>
                        <a:pt x="356997" y="175927"/>
                      </a:lnTo>
                      <a:lnTo>
                        <a:pt x="353378" y="176594"/>
                      </a:lnTo>
                      <a:lnTo>
                        <a:pt x="352235" y="173069"/>
                      </a:lnTo>
                      <a:cubicBezTo>
                        <a:pt x="346424" y="155257"/>
                        <a:pt x="336518" y="141446"/>
                        <a:pt x="322802" y="132112"/>
                      </a:cubicBezTo>
                      <a:cubicBezTo>
                        <a:pt x="308991" y="122682"/>
                        <a:pt x="290989" y="117919"/>
                        <a:pt x="269272" y="117919"/>
                      </a:cubicBezTo>
                      <a:cubicBezTo>
                        <a:pt x="236982" y="117919"/>
                        <a:pt x="210884" y="129254"/>
                        <a:pt x="191738" y="151638"/>
                      </a:cubicBezTo>
                      <a:cubicBezTo>
                        <a:pt x="172498" y="174212"/>
                        <a:pt x="162687" y="210693"/>
                        <a:pt x="162687" y="260128"/>
                      </a:cubicBezTo>
                      <a:cubicBezTo>
                        <a:pt x="162687" y="312706"/>
                        <a:pt x="172593" y="350615"/>
                        <a:pt x="192024" y="372808"/>
                      </a:cubicBezTo>
                      <a:cubicBezTo>
                        <a:pt x="211360" y="394907"/>
                        <a:pt x="238792" y="406051"/>
                        <a:pt x="273653" y="406051"/>
                      </a:cubicBezTo>
                      <a:cubicBezTo>
                        <a:pt x="290322" y="406051"/>
                        <a:pt x="306515" y="403574"/>
                        <a:pt x="321659" y="398812"/>
                      </a:cubicBezTo>
                      <a:cubicBezTo>
                        <a:pt x="336423" y="394049"/>
                        <a:pt x="353378" y="386048"/>
                        <a:pt x="372428" y="374999"/>
                      </a:cubicBezTo>
                      <a:lnTo>
                        <a:pt x="372428" y="334708"/>
                      </a:lnTo>
                      <a:lnTo>
                        <a:pt x="269462" y="334708"/>
                      </a:lnTo>
                      <a:lnTo>
                        <a:pt x="269462" y="222694"/>
                      </a:lnTo>
                      <a:lnTo>
                        <a:pt x="515684" y="222694"/>
                      </a:lnTo>
                      <a:lnTo>
                        <a:pt x="515684" y="441484"/>
                      </a:lnTo>
                      <a:lnTo>
                        <a:pt x="513874" y="442722"/>
                      </a:lnTo>
                      <a:cubicBezTo>
                        <a:pt x="468249" y="473869"/>
                        <a:pt x="427196" y="495300"/>
                        <a:pt x="392049" y="506635"/>
                      </a:cubicBezTo>
                      <a:cubicBezTo>
                        <a:pt x="356807" y="517874"/>
                        <a:pt x="314516" y="523589"/>
                        <a:pt x="266224" y="523589"/>
                      </a:cubicBezTo>
                      <a:lnTo>
                        <a:pt x="266224" y="5235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2" name="Freeform: Shape 471">
                  <a:extLst>
                    <a:ext uri="{FF2B5EF4-FFF2-40B4-BE49-F238E27FC236}">
                      <a16:creationId xmlns:a16="http://schemas.microsoft.com/office/drawing/2014/main" id="{FFEE85C2-238E-450D-966D-9534F780A660}"/>
                    </a:ext>
                  </a:extLst>
                </p:cNvPr>
                <p:cNvSpPr/>
                <p:nvPr/>
              </p:nvSpPr>
              <p:spPr>
                <a:xfrm>
                  <a:off x="9469030" y="5586025"/>
                  <a:ext cx="524065" cy="531971"/>
                </a:xfrm>
                <a:custGeom>
                  <a:avLst/>
                  <a:gdLst>
                    <a:gd name="connsiteX0" fmla="*/ 276987 w 524065"/>
                    <a:gd name="connsiteY0" fmla="*/ 8287 h 531971"/>
                    <a:gd name="connsiteX1" fmla="*/ 400431 w 524065"/>
                    <a:gd name="connsiteY1" fmla="*/ 23241 h 531971"/>
                    <a:gd name="connsiteX2" fmla="*/ 468344 w 524065"/>
                    <a:gd name="connsiteY2" fmla="*/ 69628 h 531971"/>
                    <a:gd name="connsiteX3" fmla="*/ 508921 w 524065"/>
                    <a:gd name="connsiteY3" fmla="*/ 149257 h 531971"/>
                    <a:gd name="connsiteX4" fmla="*/ 360521 w 524065"/>
                    <a:gd name="connsiteY4" fmla="*/ 175736 h 531971"/>
                    <a:gd name="connsiteX5" fmla="*/ 329470 w 524065"/>
                    <a:gd name="connsiteY5" fmla="*/ 132588 h 531971"/>
                    <a:gd name="connsiteX6" fmla="*/ 273558 w 524065"/>
                    <a:gd name="connsiteY6" fmla="*/ 117634 h 531971"/>
                    <a:gd name="connsiteX7" fmla="*/ 192881 w 524065"/>
                    <a:gd name="connsiteY7" fmla="*/ 152781 h 531971"/>
                    <a:gd name="connsiteX8" fmla="*/ 162782 w 524065"/>
                    <a:gd name="connsiteY8" fmla="*/ 264033 h 531971"/>
                    <a:gd name="connsiteX9" fmla="*/ 193167 w 524065"/>
                    <a:gd name="connsiteY9" fmla="*/ 379571 h 531971"/>
                    <a:gd name="connsiteX10" fmla="*/ 277940 w 524065"/>
                    <a:gd name="connsiteY10" fmla="*/ 414242 h 531971"/>
                    <a:gd name="connsiteX11" fmla="*/ 327184 w 524065"/>
                    <a:gd name="connsiteY11" fmla="*/ 406813 h 531971"/>
                    <a:gd name="connsiteX12" fmla="*/ 380810 w 524065"/>
                    <a:gd name="connsiteY12" fmla="*/ 381381 h 531971"/>
                    <a:gd name="connsiteX13" fmla="*/ 380810 w 524065"/>
                    <a:gd name="connsiteY13" fmla="*/ 334518 h 531971"/>
                    <a:gd name="connsiteX14" fmla="*/ 277844 w 524065"/>
                    <a:gd name="connsiteY14" fmla="*/ 334518 h 531971"/>
                    <a:gd name="connsiteX15" fmla="*/ 277844 w 524065"/>
                    <a:gd name="connsiteY15" fmla="*/ 230886 h 531971"/>
                    <a:gd name="connsiteX16" fmla="*/ 515684 w 524065"/>
                    <a:gd name="connsiteY16" fmla="*/ 230886 h 531971"/>
                    <a:gd name="connsiteX17" fmla="*/ 515684 w 524065"/>
                    <a:gd name="connsiteY17" fmla="*/ 443198 h 531971"/>
                    <a:gd name="connsiteX18" fmla="*/ 394907 w 524065"/>
                    <a:gd name="connsiteY18" fmla="*/ 506540 h 531971"/>
                    <a:gd name="connsiteX19" fmla="*/ 270415 w 524065"/>
                    <a:gd name="connsiteY19" fmla="*/ 523303 h 531971"/>
                    <a:gd name="connsiteX20" fmla="*/ 125825 w 524065"/>
                    <a:gd name="connsiteY20" fmla="*/ 493109 h 531971"/>
                    <a:gd name="connsiteX21" fmla="*/ 39243 w 524065"/>
                    <a:gd name="connsiteY21" fmla="*/ 403098 h 531971"/>
                    <a:gd name="connsiteX22" fmla="*/ 8477 w 524065"/>
                    <a:gd name="connsiteY22" fmla="*/ 265843 h 531971"/>
                    <a:gd name="connsiteX23" fmla="*/ 42100 w 524065"/>
                    <a:gd name="connsiteY23" fmla="*/ 124015 h 531971"/>
                    <a:gd name="connsiteX24" fmla="*/ 140589 w 524065"/>
                    <a:gd name="connsiteY24" fmla="*/ 32480 h 531971"/>
                    <a:gd name="connsiteX25" fmla="*/ 276796 w 524065"/>
                    <a:gd name="connsiteY25" fmla="*/ 8382 h 531971"/>
                    <a:gd name="connsiteX26" fmla="*/ 276796 w 524065"/>
                    <a:gd name="connsiteY26" fmla="*/ 0 h 531971"/>
                    <a:gd name="connsiteX27" fmla="*/ 136874 w 524065"/>
                    <a:gd name="connsiteY27" fmla="*/ 24955 h 531971"/>
                    <a:gd name="connsiteX28" fmla="*/ 34671 w 524065"/>
                    <a:gd name="connsiteY28" fmla="*/ 120015 h 531971"/>
                    <a:gd name="connsiteX29" fmla="*/ 0 w 524065"/>
                    <a:gd name="connsiteY29" fmla="*/ 265938 h 531971"/>
                    <a:gd name="connsiteX30" fmla="*/ 31623 w 524065"/>
                    <a:gd name="connsiteY30" fmla="*/ 407098 h 531971"/>
                    <a:gd name="connsiteX31" fmla="*/ 121729 w 524065"/>
                    <a:gd name="connsiteY31" fmla="*/ 500729 h 531971"/>
                    <a:gd name="connsiteX32" fmla="*/ 270320 w 524065"/>
                    <a:gd name="connsiteY32" fmla="*/ 531971 h 531971"/>
                    <a:gd name="connsiteX33" fmla="*/ 397383 w 524065"/>
                    <a:gd name="connsiteY33" fmla="*/ 514731 h 531971"/>
                    <a:gd name="connsiteX34" fmla="*/ 520351 w 524065"/>
                    <a:gd name="connsiteY34" fmla="*/ 450342 h 531971"/>
                    <a:gd name="connsiteX35" fmla="*/ 524066 w 524065"/>
                    <a:gd name="connsiteY35" fmla="*/ 447770 h 531971"/>
                    <a:gd name="connsiteX36" fmla="*/ 524066 w 524065"/>
                    <a:gd name="connsiteY36" fmla="*/ 222599 h 531971"/>
                    <a:gd name="connsiteX37" fmla="*/ 269367 w 524065"/>
                    <a:gd name="connsiteY37" fmla="*/ 222599 h 531971"/>
                    <a:gd name="connsiteX38" fmla="*/ 269367 w 524065"/>
                    <a:gd name="connsiteY38" fmla="*/ 343090 h 531971"/>
                    <a:gd name="connsiteX39" fmla="*/ 372332 w 524065"/>
                    <a:gd name="connsiteY39" fmla="*/ 343090 h 531971"/>
                    <a:gd name="connsiteX40" fmla="*/ 372332 w 524065"/>
                    <a:gd name="connsiteY40" fmla="*/ 376714 h 531971"/>
                    <a:gd name="connsiteX41" fmla="*/ 324517 w 524065"/>
                    <a:gd name="connsiteY41" fmla="*/ 399002 h 531971"/>
                    <a:gd name="connsiteX42" fmla="*/ 277844 w 524065"/>
                    <a:gd name="connsiteY42" fmla="*/ 406051 h 531971"/>
                    <a:gd name="connsiteX43" fmla="*/ 199454 w 524065"/>
                    <a:gd name="connsiteY43" fmla="*/ 374237 h 531971"/>
                    <a:gd name="connsiteX44" fmla="*/ 171164 w 524065"/>
                    <a:gd name="connsiteY44" fmla="*/ 264319 h 531971"/>
                    <a:gd name="connsiteX45" fmla="*/ 199168 w 524065"/>
                    <a:gd name="connsiteY45" fmla="*/ 158496 h 531971"/>
                    <a:gd name="connsiteX46" fmla="*/ 273463 w 524065"/>
                    <a:gd name="connsiteY46" fmla="*/ 126301 h 531971"/>
                    <a:gd name="connsiteX47" fmla="*/ 324612 w 524065"/>
                    <a:gd name="connsiteY47" fmla="*/ 139732 h 531971"/>
                    <a:gd name="connsiteX48" fmla="*/ 352425 w 524065"/>
                    <a:gd name="connsiteY48" fmla="*/ 178498 h 531971"/>
                    <a:gd name="connsiteX49" fmla="*/ 354711 w 524065"/>
                    <a:gd name="connsiteY49" fmla="*/ 185547 h 531971"/>
                    <a:gd name="connsiteX50" fmla="*/ 361950 w 524065"/>
                    <a:gd name="connsiteY50" fmla="*/ 184214 h 531971"/>
                    <a:gd name="connsiteX51" fmla="*/ 510445 w 524065"/>
                    <a:gd name="connsiteY51" fmla="*/ 157734 h 531971"/>
                    <a:gd name="connsiteX52" fmla="*/ 519589 w 524065"/>
                    <a:gd name="connsiteY52" fmla="*/ 156115 h 531971"/>
                    <a:gd name="connsiteX53" fmla="*/ 517112 w 524065"/>
                    <a:gd name="connsiteY53" fmla="*/ 147161 h 531971"/>
                    <a:gd name="connsiteX54" fmla="*/ 474821 w 524065"/>
                    <a:gd name="connsiteY54" fmla="*/ 64294 h 531971"/>
                    <a:gd name="connsiteX55" fmla="*/ 403384 w 524065"/>
                    <a:gd name="connsiteY55" fmla="*/ 15526 h 531971"/>
                    <a:gd name="connsiteX56" fmla="*/ 276987 w 524065"/>
                    <a:gd name="connsiteY56" fmla="*/ 95 h 531971"/>
                    <a:gd name="connsiteX57" fmla="*/ 276987 w 524065"/>
                    <a:gd name="connsiteY57" fmla="*/ 95 h 53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524065" h="531971">
                      <a:moveTo>
                        <a:pt x="276987" y="8287"/>
                      </a:moveTo>
                      <a:cubicBezTo>
                        <a:pt x="332042" y="8287"/>
                        <a:pt x="373190" y="13240"/>
                        <a:pt x="400431" y="23241"/>
                      </a:cubicBezTo>
                      <a:cubicBezTo>
                        <a:pt x="427768" y="33242"/>
                        <a:pt x="450437" y="48673"/>
                        <a:pt x="468344" y="69628"/>
                      </a:cubicBezTo>
                      <a:cubicBezTo>
                        <a:pt x="486346" y="90583"/>
                        <a:pt x="499872" y="117157"/>
                        <a:pt x="508921" y="149257"/>
                      </a:cubicBezTo>
                      <a:lnTo>
                        <a:pt x="360521" y="175736"/>
                      </a:lnTo>
                      <a:cubicBezTo>
                        <a:pt x="354330" y="156972"/>
                        <a:pt x="344043" y="142589"/>
                        <a:pt x="329470" y="132588"/>
                      </a:cubicBezTo>
                      <a:cubicBezTo>
                        <a:pt x="314801" y="122682"/>
                        <a:pt x="296228" y="117634"/>
                        <a:pt x="273558" y="117634"/>
                      </a:cubicBezTo>
                      <a:cubicBezTo>
                        <a:pt x="239744" y="117634"/>
                        <a:pt x="212884" y="129349"/>
                        <a:pt x="192881" y="152781"/>
                      </a:cubicBezTo>
                      <a:cubicBezTo>
                        <a:pt x="172879" y="176212"/>
                        <a:pt x="162782" y="213360"/>
                        <a:pt x="162782" y="264033"/>
                      </a:cubicBezTo>
                      <a:cubicBezTo>
                        <a:pt x="162782" y="317944"/>
                        <a:pt x="172879" y="356425"/>
                        <a:pt x="193167" y="379571"/>
                      </a:cubicBezTo>
                      <a:cubicBezTo>
                        <a:pt x="213455" y="402717"/>
                        <a:pt x="241649" y="414242"/>
                        <a:pt x="277940" y="414242"/>
                      </a:cubicBezTo>
                      <a:cubicBezTo>
                        <a:pt x="295180" y="414242"/>
                        <a:pt x="311563" y="411766"/>
                        <a:pt x="327184" y="406813"/>
                      </a:cubicBezTo>
                      <a:cubicBezTo>
                        <a:pt x="342805" y="401860"/>
                        <a:pt x="360712" y="393287"/>
                        <a:pt x="380810" y="381381"/>
                      </a:cubicBezTo>
                      <a:lnTo>
                        <a:pt x="380810" y="334518"/>
                      </a:lnTo>
                      <a:lnTo>
                        <a:pt x="277844" y="334518"/>
                      </a:lnTo>
                      <a:lnTo>
                        <a:pt x="277844" y="230886"/>
                      </a:lnTo>
                      <a:lnTo>
                        <a:pt x="515684" y="230886"/>
                      </a:lnTo>
                      <a:lnTo>
                        <a:pt x="515684" y="443198"/>
                      </a:lnTo>
                      <a:cubicBezTo>
                        <a:pt x="470154" y="474250"/>
                        <a:pt x="429863" y="495300"/>
                        <a:pt x="394907" y="506540"/>
                      </a:cubicBezTo>
                      <a:cubicBezTo>
                        <a:pt x="359950" y="517779"/>
                        <a:pt x="318421" y="523303"/>
                        <a:pt x="270415" y="523303"/>
                      </a:cubicBezTo>
                      <a:cubicBezTo>
                        <a:pt x="211265" y="523303"/>
                        <a:pt x="163163" y="513302"/>
                        <a:pt x="125825" y="493109"/>
                      </a:cubicBezTo>
                      <a:cubicBezTo>
                        <a:pt x="88583" y="472916"/>
                        <a:pt x="59722" y="442912"/>
                        <a:pt x="39243" y="403098"/>
                      </a:cubicBezTo>
                      <a:cubicBezTo>
                        <a:pt x="18764" y="363283"/>
                        <a:pt x="8477" y="317468"/>
                        <a:pt x="8477" y="265843"/>
                      </a:cubicBezTo>
                      <a:cubicBezTo>
                        <a:pt x="8477" y="211550"/>
                        <a:pt x="19717" y="164211"/>
                        <a:pt x="42100" y="124015"/>
                      </a:cubicBezTo>
                      <a:cubicBezTo>
                        <a:pt x="64484" y="83820"/>
                        <a:pt x="97346" y="53340"/>
                        <a:pt x="140589" y="32480"/>
                      </a:cubicBezTo>
                      <a:cubicBezTo>
                        <a:pt x="174308" y="16383"/>
                        <a:pt x="219742" y="8382"/>
                        <a:pt x="276796" y="8382"/>
                      </a:cubicBezTo>
                      <a:moveTo>
                        <a:pt x="276796" y="0"/>
                      </a:moveTo>
                      <a:cubicBezTo>
                        <a:pt x="218694" y="0"/>
                        <a:pt x="171641" y="8382"/>
                        <a:pt x="136874" y="24955"/>
                      </a:cubicBezTo>
                      <a:cubicBezTo>
                        <a:pt x="92202" y="46482"/>
                        <a:pt x="57817" y="78486"/>
                        <a:pt x="34671" y="120015"/>
                      </a:cubicBezTo>
                      <a:cubicBezTo>
                        <a:pt x="11621" y="161353"/>
                        <a:pt x="0" y="210407"/>
                        <a:pt x="0" y="265938"/>
                      </a:cubicBezTo>
                      <a:cubicBezTo>
                        <a:pt x="0" y="321469"/>
                        <a:pt x="10668" y="366236"/>
                        <a:pt x="31623" y="407098"/>
                      </a:cubicBezTo>
                      <a:cubicBezTo>
                        <a:pt x="52864" y="448342"/>
                        <a:pt x="83153" y="479774"/>
                        <a:pt x="121729" y="500729"/>
                      </a:cubicBezTo>
                      <a:cubicBezTo>
                        <a:pt x="160020" y="521494"/>
                        <a:pt x="210026" y="531971"/>
                        <a:pt x="270320" y="531971"/>
                      </a:cubicBezTo>
                      <a:cubicBezTo>
                        <a:pt x="318992" y="531971"/>
                        <a:pt x="361760" y="526161"/>
                        <a:pt x="397383" y="514731"/>
                      </a:cubicBezTo>
                      <a:cubicBezTo>
                        <a:pt x="433007" y="503301"/>
                        <a:pt x="474345" y="481679"/>
                        <a:pt x="520351" y="450342"/>
                      </a:cubicBezTo>
                      <a:lnTo>
                        <a:pt x="524066" y="447770"/>
                      </a:lnTo>
                      <a:lnTo>
                        <a:pt x="524066" y="222599"/>
                      </a:lnTo>
                      <a:lnTo>
                        <a:pt x="269367" y="222599"/>
                      </a:lnTo>
                      <a:lnTo>
                        <a:pt x="269367" y="343090"/>
                      </a:lnTo>
                      <a:lnTo>
                        <a:pt x="372332" y="343090"/>
                      </a:lnTo>
                      <a:lnTo>
                        <a:pt x="372332" y="376714"/>
                      </a:lnTo>
                      <a:cubicBezTo>
                        <a:pt x="354521" y="387001"/>
                        <a:pt x="338423" y="394525"/>
                        <a:pt x="324517" y="399002"/>
                      </a:cubicBezTo>
                      <a:cubicBezTo>
                        <a:pt x="309848" y="403669"/>
                        <a:pt x="294132" y="406051"/>
                        <a:pt x="277844" y="406051"/>
                      </a:cubicBezTo>
                      <a:cubicBezTo>
                        <a:pt x="243840" y="406051"/>
                        <a:pt x="218218" y="395669"/>
                        <a:pt x="199454" y="374237"/>
                      </a:cubicBezTo>
                      <a:cubicBezTo>
                        <a:pt x="180689" y="352806"/>
                        <a:pt x="171164" y="315849"/>
                        <a:pt x="171164" y="264319"/>
                      </a:cubicBezTo>
                      <a:cubicBezTo>
                        <a:pt x="171164" y="215932"/>
                        <a:pt x="180594" y="180308"/>
                        <a:pt x="199168" y="158496"/>
                      </a:cubicBezTo>
                      <a:cubicBezTo>
                        <a:pt x="217742" y="136779"/>
                        <a:pt x="242030" y="126301"/>
                        <a:pt x="273463" y="126301"/>
                      </a:cubicBezTo>
                      <a:cubicBezTo>
                        <a:pt x="294227" y="126301"/>
                        <a:pt x="311467" y="130778"/>
                        <a:pt x="324612" y="139732"/>
                      </a:cubicBezTo>
                      <a:cubicBezTo>
                        <a:pt x="337757" y="148685"/>
                        <a:pt x="346805" y="161353"/>
                        <a:pt x="352425" y="178498"/>
                      </a:cubicBezTo>
                      <a:lnTo>
                        <a:pt x="354711" y="185547"/>
                      </a:lnTo>
                      <a:lnTo>
                        <a:pt x="361950" y="184214"/>
                      </a:lnTo>
                      <a:lnTo>
                        <a:pt x="510445" y="157734"/>
                      </a:lnTo>
                      <a:lnTo>
                        <a:pt x="519589" y="156115"/>
                      </a:lnTo>
                      <a:lnTo>
                        <a:pt x="517112" y="147161"/>
                      </a:lnTo>
                      <a:cubicBezTo>
                        <a:pt x="507778" y="114014"/>
                        <a:pt x="493490" y="86011"/>
                        <a:pt x="474821" y="64294"/>
                      </a:cubicBezTo>
                      <a:cubicBezTo>
                        <a:pt x="455962" y="42291"/>
                        <a:pt x="431864" y="25908"/>
                        <a:pt x="403384" y="15526"/>
                      </a:cubicBezTo>
                      <a:cubicBezTo>
                        <a:pt x="375285" y="5239"/>
                        <a:pt x="332804" y="95"/>
                        <a:pt x="276987" y="95"/>
                      </a:cubicBezTo>
                      <a:lnTo>
                        <a:pt x="276987" y="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65" name="Graphic 566">
                <a:extLst>
                  <a:ext uri="{FF2B5EF4-FFF2-40B4-BE49-F238E27FC236}">
                    <a16:creationId xmlns:a16="http://schemas.microsoft.com/office/drawing/2014/main" id="{BF8A9D6A-7C22-40C7-AE79-72A3D23ED270}"/>
                  </a:ext>
                </a:extLst>
              </p:cNvPr>
              <p:cNvGrpSpPr/>
              <p:nvPr/>
            </p:nvGrpSpPr>
            <p:grpSpPr>
              <a:xfrm>
                <a:off x="10068533" y="5594407"/>
                <a:ext cx="493490" cy="514921"/>
                <a:chOff x="10068533" y="5594407"/>
                <a:chExt cx="493490" cy="514921"/>
              </a:xfrm>
              <a:solidFill>
                <a:srgbClr val="A1ABB2"/>
              </a:solidFill>
            </p:grpSpPr>
            <p:sp>
              <p:nvSpPr>
                <p:cNvPr id="469" name="Freeform: Shape 468">
                  <a:extLst>
                    <a:ext uri="{FF2B5EF4-FFF2-40B4-BE49-F238E27FC236}">
                      <a16:creationId xmlns:a16="http://schemas.microsoft.com/office/drawing/2014/main" id="{DC971238-AADE-49FD-976C-AC19914B7FB5}"/>
                    </a:ext>
                  </a:extLst>
                </p:cNvPr>
                <p:cNvSpPr/>
                <p:nvPr/>
              </p:nvSpPr>
              <p:spPr>
                <a:xfrm>
                  <a:off x="10072724" y="5598598"/>
                  <a:ext cx="485108" cy="506444"/>
                </a:xfrm>
                <a:custGeom>
                  <a:avLst/>
                  <a:gdLst>
                    <a:gd name="connsiteX0" fmla="*/ 485108 w 485108"/>
                    <a:gd name="connsiteY0" fmla="*/ 506444 h 506444"/>
                    <a:gd name="connsiteX1" fmla="*/ 480822 w 485108"/>
                    <a:gd name="connsiteY1" fmla="*/ 506444 h 506444"/>
                    <a:gd name="connsiteX2" fmla="*/ 326231 w 485108"/>
                    <a:gd name="connsiteY2" fmla="*/ 506444 h 506444"/>
                    <a:gd name="connsiteX3" fmla="*/ 322040 w 485108"/>
                    <a:gd name="connsiteY3" fmla="*/ 506444 h 506444"/>
                    <a:gd name="connsiteX4" fmla="*/ 322040 w 485108"/>
                    <a:gd name="connsiteY4" fmla="*/ 502253 h 506444"/>
                    <a:gd name="connsiteX5" fmla="*/ 322040 w 485108"/>
                    <a:gd name="connsiteY5" fmla="*/ 304991 h 506444"/>
                    <a:gd name="connsiteX6" fmla="*/ 162306 w 485108"/>
                    <a:gd name="connsiteY6" fmla="*/ 304991 h 506444"/>
                    <a:gd name="connsiteX7" fmla="*/ 162306 w 485108"/>
                    <a:gd name="connsiteY7" fmla="*/ 502253 h 506444"/>
                    <a:gd name="connsiteX8" fmla="*/ 162306 w 485108"/>
                    <a:gd name="connsiteY8" fmla="*/ 506444 h 506444"/>
                    <a:gd name="connsiteX9" fmla="*/ 158115 w 485108"/>
                    <a:gd name="connsiteY9" fmla="*/ 506444 h 506444"/>
                    <a:gd name="connsiteX10" fmla="*/ 4191 w 485108"/>
                    <a:gd name="connsiteY10" fmla="*/ 506444 h 506444"/>
                    <a:gd name="connsiteX11" fmla="*/ 0 w 485108"/>
                    <a:gd name="connsiteY11" fmla="*/ 506444 h 506444"/>
                    <a:gd name="connsiteX12" fmla="*/ 0 w 485108"/>
                    <a:gd name="connsiteY12" fmla="*/ 502253 h 506444"/>
                    <a:gd name="connsiteX13" fmla="*/ 0 w 485108"/>
                    <a:gd name="connsiteY13" fmla="*/ 4191 h 506444"/>
                    <a:gd name="connsiteX14" fmla="*/ 0 w 485108"/>
                    <a:gd name="connsiteY14" fmla="*/ 0 h 506444"/>
                    <a:gd name="connsiteX15" fmla="*/ 4191 w 485108"/>
                    <a:gd name="connsiteY15" fmla="*/ 0 h 506444"/>
                    <a:gd name="connsiteX16" fmla="*/ 158115 w 485108"/>
                    <a:gd name="connsiteY16" fmla="*/ 0 h 506444"/>
                    <a:gd name="connsiteX17" fmla="*/ 162306 w 485108"/>
                    <a:gd name="connsiteY17" fmla="*/ 0 h 506444"/>
                    <a:gd name="connsiteX18" fmla="*/ 162306 w 485108"/>
                    <a:gd name="connsiteY18" fmla="*/ 4191 h 506444"/>
                    <a:gd name="connsiteX19" fmla="*/ 162306 w 485108"/>
                    <a:gd name="connsiteY19" fmla="*/ 174308 h 506444"/>
                    <a:gd name="connsiteX20" fmla="*/ 322040 w 485108"/>
                    <a:gd name="connsiteY20" fmla="*/ 174308 h 506444"/>
                    <a:gd name="connsiteX21" fmla="*/ 322040 w 485108"/>
                    <a:gd name="connsiteY21" fmla="*/ 4191 h 506444"/>
                    <a:gd name="connsiteX22" fmla="*/ 322040 w 485108"/>
                    <a:gd name="connsiteY22" fmla="*/ 0 h 506444"/>
                    <a:gd name="connsiteX23" fmla="*/ 326231 w 485108"/>
                    <a:gd name="connsiteY23" fmla="*/ 0 h 506444"/>
                    <a:gd name="connsiteX24" fmla="*/ 480822 w 485108"/>
                    <a:gd name="connsiteY24" fmla="*/ 0 h 506444"/>
                    <a:gd name="connsiteX25" fmla="*/ 485108 w 485108"/>
                    <a:gd name="connsiteY25" fmla="*/ 0 h 506444"/>
                    <a:gd name="connsiteX26" fmla="*/ 485108 w 485108"/>
                    <a:gd name="connsiteY26" fmla="*/ 4191 h 506444"/>
                    <a:gd name="connsiteX27" fmla="*/ 485108 w 485108"/>
                    <a:gd name="connsiteY27" fmla="*/ 502253 h 506444"/>
                    <a:gd name="connsiteX28" fmla="*/ 485108 w 485108"/>
                    <a:gd name="connsiteY28" fmla="*/ 506444 h 506444"/>
                    <a:gd name="connsiteX29" fmla="*/ 485108 w 485108"/>
                    <a:gd name="connsiteY29"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5108" h="506444">
                      <a:moveTo>
                        <a:pt x="485108" y="506444"/>
                      </a:moveTo>
                      <a:lnTo>
                        <a:pt x="480822" y="506444"/>
                      </a:lnTo>
                      <a:lnTo>
                        <a:pt x="326231" y="506444"/>
                      </a:lnTo>
                      <a:lnTo>
                        <a:pt x="322040" y="506444"/>
                      </a:lnTo>
                      <a:lnTo>
                        <a:pt x="322040" y="502253"/>
                      </a:lnTo>
                      <a:lnTo>
                        <a:pt x="322040" y="304991"/>
                      </a:lnTo>
                      <a:lnTo>
                        <a:pt x="162306" y="304991"/>
                      </a:lnTo>
                      <a:lnTo>
                        <a:pt x="162306" y="502253"/>
                      </a:lnTo>
                      <a:lnTo>
                        <a:pt x="162306" y="506444"/>
                      </a:lnTo>
                      <a:lnTo>
                        <a:pt x="158115" y="506444"/>
                      </a:lnTo>
                      <a:lnTo>
                        <a:pt x="4191" y="506444"/>
                      </a:lnTo>
                      <a:lnTo>
                        <a:pt x="0" y="506444"/>
                      </a:lnTo>
                      <a:lnTo>
                        <a:pt x="0" y="502253"/>
                      </a:lnTo>
                      <a:lnTo>
                        <a:pt x="0" y="4191"/>
                      </a:lnTo>
                      <a:lnTo>
                        <a:pt x="0" y="0"/>
                      </a:lnTo>
                      <a:lnTo>
                        <a:pt x="4191" y="0"/>
                      </a:lnTo>
                      <a:lnTo>
                        <a:pt x="158115" y="0"/>
                      </a:lnTo>
                      <a:lnTo>
                        <a:pt x="162306" y="0"/>
                      </a:lnTo>
                      <a:lnTo>
                        <a:pt x="162306" y="4191"/>
                      </a:lnTo>
                      <a:lnTo>
                        <a:pt x="162306" y="174308"/>
                      </a:lnTo>
                      <a:lnTo>
                        <a:pt x="322040" y="174308"/>
                      </a:lnTo>
                      <a:lnTo>
                        <a:pt x="322040" y="4191"/>
                      </a:lnTo>
                      <a:lnTo>
                        <a:pt x="322040" y="0"/>
                      </a:lnTo>
                      <a:lnTo>
                        <a:pt x="326231" y="0"/>
                      </a:lnTo>
                      <a:lnTo>
                        <a:pt x="480822" y="0"/>
                      </a:lnTo>
                      <a:lnTo>
                        <a:pt x="485108" y="0"/>
                      </a:lnTo>
                      <a:lnTo>
                        <a:pt x="485108" y="4191"/>
                      </a:lnTo>
                      <a:lnTo>
                        <a:pt x="485108" y="502253"/>
                      </a:lnTo>
                      <a:lnTo>
                        <a:pt x="485108" y="506444"/>
                      </a:lnTo>
                      <a:lnTo>
                        <a:pt x="485108"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70" name="Freeform: Shape 469">
                  <a:extLst>
                    <a:ext uri="{FF2B5EF4-FFF2-40B4-BE49-F238E27FC236}">
                      <a16:creationId xmlns:a16="http://schemas.microsoft.com/office/drawing/2014/main" id="{9C88F1FC-3AE6-4B8A-8EDF-33A37BCF6D0B}"/>
                    </a:ext>
                  </a:extLst>
                </p:cNvPr>
                <p:cNvSpPr/>
                <p:nvPr/>
              </p:nvSpPr>
              <p:spPr>
                <a:xfrm>
                  <a:off x="10068533" y="5594407"/>
                  <a:ext cx="493490" cy="514921"/>
                </a:xfrm>
                <a:custGeom>
                  <a:avLst/>
                  <a:gdLst>
                    <a:gd name="connsiteX0" fmla="*/ 485013 w 493490"/>
                    <a:gd name="connsiteY0" fmla="*/ 8382 h 514921"/>
                    <a:gd name="connsiteX1" fmla="*/ 485013 w 493490"/>
                    <a:gd name="connsiteY1" fmla="*/ 506444 h 514921"/>
                    <a:gd name="connsiteX2" fmla="*/ 330422 w 493490"/>
                    <a:gd name="connsiteY2" fmla="*/ 506444 h 514921"/>
                    <a:gd name="connsiteX3" fmla="*/ 330422 w 493490"/>
                    <a:gd name="connsiteY3" fmla="*/ 304991 h 514921"/>
                    <a:gd name="connsiteX4" fmla="*/ 162306 w 493490"/>
                    <a:gd name="connsiteY4" fmla="*/ 304991 h 514921"/>
                    <a:gd name="connsiteX5" fmla="*/ 162306 w 493490"/>
                    <a:gd name="connsiteY5" fmla="*/ 506444 h 514921"/>
                    <a:gd name="connsiteX6" fmla="*/ 8382 w 493490"/>
                    <a:gd name="connsiteY6" fmla="*/ 506444 h 514921"/>
                    <a:gd name="connsiteX7" fmla="*/ 8382 w 493490"/>
                    <a:gd name="connsiteY7" fmla="*/ 8382 h 514921"/>
                    <a:gd name="connsiteX8" fmla="*/ 162306 w 493490"/>
                    <a:gd name="connsiteY8" fmla="*/ 8382 h 514921"/>
                    <a:gd name="connsiteX9" fmla="*/ 162306 w 493490"/>
                    <a:gd name="connsiteY9" fmla="*/ 182689 h 514921"/>
                    <a:gd name="connsiteX10" fmla="*/ 330422 w 493490"/>
                    <a:gd name="connsiteY10" fmla="*/ 182689 h 514921"/>
                    <a:gd name="connsiteX11" fmla="*/ 330422 w 493490"/>
                    <a:gd name="connsiteY11" fmla="*/ 8382 h 514921"/>
                    <a:gd name="connsiteX12" fmla="*/ 485013 w 493490"/>
                    <a:gd name="connsiteY12" fmla="*/ 8382 h 514921"/>
                    <a:gd name="connsiteX13" fmla="*/ 493490 w 493490"/>
                    <a:gd name="connsiteY13" fmla="*/ 0 h 514921"/>
                    <a:gd name="connsiteX14" fmla="*/ 322040 w 493490"/>
                    <a:gd name="connsiteY14" fmla="*/ 0 h 514921"/>
                    <a:gd name="connsiteX15" fmla="*/ 322040 w 493490"/>
                    <a:gd name="connsiteY15" fmla="*/ 174308 h 514921"/>
                    <a:gd name="connsiteX16" fmla="*/ 170783 w 493490"/>
                    <a:gd name="connsiteY16" fmla="*/ 174308 h 514921"/>
                    <a:gd name="connsiteX17" fmla="*/ 170783 w 493490"/>
                    <a:gd name="connsiteY17" fmla="*/ 0 h 514921"/>
                    <a:gd name="connsiteX18" fmla="*/ 0 w 493490"/>
                    <a:gd name="connsiteY18" fmla="*/ 0 h 514921"/>
                    <a:gd name="connsiteX19" fmla="*/ 0 w 493490"/>
                    <a:gd name="connsiteY19" fmla="*/ 514921 h 514921"/>
                    <a:gd name="connsiteX20" fmla="*/ 170783 w 493490"/>
                    <a:gd name="connsiteY20" fmla="*/ 514921 h 514921"/>
                    <a:gd name="connsiteX21" fmla="*/ 170783 w 493490"/>
                    <a:gd name="connsiteY21" fmla="*/ 313468 h 514921"/>
                    <a:gd name="connsiteX22" fmla="*/ 322040 w 493490"/>
                    <a:gd name="connsiteY22" fmla="*/ 313468 h 514921"/>
                    <a:gd name="connsiteX23" fmla="*/ 322040 w 493490"/>
                    <a:gd name="connsiteY23" fmla="*/ 514921 h 514921"/>
                    <a:gd name="connsiteX24" fmla="*/ 493490 w 493490"/>
                    <a:gd name="connsiteY24" fmla="*/ 514921 h 514921"/>
                    <a:gd name="connsiteX25" fmla="*/ 493490 w 493490"/>
                    <a:gd name="connsiteY25" fmla="*/ 0 h 514921"/>
                    <a:gd name="connsiteX26" fmla="*/ 493490 w 493490"/>
                    <a:gd name="connsiteY26"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93490" h="514921">
                      <a:moveTo>
                        <a:pt x="485013" y="8382"/>
                      </a:moveTo>
                      <a:lnTo>
                        <a:pt x="485013" y="506444"/>
                      </a:lnTo>
                      <a:lnTo>
                        <a:pt x="330422" y="506444"/>
                      </a:lnTo>
                      <a:lnTo>
                        <a:pt x="330422" y="304991"/>
                      </a:lnTo>
                      <a:lnTo>
                        <a:pt x="162306" y="304991"/>
                      </a:lnTo>
                      <a:lnTo>
                        <a:pt x="162306" y="506444"/>
                      </a:lnTo>
                      <a:lnTo>
                        <a:pt x="8382" y="506444"/>
                      </a:lnTo>
                      <a:lnTo>
                        <a:pt x="8382" y="8382"/>
                      </a:lnTo>
                      <a:lnTo>
                        <a:pt x="162306" y="8382"/>
                      </a:lnTo>
                      <a:lnTo>
                        <a:pt x="162306" y="182689"/>
                      </a:lnTo>
                      <a:lnTo>
                        <a:pt x="330422" y="182689"/>
                      </a:lnTo>
                      <a:lnTo>
                        <a:pt x="330422" y="8382"/>
                      </a:lnTo>
                      <a:lnTo>
                        <a:pt x="485013" y="8382"/>
                      </a:lnTo>
                      <a:moveTo>
                        <a:pt x="493490" y="0"/>
                      </a:moveTo>
                      <a:lnTo>
                        <a:pt x="322040" y="0"/>
                      </a:lnTo>
                      <a:lnTo>
                        <a:pt x="322040" y="174308"/>
                      </a:lnTo>
                      <a:lnTo>
                        <a:pt x="170783" y="174308"/>
                      </a:lnTo>
                      <a:lnTo>
                        <a:pt x="170783" y="0"/>
                      </a:lnTo>
                      <a:lnTo>
                        <a:pt x="0" y="0"/>
                      </a:lnTo>
                      <a:lnTo>
                        <a:pt x="0" y="514921"/>
                      </a:lnTo>
                      <a:lnTo>
                        <a:pt x="170783" y="514921"/>
                      </a:lnTo>
                      <a:lnTo>
                        <a:pt x="170783" y="313468"/>
                      </a:lnTo>
                      <a:lnTo>
                        <a:pt x="322040" y="313468"/>
                      </a:lnTo>
                      <a:lnTo>
                        <a:pt x="322040" y="514921"/>
                      </a:lnTo>
                      <a:lnTo>
                        <a:pt x="493490" y="514921"/>
                      </a:lnTo>
                      <a:lnTo>
                        <a:pt x="493490" y="0"/>
                      </a:lnTo>
                      <a:lnTo>
                        <a:pt x="493490"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66" name="Graphic 566">
                <a:extLst>
                  <a:ext uri="{FF2B5EF4-FFF2-40B4-BE49-F238E27FC236}">
                    <a16:creationId xmlns:a16="http://schemas.microsoft.com/office/drawing/2014/main" id="{72E7657A-49B3-4EB7-804F-E1924C792CA5}"/>
                  </a:ext>
                </a:extLst>
              </p:cNvPr>
              <p:cNvGrpSpPr/>
              <p:nvPr/>
            </p:nvGrpSpPr>
            <p:grpSpPr>
              <a:xfrm>
                <a:off x="10612411" y="5594407"/>
                <a:ext cx="484631" cy="514921"/>
                <a:chOff x="10612411" y="5594407"/>
                <a:chExt cx="484631" cy="514921"/>
              </a:xfrm>
              <a:solidFill>
                <a:srgbClr val="A1ABB2"/>
              </a:solidFill>
            </p:grpSpPr>
            <p:sp>
              <p:nvSpPr>
                <p:cNvPr id="467" name="Freeform: Shape 466">
                  <a:extLst>
                    <a:ext uri="{FF2B5EF4-FFF2-40B4-BE49-F238E27FC236}">
                      <a16:creationId xmlns:a16="http://schemas.microsoft.com/office/drawing/2014/main" id="{8ADB02EE-B78B-42EE-A5A7-8DB0D0F6ED0B}"/>
                    </a:ext>
                  </a:extLst>
                </p:cNvPr>
                <p:cNvSpPr/>
                <p:nvPr/>
              </p:nvSpPr>
              <p:spPr>
                <a:xfrm>
                  <a:off x="10616602" y="5598598"/>
                  <a:ext cx="476249" cy="506444"/>
                </a:xfrm>
                <a:custGeom>
                  <a:avLst/>
                  <a:gdLst>
                    <a:gd name="connsiteX0" fmla="*/ 319278 w 476249"/>
                    <a:gd name="connsiteY0" fmla="*/ 506444 h 506444"/>
                    <a:gd name="connsiteX1" fmla="*/ 315087 w 476249"/>
                    <a:gd name="connsiteY1" fmla="*/ 506444 h 506444"/>
                    <a:gd name="connsiteX2" fmla="*/ 161163 w 476249"/>
                    <a:gd name="connsiteY2" fmla="*/ 506444 h 506444"/>
                    <a:gd name="connsiteX3" fmla="*/ 156972 w 476249"/>
                    <a:gd name="connsiteY3" fmla="*/ 506444 h 506444"/>
                    <a:gd name="connsiteX4" fmla="*/ 156972 w 476249"/>
                    <a:gd name="connsiteY4" fmla="*/ 502253 h 506444"/>
                    <a:gd name="connsiteX5" fmla="*/ 156972 w 476249"/>
                    <a:gd name="connsiteY5" fmla="*/ 131445 h 506444"/>
                    <a:gd name="connsiteX6" fmla="*/ 4191 w 476249"/>
                    <a:gd name="connsiteY6" fmla="*/ 131445 h 506444"/>
                    <a:gd name="connsiteX7" fmla="*/ 0 w 476249"/>
                    <a:gd name="connsiteY7" fmla="*/ 131445 h 506444"/>
                    <a:gd name="connsiteX8" fmla="*/ 0 w 476249"/>
                    <a:gd name="connsiteY8" fmla="*/ 127159 h 506444"/>
                    <a:gd name="connsiteX9" fmla="*/ 0 w 476249"/>
                    <a:gd name="connsiteY9" fmla="*/ 4191 h 506444"/>
                    <a:gd name="connsiteX10" fmla="*/ 0 w 476249"/>
                    <a:gd name="connsiteY10" fmla="*/ 0 h 506444"/>
                    <a:gd name="connsiteX11" fmla="*/ 4191 w 476249"/>
                    <a:gd name="connsiteY11" fmla="*/ 0 h 506444"/>
                    <a:gd name="connsiteX12" fmla="*/ 472059 w 476249"/>
                    <a:gd name="connsiteY12" fmla="*/ 0 h 506444"/>
                    <a:gd name="connsiteX13" fmla="*/ 476250 w 476249"/>
                    <a:gd name="connsiteY13" fmla="*/ 0 h 506444"/>
                    <a:gd name="connsiteX14" fmla="*/ 476250 w 476249"/>
                    <a:gd name="connsiteY14" fmla="*/ 4191 h 506444"/>
                    <a:gd name="connsiteX15" fmla="*/ 476250 w 476249"/>
                    <a:gd name="connsiteY15" fmla="*/ 127159 h 506444"/>
                    <a:gd name="connsiteX16" fmla="*/ 476250 w 476249"/>
                    <a:gd name="connsiteY16" fmla="*/ 131445 h 506444"/>
                    <a:gd name="connsiteX17" fmla="*/ 472059 w 476249"/>
                    <a:gd name="connsiteY17" fmla="*/ 131445 h 506444"/>
                    <a:gd name="connsiteX18" fmla="*/ 319278 w 476249"/>
                    <a:gd name="connsiteY18" fmla="*/ 131445 h 506444"/>
                    <a:gd name="connsiteX19" fmla="*/ 319278 w 476249"/>
                    <a:gd name="connsiteY19" fmla="*/ 502253 h 506444"/>
                    <a:gd name="connsiteX20" fmla="*/ 319278 w 476249"/>
                    <a:gd name="connsiteY20" fmla="*/ 506444 h 506444"/>
                    <a:gd name="connsiteX21" fmla="*/ 319278 w 476249"/>
                    <a:gd name="connsiteY21" fmla="*/ 506444 h 50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76249" h="506444">
                      <a:moveTo>
                        <a:pt x="319278" y="506444"/>
                      </a:moveTo>
                      <a:lnTo>
                        <a:pt x="315087" y="506444"/>
                      </a:lnTo>
                      <a:lnTo>
                        <a:pt x="161163" y="506444"/>
                      </a:lnTo>
                      <a:lnTo>
                        <a:pt x="156972" y="506444"/>
                      </a:lnTo>
                      <a:lnTo>
                        <a:pt x="156972" y="502253"/>
                      </a:lnTo>
                      <a:lnTo>
                        <a:pt x="156972" y="131445"/>
                      </a:lnTo>
                      <a:lnTo>
                        <a:pt x="4191" y="131445"/>
                      </a:lnTo>
                      <a:lnTo>
                        <a:pt x="0" y="131445"/>
                      </a:lnTo>
                      <a:lnTo>
                        <a:pt x="0" y="127159"/>
                      </a:lnTo>
                      <a:lnTo>
                        <a:pt x="0" y="4191"/>
                      </a:lnTo>
                      <a:lnTo>
                        <a:pt x="0" y="0"/>
                      </a:lnTo>
                      <a:lnTo>
                        <a:pt x="4191" y="0"/>
                      </a:lnTo>
                      <a:lnTo>
                        <a:pt x="472059" y="0"/>
                      </a:lnTo>
                      <a:lnTo>
                        <a:pt x="476250" y="0"/>
                      </a:lnTo>
                      <a:lnTo>
                        <a:pt x="476250" y="4191"/>
                      </a:lnTo>
                      <a:lnTo>
                        <a:pt x="476250" y="127159"/>
                      </a:lnTo>
                      <a:lnTo>
                        <a:pt x="476250" y="131445"/>
                      </a:lnTo>
                      <a:lnTo>
                        <a:pt x="472059" y="131445"/>
                      </a:lnTo>
                      <a:lnTo>
                        <a:pt x="319278" y="131445"/>
                      </a:lnTo>
                      <a:lnTo>
                        <a:pt x="319278" y="502253"/>
                      </a:lnTo>
                      <a:lnTo>
                        <a:pt x="319278" y="506444"/>
                      </a:lnTo>
                      <a:lnTo>
                        <a:pt x="319278" y="506444"/>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8" name="Freeform: Shape 467">
                  <a:extLst>
                    <a:ext uri="{FF2B5EF4-FFF2-40B4-BE49-F238E27FC236}">
                      <a16:creationId xmlns:a16="http://schemas.microsoft.com/office/drawing/2014/main" id="{2E7E8FFC-0B98-48AB-A9EB-F441825D8850}"/>
                    </a:ext>
                  </a:extLst>
                </p:cNvPr>
                <p:cNvSpPr/>
                <p:nvPr/>
              </p:nvSpPr>
              <p:spPr>
                <a:xfrm>
                  <a:off x="10612411" y="5594407"/>
                  <a:ext cx="484631" cy="514921"/>
                </a:xfrm>
                <a:custGeom>
                  <a:avLst/>
                  <a:gdLst>
                    <a:gd name="connsiteX0" fmla="*/ 476155 w 484631"/>
                    <a:gd name="connsiteY0" fmla="*/ 8382 h 514921"/>
                    <a:gd name="connsiteX1" fmla="*/ 476155 w 484631"/>
                    <a:gd name="connsiteY1" fmla="*/ 131350 h 514921"/>
                    <a:gd name="connsiteX2" fmla="*/ 319278 w 484631"/>
                    <a:gd name="connsiteY2" fmla="*/ 131350 h 514921"/>
                    <a:gd name="connsiteX3" fmla="*/ 319278 w 484631"/>
                    <a:gd name="connsiteY3" fmla="*/ 506444 h 514921"/>
                    <a:gd name="connsiteX4" fmla="*/ 165354 w 484631"/>
                    <a:gd name="connsiteY4" fmla="*/ 506444 h 514921"/>
                    <a:gd name="connsiteX5" fmla="*/ 165354 w 484631"/>
                    <a:gd name="connsiteY5" fmla="*/ 131350 h 514921"/>
                    <a:gd name="connsiteX6" fmla="*/ 8382 w 484631"/>
                    <a:gd name="connsiteY6" fmla="*/ 131350 h 514921"/>
                    <a:gd name="connsiteX7" fmla="*/ 8382 w 484631"/>
                    <a:gd name="connsiteY7" fmla="*/ 8382 h 514921"/>
                    <a:gd name="connsiteX8" fmla="*/ 476155 w 484631"/>
                    <a:gd name="connsiteY8" fmla="*/ 8382 h 514921"/>
                    <a:gd name="connsiteX9" fmla="*/ 484632 w 484631"/>
                    <a:gd name="connsiteY9" fmla="*/ 0 h 514921"/>
                    <a:gd name="connsiteX10" fmla="*/ 0 w 484631"/>
                    <a:gd name="connsiteY10" fmla="*/ 0 h 514921"/>
                    <a:gd name="connsiteX11" fmla="*/ 0 w 484631"/>
                    <a:gd name="connsiteY11" fmla="*/ 139827 h 514921"/>
                    <a:gd name="connsiteX12" fmla="*/ 156972 w 484631"/>
                    <a:gd name="connsiteY12" fmla="*/ 139827 h 514921"/>
                    <a:gd name="connsiteX13" fmla="*/ 156972 w 484631"/>
                    <a:gd name="connsiteY13" fmla="*/ 514921 h 514921"/>
                    <a:gd name="connsiteX14" fmla="*/ 327755 w 484631"/>
                    <a:gd name="connsiteY14" fmla="*/ 514921 h 514921"/>
                    <a:gd name="connsiteX15" fmla="*/ 327755 w 484631"/>
                    <a:gd name="connsiteY15" fmla="*/ 139827 h 514921"/>
                    <a:gd name="connsiteX16" fmla="*/ 484632 w 484631"/>
                    <a:gd name="connsiteY16" fmla="*/ 139827 h 514921"/>
                    <a:gd name="connsiteX17" fmla="*/ 484632 w 484631"/>
                    <a:gd name="connsiteY17" fmla="*/ 0 h 514921"/>
                    <a:gd name="connsiteX18" fmla="*/ 484632 w 484631"/>
                    <a:gd name="connsiteY18" fmla="*/ 0 h 514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4631" h="514921">
                      <a:moveTo>
                        <a:pt x="476155" y="8382"/>
                      </a:moveTo>
                      <a:lnTo>
                        <a:pt x="476155" y="131350"/>
                      </a:lnTo>
                      <a:lnTo>
                        <a:pt x="319278" y="131350"/>
                      </a:lnTo>
                      <a:lnTo>
                        <a:pt x="319278" y="506444"/>
                      </a:lnTo>
                      <a:lnTo>
                        <a:pt x="165354" y="506444"/>
                      </a:lnTo>
                      <a:lnTo>
                        <a:pt x="165354" y="131350"/>
                      </a:lnTo>
                      <a:lnTo>
                        <a:pt x="8382" y="131350"/>
                      </a:lnTo>
                      <a:lnTo>
                        <a:pt x="8382" y="8382"/>
                      </a:lnTo>
                      <a:lnTo>
                        <a:pt x="476155" y="8382"/>
                      </a:lnTo>
                      <a:moveTo>
                        <a:pt x="484632" y="0"/>
                      </a:moveTo>
                      <a:lnTo>
                        <a:pt x="0" y="0"/>
                      </a:lnTo>
                      <a:lnTo>
                        <a:pt x="0" y="139827"/>
                      </a:lnTo>
                      <a:lnTo>
                        <a:pt x="156972" y="139827"/>
                      </a:lnTo>
                      <a:lnTo>
                        <a:pt x="156972" y="514921"/>
                      </a:lnTo>
                      <a:lnTo>
                        <a:pt x="327755" y="514921"/>
                      </a:lnTo>
                      <a:lnTo>
                        <a:pt x="327755" y="139827"/>
                      </a:lnTo>
                      <a:lnTo>
                        <a:pt x="484632" y="139827"/>
                      </a:lnTo>
                      <a:lnTo>
                        <a:pt x="484632" y="0"/>
                      </a:lnTo>
                      <a:lnTo>
                        <a:pt x="484632"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grpSp>
          <p:nvGrpSpPr>
            <p:cNvPr id="457" name="Graphic 566">
              <a:extLst>
                <a:ext uri="{FF2B5EF4-FFF2-40B4-BE49-F238E27FC236}">
                  <a16:creationId xmlns:a16="http://schemas.microsoft.com/office/drawing/2014/main" id="{2B507EFB-D7AB-48B7-9B42-03801EADEA5C}"/>
                </a:ext>
              </a:extLst>
            </p:cNvPr>
            <p:cNvGrpSpPr/>
            <p:nvPr/>
          </p:nvGrpSpPr>
          <p:grpSpPr>
            <a:xfrm>
              <a:off x="9217093" y="5324564"/>
              <a:ext cx="183070" cy="183070"/>
              <a:chOff x="9217093" y="5324564"/>
              <a:chExt cx="183070" cy="183070"/>
            </a:xfrm>
            <a:solidFill>
              <a:srgbClr val="A1ABB2"/>
            </a:solidFill>
          </p:grpSpPr>
          <p:sp>
            <p:nvSpPr>
              <p:cNvPr id="459" name="Freeform: Shape 458">
                <a:extLst>
                  <a:ext uri="{FF2B5EF4-FFF2-40B4-BE49-F238E27FC236}">
                    <a16:creationId xmlns:a16="http://schemas.microsoft.com/office/drawing/2014/main" id="{CED109C7-4E86-4306-869B-A8C335674B5B}"/>
                  </a:ext>
                </a:extLst>
              </p:cNvPr>
              <p:cNvSpPr/>
              <p:nvPr/>
            </p:nvSpPr>
            <p:spPr>
              <a:xfrm>
                <a:off x="9222237" y="5329612"/>
                <a:ext cx="172878" cy="172974"/>
              </a:xfrm>
              <a:custGeom>
                <a:avLst/>
                <a:gdLst>
                  <a:gd name="connsiteX0" fmla="*/ 172879 w 172878"/>
                  <a:gd name="connsiteY0" fmla="*/ 86487 h 172974"/>
                  <a:gd name="connsiteX1" fmla="*/ 86392 w 172878"/>
                  <a:gd name="connsiteY1" fmla="*/ 172974 h 172974"/>
                  <a:gd name="connsiteX2" fmla="*/ 0 w 172878"/>
                  <a:gd name="connsiteY2" fmla="*/ 86487 h 172974"/>
                  <a:gd name="connsiteX3" fmla="*/ 86392 w 172878"/>
                  <a:gd name="connsiteY3" fmla="*/ 0 h 172974"/>
                  <a:gd name="connsiteX4" fmla="*/ 172879 w 172878"/>
                  <a:gd name="connsiteY4" fmla="*/ 86487 h 1729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878" h="172974">
                    <a:moveTo>
                      <a:pt x="172879" y="86487"/>
                    </a:moveTo>
                    <a:cubicBezTo>
                      <a:pt x="172879" y="134207"/>
                      <a:pt x="134207" y="172974"/>
                      <a:pt x="86392" y="172974"/>
                    </a:cubicBezTo>
                    <a:cubicBezTo>
                      <a:pt x="38576" y="172974"/>
                      <a:pt x="0" y="134303"/>
                      <a:pt x="0" y="86487"/>
                    </a:cubicBezTo>
                    <a:cubicBezTo>
                      <a:pt x="0" y="38672"/>
                      <a:pt x="38671" y="0"/>
                      <a:pt x="86392" y="0"/>
                    </a:cubicBezTo>
                    <a:cubicBezTo>
                      <a:pt x="134112" y="0"/>
                      <a:pt x="172879" y="38672"/>
                      <a:pt x="172879" y="8648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60" name="Freeform: Shape 459">
                <a:extLst>
                  <a:ext uri="{FF2B5EF4-FFF2-40B4-BE49-F238E27FC236}">
                    <a16:creationId xmlns:a16="http://schemas.microsoft.com/office/drawing/2014/main" id="{6130C790-F7C8-4A04-88F6-8E0D7EB9AE56}"/>
                  </a:ext>
                </a:extLst>
              </p:cNvPr>
              <p:cNvSpPr/>
              <p:nvPr/>
            </p:nvSpPr>
            <p:spPr>
              <a:xfrm>
                <a:off x="9217093" y="5324564"/>
                <a:ext cx="183070" cy="183070"/>
              </a:xfrm>
              <a:custGeom>
                <a:avLst/>
                <a:gdLst>
                  <a:gd name="connsiteX0" fmla="*/ 0 w 183070"/>
                  <a:gd name="connsiteY0" fmla="*/ 91535 h 183070"/>
                  <a:gd name="connsiteX1" fmla="*/ 91535 w 183070"/>
                  <a:gd name="connsiteY1" fmla="*/ 0 h 183070"/>
                  <a:gd name="connsiteX2" fmla="*/ 91535 w 183070"/>
                  <a:gd name="connsiteY2" fmla="*/ 0 h 183070"/>
                  <a:gd name="connsiteX3" fmla="*/ 183071 w 183070"/>
                  <a:gd name="connsiteY3" fmla="*/ 91535 h 183070"/>
                  <a:gd name="connsiteX4" fmla="*/ 183071 w 183070"/>
                  <a:gd name="connsiteY4" fmla="*/ 91535 h 183070"/>
                  <a:gd name="connsiteX5" fmla="*/ 91535 w 183070"/>
                  <a:gd name="connsiteY5" fmla="*/ 183071 h 183070"/>
                  <a:gd name="connsiteX6" fmla="*/ 91535 w 183070"/>
                  <a:gd name="connsiteY6" fmla="*/ 183071 h 183070"/>
                  <a:gd name="connsiteX7" fmla="*/ 0 w 183070"/>
                  <a:gd name="connsiteY7" fmla="*/ 91535 h 183070"/>
                  <a:gd name="connsiteX8" fmla="*/ 0 w 183070"/>
                  <a:gd name="connsiteY8" fmla="*/ 91535 h 183070"/>
                  <a:gd name="connsiteX9" fmla="*/ 10287 w 183070"/>
                  <a:gd name="connsiteY9" fmla="*/ 91535 h 183070"/>
                  <a:gd name="connsiteX10" fmla="*/ 91631 w 183070"/>
                  <a:gd name="connsiteY10" fmla="*/ 172879 h 183070"/>
                  <a:gd name="connsiteX11" fmla="*/ 91631 w 183070"/>
                  <a:gd name="connsiteY11" fmla="*/ 172879 h 183070"/>
                  <a:gd name="connsiteX12" fmla="*/ 172974 w 183070"/>
                  <a:gd name="connsiteY12" fmla="*/ 91535 h 183070"/>
                  <a:gd name="connsiteX13" fmla="*/ 172974 w 183070"/>
                  <a:gd name="connsiteY13" fmla="*/ 91535 h 183070"/>
                  <a:gd name="connsiteX14" fmla="*/ 91631 w 183070"/>
                  <a:gd name="connsiteY14" fmla="*/ 10192 h 183070"/>
                  <a:gd name="connsiteX15" fmla="*/ 91631 w 183070"/>
                  <a:gd name="connsiteY15" fmla="*/ 10192 h 183070"/>
                  <a:gd name="connsiteX16" fmla="*/ 10287 w 183070"/>
                  <a:gd name="connsiteY16" fmla="*/ 91535 h 183070"/>
                  <a:gd name="connsiteX17" fmla="*/ 10287 w 183070"/>
                  <a:gd name="connsiteY17" fmla="*/ 91535 h 183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070" h="183070">
                    <a:moveTo>
                      <a:pt x="0" y="91535"/>
                    </a:moveTo>
                    <a:cubicBezTo>
                      <a:pt x="0" y="40958"/>
                      <a:pt x="40958" y="0"/>
                      <a:pt x="91535" y="0"/>
                    </a:cubicBezTo>
                    <a:lnTo>
                      <a:pt x="91535" y="0"/>
                    </a:lnTo>
                    <a:cubicBezTo>
                      <a:pt x="142113" y="0"/>
                      <a:pt x="183071" y="40958"/>
                      <a:pt x="183071" y="91535"/>
                    </a:cubicBezTo>
                    <a:lnTo>
                      <a:pt x="183071" y="91535"/>
                    </a:lnTo>
                    <a:cubicBezTo>
                      <a:pt x="183071" y="142113"/>
                      <a:pt x="142113" y="183071"/>
                      <a:pt x="91535" y="183071"/>
                    </a:cubicBezTo>
                    <a:lnTo>
                      <a:pt x="91535" y="183071"/>
                    </a:lnTo>
                    <a:cubicBezTo>
                      <a:pt x="40958" y="183071"/>
                      <a:pt x="0" y="142113"/>
                      <a:pt x="0" y="91535"/>
                    </a:cubicBezTo>
                    <a:lnTo>
                      <a:pt x="0" y="91535"/>
                    </a:lnTo>
                    <a:close/>
                    <a:moveTo>
                      <a:pt x="10287" y="91535"/>
                    </a:moveTo>
                    <a:cubicBezTo>
                      <a:pt x="10287" y="136398"/>
                      <a:pt x="46673" y="172784"/>
                      <a:pt x="91631" y="172879"/>
                    </a:cubicBezTo>
                    <a:lnTo>
                      <a:pt x="91631" y="172879"/>
                    </a:lnTo>
                    <a:cubicBezTo>
                      <a:pt x="136589" y="172879"/>
                      <a:pt x="172879" y="136493"/>
                      <a:pt x="172974" y="91535"/>
                    </a:cubicBezTo>
                    <a:lnTo>
                      <a:pt x="172974" y="91535"/>
                    </a:lnTo>
                    <a:cubicBezTo>
                      <a:pt x="172879" y="46577"/>
                      <a:pt x="136589" y="10287"/>
                      <a:pt x="91631" y="10192"/>
                    </a:cubicBezTo>
                    <a:lnTo>
                      <a:pt x="91631" y="10192"/>
                    </a:lnTo>
                    <a:cubicBezTo>
                      <a:pt x="46768" y="10192"/>
                      <a:pt x="10382" y="46577"/>
                      <a:pt x="10287" y="91535"/>
                    </a:cubicBezTo>
                    <a:lnTo>
                      <a:pt x="10287" y="9153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458" name="Freeform: Shape 457">
              <a:extLst>
                <a:ext uri="{FF2B5EF4-FFF2-40B4-BE49-F238E27FC236}">
                  <a16:creationId xmlns:a16="http://schemas.microsoft.com/office/drawing/2014/main" id="{31537204-6A95-48E7-B19D-CCEB625C1926}"/>
                </a:ext>
              </a:extLst>
            </p:cNvPr>
            <p:cNvSpPr/>
            <p:nvPr/>
          </p:nvSpPr>
          <p:spPr>
            <a:xfrm>
              <a:off x="11111902" y="5594503"/>
              <a:ext cx="56292" cy="56006"/>
            </a:xfrm>
            <a:custGeom>
              <a:avLst/>
              <a:gdLst>
                <a:gd name="connsiteX0" fmla="*/ 56293 w 56292"/>
                <a:gd name="connsiteY0" fmla="*/ 28003 h 56006"/>
                <a:gd name="connsiteX1" fmla="*/ 52483 w 56292"/>
                <a:gd name="connsiteY1" fmla="*/ 42005 h 56006"/>
                <a:gd name="connsiteX2" fmla="*/ 42196 w 56292"/>
                <a:gd name="connsiteY2" fmla="*/ 52292 h 56006"/>
                <a:gd name="connsiteX3" fmla="*/ 28099 w 56292"/>
                <a:gd name="connsiteY3" fmla="*/ 56007 h 56006"/>
                <a:gd name="connsiteX4" fmla="*/ 14097 w 56292"/>
                <a:gd name="connsiteY4" fmla="*/ 52292 h 56006"/>
                <a:gd name="connsiteX5" fmla="*/ 3810 w 56292"/>
                <a:gd name="connsiteY5" fmla="*/ 42005 h 56006"/>
                <a:gd name="connsiteX6" fmla="*/ 0 w 56292"/>
                <a:gd name="connsiteY6" fmla="*/ 28003 h 56006"/>
                <a:gd name="connsiteX7" fmla="*/ 3810 w 56292"/>
                <a:gd name="connsiteY7" fmla="*/ 14002 h 56006"/>
                <a:gd name="connsiteX8" fmla="*/ 14097 w 56292"/>
                <a:gd name="connsiteY8" fmla="*/ 3715 h 56006"/>
                <a:gd name="connsiteX9" fmla="*/ 28099 w 56292"/>
                <a:gd name="connsiteY9" fmla="*/ 0 h 56006"/>
                <a:gd name="connsiteX10" fmla="*/ 42196 w 56292"/>
                <a:gd name="connsiteY10" fmla="*/ 3715 h 56006"/>
                <a:gd name="connsiteX11" fmla="*/ 52483 w 56292"/>
                <a:gd name="connsiteY11" fmla="*/ 14002 h 56006"/>
                <a:gd name="connsiteX12" fmla="*/ 56293 w 56292"/>
                <a:gd name="connsiteY12" fmla="*/ 28003 h 56006"/>
                <a:gd name="connsiteX13" fmla="*/ 50863 w 56292"/>
                <a:gd name="connsiteY13" fmla="*/ 28003 h 56006"/>
                <a:gd name="connsiteX14" fmla="*/ 44196 w 56292"/>
                <a:gd name="connsiteY14" fmla="*/ 11906 h 56006"/>
                <a:gd name="connsiteX15" fmla="*/ 28194 w 56292"/>
                <a:gd name="connsiteY15" fmla="*/ 5239 h 56006"/>
                <a:gd name="connsiteX16" fmla="*/ 12192 w 56292"/>
                <a:gd name="connsiteY16" fmla="*/ 11906 h 56006"/>
                <a:gd name="connsiteX17" fmla="*/ 5525 w 56292"/>
                <a:gd name="connsiteY17" fmla="*/ 28003 h 56006"/>
                <a:gd name="connsiteX18" fmla="*/ 12192 w 56292"/>
                <a:gd name="connsiteY18" fmla="*/ 44005 h 56006"/>
                <a:gd name="connsiteX19" fmla="*/ 28194 w 56292"/>
                <a:gd name="connsiteY19" fmla="*/ 50673 h 56006"/>
                <a:gd name="connsiteX20" fmla="*/ 44196 w 56292"/>
                <a:gd name="connsiteY20" fmla="*/ 44005 h 56006"/>
                <a:gd name="connsiteX21" fmla="*/ 50863 w 56292"/>
                <a:gd name="connsiteY21" fmla="*/ 28003 h 56006"/>
                <a:gd name="connsiteX22" fmla="*/ 15430 w 56292"/>
                <a:gd name="connsiteY22" fmla="*/ 12954 h 56006"/>
                <a:gd name="connsiteX23" fmla="*/ 28956 w 56292"/>
                <a:gd name="connsiteY23" fmla="*/ 12954 h 56006"/>
                <a:gd name="connsiteX24" fmla="*/ 37147 w 56292"/>
                <a:gd name="connsiteY24" fmla="*/ 15240 h 56006"/>
                <a:gd name="connsiteX25" fmla="*/ 39719 w 56292"/>
                <a:gd name="connsiteY25" fmla="*/ 21431 h 56006"/>
                <a:gd name="connsiteX26" fmla="*/ 37814 w 56292"/>
                <a:gd name="connsiteY26" fmla="*/ 26670 h 56006"/>
                <a:gd name="connsiteX27" fmla="*/ 31623 w 56292"/>
                <a:gd name="connsiteY27" fmla="*/ 29908 h 56006"/>
                <a:gd name="connsiteX28" fmla="*/ 34195 w 56292"/>
                <a:gd name="connsiteY28" fmla="*/ 31337 h 56006"/>
                <a:gd name="connsiteX29" fmla="*/ 36576 w 56292"/>
                <a:gd name="connsiteY29" fmla="*/ 34385 h 56006"/>
                <a:gd name="connsiteX30" fmla="*/ 41434 w 56292"/>
                <a:gd name="connsiteY30" fmla="*/ 43053 h 56006"/>
                <a:gd name="connsiteX31" fmla="*/ 32576 w 56292"/>
                <a:gd name="connsiteY31" fmla="*/ 43053 h 56006"/>
                <a:gd name="connsiteX32" fmla="*/ 26765 w 56292"/>
                <a:gd name="connsiteY32" fmla="*/ 32766 h 56006"/>
                <a:gd name="connsiteX33" fmla="*/ 23813 w 56292"/>
                <a:gd name="connsiteY33" fmla="*/ 31147 h 56006"/>
                <a:gd name="connsiteX34" fmla="*/ 22860 w 56292"/>
                <a:gd name="connsiteY34" fmla="*/ 31242 h 56006"/>
                <a:gd name="connsiteX35" fmla="*/ 22860 w 56292"/>
                <a:gd name="connsiteY35" fmla="*/ 43053 h 56006"/>
                <a:gd name="connsiteX36" fmla="*/ 15335 w 56292"/>
                <a:gd name="connsiteY36" fmla="*/ 43053 h 56006"/>
                <a:gd name="connsiteX37" fmla="*/ 15335 w 56292"/>
                <a:gd name="connsiteY37" fmla="*/ 12954 h 56006"/>
                <a:gd name="connsiteX38" fmla="*/ 22955 w 56292"/>
                <a:gd name="connsiteY38" fmla="*/ 25717 h 56006"/>
                <a:gd name="connsiteX39" fmla="*/ 26194 w 56292"/>
                <a:gd name="connsiteY39" fmla="*/ 25717 h 56006"/>
                <a:gd name="connsiteX40" fmla="*/ 30766 w 56292"/>
                <a:gd name="connsiteY40" fmla="*/ 24670 h 56006"/>
                <a:gd name="connsiteX41" fmla="*/ 32099 w 56292"/>
                <a:gd name="connsiteY41" fmla="*/ 22003 h 56006"/>
                <a:gd name="connsiteX42" fmla="*/ 30861 w 56292"/>
                <a:gd name="connsiteY42" fmla="*/ 19336 h 56006"/>
                <a:gd name="connsiteX43" fmla="*/ 26575 w 56292"/>
                <a:gd name="connsiteY43" fmla="*/ 18288 h 56006"/>
                <a:gd name="connsiteX44" fmla="*/ 23051 w 56292"/>
                <a:gd name="connsiteY44" fmla="*/ 18288 h 56006"/>
                <a:gd name="connsiteX45" fmla="*/ 23051 w 56292"/>
                <a:gd name="connsiteY45" fmla="*/ 25813 h 56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56292" h="56006">
                  <a:moveTo>
                    <a:pt x="56293" y="28003"/>
                  </a:moveTo>
                  <a:cubicBezTo>
                    <a:pt x="56293" y="33052"/>
                    <a:pt x="55054" y="37719"/>
                    <a:pt x="52483" y="42005"/>
                  </a:cubicBezTo>
                  <a:cubicBezTo>
                    <a:pt x="50006" y="46387"/>
                    <a:pt x="46577" y="49816"/>
                    <a:pt x="42196" y="52292"/>
                  </a:cubicBezTo>
                  <a:cubicBezTo>
                    <a:pt x="37814" y="54769"/>
                    <a:pt x="33147" y="56007"/>
                    <a:pt x="28099" y="56007"/>
                  </a:cubicBezTo>
                  <a:cubicBezTo>
                    <a:pt x="23051" y="56007"/>
                    <a:pt x="18383" y="54769"/>
                    <a:pt x="14097" y="52292"/>
                  </a:cubicBezTo>
                  <a:cubicBezTo>
                    <a:pt x="9716" y="49816"/>
                    <a:pt x="6287" y="46387"/>
                    <a:pt x="3810" y="42005"/>
                  </a:cubicBezTo>
                  <a:cubicBezTo>
                    <a:pt x="1334" y="37624"/>
                    <a:pt x="0" y="32956"/>
                    <a:pt x="0" y="28003"/>
                  </a:cubicBezTo>
                  <a:cubicBezTo>
                    <a:pt x="0" y="23050"/>
                    <a:pt x="1238" y="18288"/>
                    <a:pt x="3810" y="14002"/>
                  </a:cubicBezTo>
                  <a:cubicBezTo>
                    <a:pt x="6287" y="9620"/>
                    <a:pt x="9716" y="6191"/>
                    <a:pt x="14097" y="3715"/>
                  </a:cubicBezTo>
                  <a:cubicBezTo>
                    <a:pt x="18383" y="1238"/>
                    <a:pt x="23146" y="0"/>
                    <a:pt x="28099" y="0"/>
                  </a:cubicBezTo>
                  <a:cubicBezTo>
                    <a:pt x="33052" y="0"/>
                    <a:pt x="37814" y="1238"/>
                    <a:pt x="42196" y="3715"/>
                  </a:cubicBezTo>
                  <a:cubicBezTo>
                    <a:pt x="46482" y="6191"/>
                    <a:pt x="50006" y="9620"/>
                    <a:pt x="52483" y="14002"/>
                  </a:cubicBezTo>
                  <a:cubicBezTo>
                    <a:pt x="55054" y="18383"/>
                    <a:pt x="56293" y="23050"/>
                    <a:pt x="56293" y="28003"/>
                  </a:cubicBezTo>
                  <a:close/>
                  <a:moveTo>
                    <a:pt x="50863" y="28003"/>
                  </a:moveTo>
                  <a:cubicBezTo>
                    <a:pt x="50863" y="21717"/>
                    <a:pt x="48673" y="16383"/>
                    <a:pt x="44196" y="11906"/>
                  </a:cubicBezTo>
                  <a:cubicBezTo>
                    <a:pt x="39815" y="7525"/>
                    <a:pt x="34385" y="5239"/>
                    <a:pt x="28194" y="5239"/>
                  </a:cubicBezTo>
                  <a:cubicBezTo>
                    <a:pt x="22003" y="5239"/>
                    <a:pt x="16574" y="7429"/>
                    <a:pt x="12192" y="11906"/>
                  </a:cubicBezTo>
                  <a:cubicBezTo>
                    <a:pt x="7811" y="16383"/>
                    <a:pt x="5525" y="21717"/>
                    <a:pt x="5525" y="28003"/>
                  </a:cubicBezTo>
                  <a:cubicBezTo>
                    <a:pt x="5525" y="34290"/>
                    <a:pt x="7715" y="39624"/>
                    <a:pt x="12192" y="44005"/>
                  </a:cubicBezTo>
                  <a:cubicBezTo>
                    <a:pt x="16669" y="48482"/>
                    <a:pt x="22003" y="50673"/>
                    <a:pt x="28194" y="50673"/>
                  </a:cubicBezTo>
                  <a:cubicBezTo>
                    <a:pt x="34385" y="50673"/>
                    <a:pt x="39815" y="48482"/>
                    <a:pt x="44196" y="44005"/>
                  </a:cubicBezTo>
                  <a:cubicBezTo>
                    <a:pt x="48673" y="39624"/>
                    <a:pt x="50863" y="34195"/>
                    <a:pt x="50863" y="28003"/>
                  </a:cubicBezTo>
                  <a:close/>
                  <a:moveTo>
                    <a:pt x="15430" y="12954"/>
                  </a:moveTo>
                  <a:lnTo>
                    <a:pt x="28956" y="12954"/>
                  </a:lnTo>
                  <a:cubicBezTo>
                    <a:pt x="32766" y="12954"/>
                    <a:pt x="35433" y="13716"/>
                    <a:pt x="37147" y="15240"/>
                  </a:cubicBezTo>
                  <a:cubicBezTo>
                    <a:pt x="38862" y="16764"/>
                    <a:pt x="39719" y="18859"/>
                    <a:pt x="39719" y="21431"/>
                  </a:cubicBezTo>
                  <a:cubicBezTo>
                    <a:pt x="39719" y="23431"/>
                    <a:pt x="39053" y="25146"/>
                    <a:pt x="37814" y="26670"/>
                  </a:cubicBezTo>
                  <a:cubicBezTo>
                    <a:pt x="36481" y="28194"/>
                    <a:pt x="34480" y="29242"/>
                    <a:pt x="31623" y="29908"/>
                  </a:cubicBezTo>
                  <a:cubicBezTo>
                    <a:pt x="32766" y="30385"/>
                    <a:pt x="33623" y="30766"/>
                    <a:pt x="34195" y="31337"/>
                  </a:cubicBezTo>
                  <a:cubicBezTo>
                    <a:pt x="34957" y="32004"/>
                    <a:pt x="35719" y="33052"/>
                    <a:pt x="36576" y="34385"/>
                  </a:cubicBezTo>
                  <a:cubicBezTo>
                    <a:pt x="36576" y="34385"/>
                    <a:pt x="38291" y="37338"/>
                    <a:pt x="41434" y="43053"/>
                  </a:cubicBezTo>
                  <a:lnTo>
                    <a:pt x="32576" y="43053"/>
                  </a:lnTo>
                  <a:cubicBezTo>
                    <a:pt x="29623" y="37338"/>
                    <a:pt x="27718" y="33909"/>
                    <a:pt x="26765" y="32766"/>
                  </a:cubicBezTo>
                  <a:cubicBezTo>
                    <a:pt x="25813" y="31623"/>
                    <a:pt x="24860" y="31147"/>
                    <a:pt x="23813" y="31147"/>
                  </a:cubicBezTo>
                  <a:cubicBezTo>
                    <a:pt x="23622" y="31147"/>
                    <a:pt x="23336" y="31147"/>
                    <a:pt x="22860" y="31242"/>
                  </a:cubicBezTo>
                  <a:lnTo>
                    <a:pt x="22860" y="43053"/>
                  </a:lnTo>
                  <a:lnTo>
                    <a:pt x="15335" y="43053"/>
                  </a:lnTo>
                  <a:lnTo>
                    <a:pt x="15335" y="12954"/>
                  </a:lnTo>
                  <a:close/>
                  <a:moveTo>
                    <a:pt x="22955" y="25717"/>
                  </a:moveTo>
                  <a:lnTo>
                    <a:pt x="26194" y="25717"/>
                  </a:lnTo>
                  <a:cubicBezTo>
                    <a:pt x="28385" y="25717"/>
                    <a:pt x="29909" y="25336"/>
                    <a:pt x="30766" y="24670"/>
                  </a:cubicBezTo>
                  <a:cubicBezTo>
                    <a:pt x="31623" y="24003"/>
                    <a:pt x="32099" y="23050"/>
                    <a:pt x="32099" y="22003"/>
                  </a:cubicBezTo>
                  <a:cubicBezTo>
                    <a:pt x="32099" y="20955"/>
                    <a:pt x="31718" y="20002"/>
                    <a:pt x="30861" y="19336"/>
                  </a:cubicBezTo>
                  <a:cubicBezTo>
                    <a:pt x="30004" y="18669"/>
                    <a:pt x="28575" y="18288"/>
                    <a:pt x="26575" y="18288"/>
                  </a:cubicBezTo>
                  <a:lnTo>
                    <a:pt x="23051" y="18288"/>
                  </a:lnTo>
                  <a:lnTo>
                    <a:pt x="23051" y="25813"/>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483" name="Group 482">
            <a:extLst>
              <a:ext uri="{FF2B5EF4-FFF2-40B4-BE49-F238E27FC236}">
                <a16:creationId xmlns:a16="http://schemas.microsoft.com/office/drawing/2014/main" id="{9A8559C6-B7F5-4853-8106-C3B81EE65107}"/>
              </a:ext>
            </a:extLst>
          </p:cNvPr>
          <p:cNvGrpSpPr/>
          <p:nvPr userDrawn="1"/>
        </p:nvGrpSpPr>
        <p:grpSpPr>
          <a:xfrm>
            <a:off x="10114580" y="3573923"/>
            <a:ext cx="970898" cy="246803"/>
            <a:chOff x="7620807" y="5499310"/>
            <a:chExt cx="2743199" cy="697324"/>
          </a:xfrm>
        </p:grpSpPr>
        <p:sp>
          <p:nvSpPr>
            <p:cNvPr id="484" name="Freeform: Shape 483">
              <a:extLst>
                <a:ext uri="{FF2B5EF4-FFF2-40B4-BE49-F238E27FC236}">
                  <a16:creationId xmlns:a16="http://schemas.microsoft.com/office/drawing/2014/main" id="{6A4C232C-A773-46E1-9A47-B751AAE1592B}"/>
                </a:ext>
              </a:extLst>
            </p:cNvPr>
            <p:cNvSpPr/>
            <p:nvPr/>
          </p:nvSpPr>
          <p:spPr>
            <a:xfrm>
              <a:off x="10318001" y="5499310"/>
              <a:ext cx="46005" cy="46577"/>
            </a:xfrm>
            <a:custGeom>
              <a:avLst/>
              <a:gdLst>
                <a:gd name="connsiteX0" fmla="*/ 23146 w 46005"/>
                <a:gd name="connsiteY0" fmla="*/ 0 h 46577"/>
                <a:gd name="connsiteX1" fmla="*/ 46006 w 46005"/>
                <a:gd name="connsiteY1" fmla="*/ 23241 h 46577"/>
                <a:gd name="connsiteX2" fmla="*/ 23050 w 46005"/>
                <a:gd name="connsiteY2" fmla="*/ 46577 h 46577"/>
                <a:gd name="connsiteX3" fmla="*/ 0 w 46005"/>
                <a:gd name="connsiteY3" fmla="*/ 23241 h 46577"/>
                <a:gd name="connsiteX4" fmla="*/ 23050 w 46005"/>
                <a:gd name="connsiteY4" fmla="*/ 0 h 46577"/>
                <a:gd name="connsiteX5" fmla="*/ 23146 w 46005"/>
                <a:gd name="connsiteY5" fmla="*/ 0 h 46577"/>
                <a:gd name="connsiteX6" fmla="*/ 23050 w 46005"/>
                <a:gd name="connsiteY6" fmla="*/ 3620 h 46577"/>
                <a:gd name="connsiteX7" fmla="*/ 4477 w 46005"/>
                <a:gd name="connsiteY7" fmla="*/ 23241 h 46577"/>
                <a:gd name="connsiteX8" fmla="*/ 23146 w 46005"/>
                <a:gd name="connsiteY8" fmla="*/ 42958 h 46577"/>
                <a:gd name="connsiteX9" fmla="*/ 41719 w 46005"/>
                <a:gd name="connsiteY9" fmla="*/ 23336 h 46577"/>
                <a:gd name="connsiteX10" fmla="*/ 23146 w 46005"/>
                <a:gd name="connsiteY10" fmla="*/ 3620 h 46577"/>
                <a:gd name="connsiteX11" fmla="*/ 23050 w 46005"/>
                <a:gd name="connsiteY11" fmla="*/ 3620 h 46577"/>
                <a:gd name="connsiteX12" fmla="*/ 18669 w 46005"/>
                <a:gd name="connsiteY12" fmla="*/ 36767 h 46577"/>
                <a:gd name="connsiteX13" fmla="*/ 14573 w 46005"/>
                <a:gd name="connsiteY13" fmla="*/ 36767 h 46577"/>
                <a:gd name="connsiteX14" fmla="*/ 14573 w 46005"/>
                <a:gd name="connsiteY14" fmla="*/ 10859 h 46577"/>
                <a:gd name="connsiteX15" fmla="*/ 21907 w 46005"/>
                <a:gd name="connsiteY15" fmla="*/ 10287 h 46577"/>
                <a:gd name="connsiteX16" fmla="*/ 29908 w 46005"/>
                <a:gd name="connsiteY16" fmla="*/ 12287 h 46577"/>
                <a:gd name="connsiteX17" fmla="*/ 32290 w 46005"/>
                <a:gd name="connsiteY17" fmla="*/ 17621 h 46577"/>
                <a:gd name="connsiteX18" fmla="*/ 27241 w 46005"/>
                <a:gd name="connsiteY18" fmla="*/ 23908 h 46577"/>
                <a:gd name="connsiteX19" fmla="*/ 27241 w 46005"/>
                <a:gd name="connsiteY19" fmla="*/ 24098 h 46577"/>
                <a:gd name="connsiteX20" fmla="*/ 31528 w 46005"/>
                <a:gd name="connsiteY20" fmla="*/ 30385 h 46577"/>
                <a:gd name="connsiteX21" fmla="*/ 33242 w 46005"/>
                <a:gd name="connsiteY21" fmla="*/ 36767 h 46577"/>
                <a:gd name="connsiteX22" fmla="*/ 28861 w 46005"/>
                <a:gd name="connsiteY22" fmla="*/ 36767 h 46577"/>
                <a:gd name="connsiteX23" fmla="*/ 27146 w 46005"/>
                <a:gd name="connsiteY23" fmla="*/ 30194 h 46577"/>
                <a:gd name="connsiteX24" fmla="*/ 21526 w 46005"/>
                <a:gd name="connsiteY24" fmla="*/ 25622 h 46577"/>
                <a:gd name="connsiteX25" fmla="*/ 18669 w 46005"/>
                <a:gd name="connsiteY25" fmla="*/ 25622 h 46577"/>
                <a:gd name="connsiteX26" fmla="*/ 18669 w 46005"/>
                <a:gd name="connsiteY26" fmla="*/ 36767 h 46577"/>
                <a:gd name="connsiteX27" fmla="*/ 18669 w 46005"/>
                <a:gd name="connsiteY27" fmla="*/ 22384 h 46577"/>
                <a:gd name="connsiteX28" fmla="*/ 21622 w 46005"/>
                <a:gd name="connsiteY28" fmla="*/ 22384 h 46577"/>
                <a:gd name="connsiteX29" fmla="*/ 27908 w 46005"/>
                <a:gd name="connsiteY29" fmla="*/ 17907 h 46577"/>
                <a:gd name="connsiteX30" fmla="*/ 21622 w 46005"/>
                <a:gd name="connsiteY30" fmla="*/ 13335 h 46577"/>
                <a:gd name="connsiteX31" fmla="*/ 18669 w 46005"/>
                <a:gd name="connsiteY31" fmla="*/ 13526 h 46577"/>
                <a:gd name="connsiteX32" fmla="*/ 18669 w 46005"/>
                <a:gd name="connsiteY32" fmla="*/ 22289 h 4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05" h="46577">
                  <a:moveTo>
                    <a:pt x="23146" y="0"/>
                  </a:moveTo>
                  <a:cubicBezTo>
                    <a:pt x="35814" y="0"/>
                    <a:pt x="46006" y="10287"/>
                    <a:pt x="46006" y="23241"/>
                  </a:cubicBezTo>
                  <a:cubicBezTo>
                    <a:pt x="46006" y="36195"/>
                    <a:pt x="35909" y="46577"/>
                    <a:pt x="23050" y="46577"/>
                  </a:cubicBezTo>
                  <a:cubicBezTo>
                    <a:pt x="10192" y="46577"/>
                    <a:pt x="0" y="36386"/>
                    <a:pt x="0" y="23241"/>
                  </a:cubicBezTo>
                  <a:cubicBezTo>
                    <a:pt x="0" y="10096"/>
                    <a:pt x="10287" y="0"/>
                    <a:pt x="23050" y="0"/>
                  </a:cubicBezTo>
                  <a:lnTo>
                    <a:pt x="23146" y="0"/>
                  </a:lnTo>
                  <a:close/>
                  <a:moveTo>
                    <a:pt x="23050" y="3620"/>
                  </a:moveTo>
                  <a:cubicBezTo>
                    <a:pt x="12859" y="3620"/>
                    <a:pt x="4477" y="12383"/>
                    <a:pt x="4477" y="23241"/>
                  </a:cubicBezTo>
                  <a:cubicBezTo>
                    <a:pt x="4477" y="34100"/>
                    <a:pt x="12859" y="42958"/>
                    <a:pt x="23146" y="42958"/>
                  </a:cubicBezTo>
                  <a:cubicBezTo>
                    <a:pt x="33433" y="43053"/>
                    <a:pt x="41719" y="34290"/>
                    <a:pt x="41719" y="23336"/>
                  </a:cubicBezTo>
                  <a:cubicBezTo>
                    <a:pt x="41719" y="12383"/>
                    <a:pt x="33433" y="3620"/>
                    <a:pt x="23146" y="3620"/>
                  </a:cubicBezTo>
                  <a:lnTo>
                    <a:pt x="23050" y="3620"/>
                  </a:lnTo>
                  <a:close/>
                  <a:moveTo>
                    <a:pt x="18669" y="36767"/>
                  </a:moveTo>
                  <a:lnTo>
                    <a:pt x="14573" y="36767"/>
                  </a:lnTo>
                  <a:lnTo>
                    <a:pt x="14573" y="10859"/>
                  </a:lnTo>
                  <a:cubicBezTo>
                    <a:pt x="16764" y="10573"/>
                    <a:pt x="18764" y="10287"/>
                    <a:pt x="21907" y="10287"/>
                  </a:cubicBezTo>
                  <a:cubicBezTo>
                    <a:pt x="25813" y="10287"/>
                    <a:pt x="28384" y="11144"/>
                    <a:pt x="29908" y="12287"/>
                  </a:cubicBezTo>
                  <a:cubicBezTo>
                    <a:pt x="31432" y="13430"/>
                    <a:pt x="32290" y="15145"/>
                    <a:pt x="32290" y="17621"/>
                  </a:cubicBezTo>
                  <a:cubicBezTo>
                    <a:pt x="32290" y="21050"/>
                    <a:pt x="30004" y="23051"/>
                    <a:pt x="27241" y="23908"/>
                  </a:cubicBezTo>
                  <a:lnTo>
                    <a:pt x="27241" y="24098"/>
                  </a:lnTo>
                  <a:cubicBezTo>
                    <a:pt x="29527" y="24479"/>
                    <a:pt x="31051" y="26575"/>
                    <a:pt x="31528" y="30385"/>
                  </a:cubicBezTo>
                  <a:cubicBezTo>
                    <a:pt x="32194" y="34385"/>
                    <a:pt x="32766" y="35909"/>
                    <a:pt x="33242" y="36767"/>
                  </a:cubicBezTo>
                  <a:lnTo>
                    <a:pt x="28861" y="36767"/>
                  </a:lnTo>
                  <a:cubicBezTo>
                    <a:pt x="28194" y="35909"/>
                    <a:pt x="27622" y="33528"/>
                    <a:pt x="27146" y="30194"/>
                  </a:cubicBezTo>
                  <a:cubicBezTo>
                    <a:pt x="26575" y="26861"/>
                    <a:pt x="24860" y="25622"/>
                    <a:pt x="21526" y="25622"/>
                  </a:cubicBezTo>
                  <a:lnTo>
                    <a:pt x="18669" y="25622"/>
                  </a:lnTo>
                  <a:lnTo>
                    <a:pt x="18669" y="36767"/>
                  </a:lnTo>
                  <a:close/>
                  <a:moveTo>
                    <a:pt x="18669" y="22384"/>
                  </a:moveTo>
                  <a:lnTo>
                    <a:pt x="21622" y="22384"/>
                  </a:lnTo>
                  <a:cubicBezTo>
                    <a:pt x="25051" y="22384"/>
                    <a:pt x="27908" y="21146"/>
                    <a:pt x="27908" y="17907"/>
                  </a:cubicBezTo>
                  <a:cubicBezTo>
                    <a:pt x="27908" y="15621"/>
                    <a:pt x="26289" y="13335"/>
                    <a:pt x="21622" y="13335"/>
                  </a:cubicBezTo>
                  <a:cubicBezTo>
                    <a:pt x="20288" y="13335"/>
                    <a:pt x="19336" y="13430"/>
                    <a:pt x="18669" y="13526"/>
                  </a:cubicBezTo>
                  <a:lnTo>
                    <a:pt x="18669" y="22289"/>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5" name="Freeform: Shape 484">
              <a:extLst>
                <a:ext uri="{FF2B5EF4-FFF2-40B4-BE49-F238E27FC236}">
                  <a16:creationId xmlns:a16="http://schemas.microsoft.com/office/drawing/2014/main" id="{9C614082-BEA6-4BEC-BD44-5DE8BD978606}"/>
                </a:ext>
              </a:extLst>
            </p:cNvPr>
            <p:cNvSpPr/>
            <p:nvPr/>
          </p:nvSpPr>
          <p:spPr>
            <a:xfrm>
              <a:off x="8848198" y="5769247"/>
              <a:ext cx="148113" cy="231839"/>
            </a:xfrm>
            <a:custGeom>
              <a:avLst/>
              <a:gdLst>
                <a:gd name="connsiteX0" fmla="*/ 141160 w 148113"/>
                <a:gd name="connsiteY0" fmla="*/ 1 h 231839"/>
                <a:gd name="connsiteX1" fmla="*/ 88392 w 148113"/>
                <a:gd name="connsiteY1" fmla="*/ 1 h 231839"/>
                <a:gd name="connsiteX2" fmla="*/ 21622 w 148113"/>
                <a:gd name="connsiteY2" fmla="*/ 31719 h 231839"/>
                <a:gd name="connsiteX3" fmla="*/ 0 w 148113"/>
                <a:gd name="connsiteY3" fmla="*/ 105823 h 231839"/>
                <a:gd name="connsiteX4" fmla="*/ 0 w 148113"/>
                <a:gd name="connsiteY4" fmla="*/ 231839 h 231839"/>
                <a:gd name="connsiteX5" fmla="*/ 89440 w 148113"/>
                <a:gd name="connsiteY5" fmla="*/ 231839 h 231839"/>
                <a:gd name="connsiteX6" fmla="*/ 89440 w 148113"/>
                <a:gd name="connsiteY6" fmla="*/ 224886 h 231839"/>
                <a:gd name="connsiteX7" fmla="*/ 89630 w 148113"/>
                <a:gd name="connsiteY7" fmla="*/ 105919 h 231839"/>
                <a:gd name="connsiteX8" fmla="*/ 89630 w 148113"/>
                <a:gd name="connsiteY8" fmla="*/ 105919 h 231839"/>
                <a:gd name="connsiteX9" fmla="*/ 91535 w 148113"/>
                <a:gd name="connsiteY9" fmla="*/ 98394 h 231839"/>
                <a:gd name="connsiteX10" fmla="*/ 100489 w 148113"/>
                <a:gd name="connsiteY10" fmla="*/ 86011 h 231839"/>
                <a:gd name="connsiteX11" fmla="*/ 110109 w 148113"/>
                <a:gd name="connsiteY11" fmla="*/ 81154 h 231839"/>
                <a:gd name="connsiteX12" fmla="*/ 148114 w 148113"/>
                <a:gd name="connsiteY12" fmla="*/ 81154 h 231839"/>
                <a:gd name="connsiteX13" fmla="*/ 148114 w 148113"/>
                <a:gd name="connsiteY13" fmla="*/ 96 h 231839"/>
                <a:gd name="connsiteX14" fmla="*/ 141160 w 148113"/>
                <a:gd name="connsiteY14" fmla="*/ 96 h 231839"/>
                <a:gd name="connsiteX15" fmla="*/ 134207 w 148113"/>
                <a:gd name="connsiteY15" fmla="*/ 67152 h 231839"/>
                <a:gd name="connsiteX16" fmla="*/ 110109 w 148113"/>
                <a:gd name="connsiteY16" fmla="*/ 67152 h 231839"/>
                <a:gd name="connsiteX17" fmla="*/ 96774 w 148113"/>
                <a:gd name="connsiteY17" fmla="*/ 71343 h 231839"/>
                <a:gd name="connsiteX18" fmla="*/ 82105 w 148113"/>
                <a:gd name="connsiteY18" fmla="*/ 86583 h 231839"/>
                <a:gd name="connsiteX19" fmla="*/ 75724 w 148113"/>
                <a:gd name="connsiteY19" fmla="*/ 105919 h 231839"/>
                <a:gd name="connsiteX20" fmla="*/ 75533 w 148113"/>
                <a:gd name="connsiteY20" fmla="*/ 218028 h 231839"/>
                <a:gd name="connsiteX21" fmla="*/ 14002 w 148113"/>
                <a:gd name="connsiteY21" fmla="*/ 218028 h 231839"/>
                <a:gd name="connsiteX22" fmla="*/ 14002 w 148113"/>
                <a:gd name="connsiteY22" fmla="*/ 105919 h 231839"/>
                <a:gd name="connsiteX23" fmla="*/ 32766 w 148113"/>
                <a:gd name="connsiteY23" fmla="*/ 40196 h 231839"/>
                <a:gd name="connsiteX24" fmla="*/ 88392 w 148113"/>
                <a:gd name="connsiteY24" fmla="*/ 14002 h 231839"/>
                <a:gd name="connsiteX25" fmla="*/ 134207 w 148113"/>
                <a:gd name="connsiteY25" fmla="*/ 14002 h 231839"/>
                <a:gd name="connsiteX26" fmla="*/ 134207 w 148113"/>
                <a:gd name="connsiteY26" fmla="*/ 67247 h 231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8113" h="231839">
                  <a:moveTo>
                    <a:pt x="141160" y="1"/>
                  </a:moveTo>
                  <a:lnTo>
                    <a:pt x="88392" y="1"/>
                  </a:lnTo>
                  <a:cubicBezTo>
                    <a:pt x="59150" y="-95"/>
                    <a:pt x="36290" y="12193"/>
                    <a:pt x="21622" y="31719"/>
                  </a:cubicBezTo>
                  <a:cubicBezTo>
                    <a:pt x="6953" y="51245"/>
                    <a:pt x="95" y="77439"/>
                    <a:pt x="0" y="105823"/>
                  </a:cubicBezTo>
                  <a:lnTo>
                    <a:pt x="0" y="231839"/>
                  </a:lnTo>
                  <a:lnTo>
                    <a:pt x="89440" y="231839"/>
                  </a:lnTo>
                  <a:lnTo>
                    <a:pt x="89440" y="224886"/>
                  </a:lnTo>
                  <a:lnTo>
                    <a:pt x="89630" y="105919"/>
                  </a:lnTo>
                  <a:lnTo>
                    <a:pt x="89630" y="105919"/>
                  </a:lnTo>
                  <a:cubicBezTo>
                    <a:pt x="89630" y="104014"/>
                    <a:pt x="90202" y="101251"/>
                    <a:pt x="91535" y="98394"/>
                  </a:cubicBezTo>
                  <a:cubicBezTo>
                    <a:pt x="93440" y="94012"/>
                    <a:pt x="96869" y="89250"/>
                    <a:pt x="100489" y="86011"/>
                  </a:cubicBezTo>
                  <a:cubicBezTo>
                    <a:pt x="104108" y="82582"/>
                    <a:pt x="108013" y="80963"/>
                    <a:pt x="110109" y="81154"/>
                  </a:cubicBezTo>
                  <a:lnTo>
                    <a:pt x="148114" y="81154"/>
                  </a:lnTo>
                  <a:lnTo>
                    <a:pt x="148114" y="96"/>
                  </a:lnTo>
                  <a:lnTo>
                    <a:pt x="141160" y="96"/>
                  </a:lnTo>
                  <a:close/>
                  <a:moveTo>
                    <a:pt x="134207" y="67152"/>
                  </a:moveTo>
                  <a:lnTo>
                    <a:pt x="110109" y="67152"/>
                  </a:lnTo>
                  <a:cubicBezTo>
                    <a:pt x="105156" y="67152"/>
                    <a:pt x="100679" y="68962"/>
                    <a:pt x="96774" y="71343"/>
                  </a:cubicBezTo>
                  <a:cubicBezTo>
                    <a:pt x="90868" y="75153"/>
                    <a:pt x="85820" y="80582"/>
                    <a:pt x="82105" y="86583"/>
                  </a:cubicBezTo>
                  <a:cubicBezTo>
                    <a:pt x="78391" y="92584"/>
                    <a:pt x="75819" y="99156"/>
                    <a:pt x="75724" y="105919"/>
                  </a:cubicBezTo>
                  <a:lnTo>
                    <a:pt x="75533" y="218028"/>
                  </a:lnTo>
                  <a:lnTo>
                    <a:pt x="14002" y="218028"/>
                  </a:lnTo>
                  <a:lnTo>
                    <a:pt x="14002" y="105919"/>
                  </a:lnTo>
                  <a:cubicBezTo>
                    <a:pt x="14002" y="79725"/>
                    <a:pt x="20479" y="56484"/>
                    <a:pt x="32766" y="40196"/>
                  </a:cubicBezTo>
                  <a:cubicBezTo>
                    <a:pt x="45149" y="23908"/>
                    <a:pt x="62960" y="14098"/>
                    <a:pt x="88392" y="14002"/>
                  </a:cubicBezTo>
                  <a:lnTo>
                    <a:pt x="134207" y="14002"/>
                  </a:lnTo>
                  <a:lnTo>
                    <a:pt x="134207" y="6724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6" name="Freeform: Shape 485">
              <a:extLst>
                <a:ext uri="{FF2B5EF4-FFF2-40B4-BE49-F238E27FC236}">
                  <a16:creationId xmlns:a16="http://schemas.microsoft.com/office/drawing/2014/main" id="{3A0E4111-A5E1-4B5E-AC3A-E40654B83C06}"/>
                </a:ext>
              </a:extLst>
            </p:cNvPr>
            <p:cNvSpPr/>
            <p:nvPr/>
          </p:nvSpPr>
          <p:spPr>
            <a:xfrm>
              <a:off x="9011383" y="5770105"/>
              <a:ext cx="169154" cy="231076"/>
            </a:xfrm>
            <a:custGeom>
              <a:avLst/>
              <a:gdLst>
                <a:gd name="connsiteX0" fmla="*/ 162094 w 169154"/>
                <a:gd name="connsiteY0" fmla="*/ 0 h 231076"/>
                <a:gd name="connsiteX1" fmla="*/ 58938 w 169154"/>
                <a:gd name="connsiteY1" fmla="*/ 0 h 231076"/>
                <a:gd name="connsiteX2" fmla="*/ 25124 w 169154"/>
                <a:gd name="connsiteY2" fmla="*/ 108680 h 231076"/>
                <a:gd name="connsiteX3" fmla="*/ 57033 w 169154"/>
                <a:gd name="connsiteY3" fmla="*/ 128778 h 231076"/>
                <a:gd name="connsiteX4" fmla="*/ 49699 w 169154"/>
                <a:gd name="connsiteY4" fmla="*/ 163449 h 231076"/>
                <a:gd name="connsiteX5" fmla="*/ 359 w 169154"/>
                <a:gd name="connsiteY5" fmla="*/ 163449 h 231076"/>
                <a:gd name="connsiteX6" fmla="*/ 359 w 169154"/>
                <a:gd name="connsiteY6" fmla="*/ 231076 h 231076"/>
                <a:gd name="connsiteX7" fmla="*/ 110849 w 169154"/>
                <a:gd name="connsiteY7" fmla="*/ 231076 h 231076"/>
                <a:gd name="connsiteX8" fmla="*/ 133614 w 169154"/>
                <a:gd name="connsiteY8" fmla="*/ 110585 h 231076"/>
                <a:gd name="connsiteX9" fmla="*/ 103515 w 169154"/>
                <a:gd name="connsiteY9" fmla="*/ 88678 h 231076"/>
                <a:gd name="connsiteX10" fmla="*/ 114469 w 169154"/>
                <a:gd name="connsiteY10" fmla="*/ 66770 h 231076"/>
                <a:gd name="connsiteX11" fmla="*/ 161903 w 169154"/>
                <a:gd name="connsiteY11" fmla="*/ 66770 h 231076"/>
                <a:gd name="connsiteX12" fmla="*/ 161903 w 169154"/>
                <a:gd name="connsiteY12" fmla="*/ 95 h 23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154" h="231076">
                  <a:moveTo>
                    <a:pt x="162094" y="0"/>
                  </a:moveTo>
                  <a:lnTo>
                    <a:pt x="58938" y="0"/>
                  </a:lnTo>
                  <a:cubicBezTo>
                    <a:pt x="12361" y="857"/>
                    <a:pt x="-27835" y="70295"/>
                    <a:pt x="25124" y="108680"/>
                  </a:cubicBezTo>
                  <a:lnTo>
                    <a:pt x="57033" y="128778"/>
                  </a:lnTo>
                  <a:cubicBezTo>
                    <a:pt x="75321" y="140684"/>
                    <a:pt x="76178" y="163449"/>
                    <a:pt x="49699" y="163449"/>
                  </a:cubicBezTo>
                  <a:lnTo>
                    <a:pt x="359" y="163449"/>
                  </a:lnTo>
                  <a:lnTo>
                    <a:pt x="359" y="231076"/>
                  </a:lnTo>
                  <a:lnTo>
                    <a:pt x="110849" y="231076"/>
                  </a:lnTo>
                  <a:cubicBezTo>
                    <a:pt x="170190" y="231076"/>
                    <a:pt x="194860" y="145161"/>
                    <a:pt x="133614" y="110585"/>
                  </a:cubicBezTo>
                  <a:lnTo>
                    <a:pt x="103515" y="88678"/>
                  </a:lnTo>
                  <a:cubicBezTo>
                    <a:pt x="89799" y="75914"/>
                    <a:pt x="103515" y="66770"/>
                    <a:pt x="114469" y="66770"/>
                  </a:cubicBezTo>
                  <a:lnTo>
                    <a:pt x="161903" y="66770"/>
                  </a:lnTo>
                  <a:lnTo>
                    <a:pt x="161903" y="95"/>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7" name="Freeform: Shape 486">
              <a:extLst>
                <a:ext uri="{FF2B5EF4-FFF2-40B4-BE49-F238E27FC236}">
                  <a16:creationId xmlns:a16="http://schemas.microsoft.com/office/drawing/2014/main" id="{7DB7C0B5-0734-4313-80AC-08ECC0C09C74}"/>
                </a:ext>
              </a:extLst>
            </p:cNvPr>
            <p:cNvSpPr/>
            <p:nvPr/>
          </p:nvSpPr>
          <p:spPr>
            <a:xfrm>
              <a:off x="9194432" y="5769724"/>
              <a:ext cx="324421" cy="229933"/>
            </a:xfrm>
            <a:custGeom>
              <a:avLst/>
              <a:gdLst>
                <a:gd name="connsiteX0" fmla="*/ 247936 w 324421"/>
                <a:gd name="connsiteY0" fmla="*/ 0 h 229933"/>
                <a:gd name="connsiteX1" fmla="*/ 247745 w 324421"/>
                <a:gd name="connsiteY1" fmla="*/ 125540 h 229933"/>
                <a:gd name="connsiteX2" fmla="*/ 224123 w 324421"/>
                <a:gd name="connsiteY2" fmla="*/ 149924 h 229933"/>
                <a:gd name="connsiteX3" fmla="*/ 200596 w 324421"/>
                <a:gd name="connsiteY3" fmla="*/ 125540 h 229933"/>
                <a:gd name="connsiteX4" fmla="*/ 200406 w 324421"/>
                <a:gd name="connsiteY4" fmla="*/ 0 h 229933"/>
                <a:gd name="connsiteX5" fmla="*/ 124015 w 324421"/>
                <a:gd name="connsiteY5" fmla="*/ 0 h 229933"/>
                <a:gd name="connsiteX6" fmla="*/ 123825 w 324421"/>
                <a:gd name="connsiteY6" fmla="*/ 125540 h 229933"/>
                <a:gd name="connsiteX7" fmla="*/ 100203 w 324421"/>
                <a:gd name="connsiteY7" fmla="*/ 149924 h 229933"/>
                <a:gd name="connsiteX8" fmla="*/ 76676 w 324421"/>
                <a:gd name="connsiteY8" fmla="*/ 125540 h 229933"/>
                <a:gd name="connsiteX9" fmla="*/ 76676 w 324421"/>
                <a:gd name="connsiteY9" fmla="*/ 0 h 229933"/>
                <a:gd name="connsiteX10" fmla="*/ 0 w 324421"/>
                <a:gd name="connsiteY10" fmla="*/ 0 h 229933"/>
                <a:gd name="connsiteX11" fmla="*/ 0 w 324421"/>
                <a:gd name="connsiteY11" fmla="*/ 125540 h 229933"/>
                <a:gd name="connsiteX12" fmla="*/ 100203 w 324421"/>
                <a:gd name="connsiteY12" fmla="*/ 229934 h 229933"/>
                <a:gd name="connsiteX13" fmla="*/ 162211 w 324421"/>
                <a:gd name="connsiteY13" fmla="*/ 207645 h 229933"/>
                <a:gd name="connsiteX14" fmla="*/ 224218 w 324421"/>
                <a:gd name="connsiteY14" fmla="*/ 229934 h 229933"/>
                <a:gd name="connsiteX15" fmla="*/ 324421 w 324421"/>
                <a:gd name="connsiteY15" fmla="*/ 125540 h 229933"/>
                <a:gd name="connsiteX16" fmla="*/ 324421 w 324421"/>
                <a:gd name="connsiteY16" fmla="*/ 0 h 229933"/>
                <a:gd name="connsiteX17" fmla="*/ 247936 w 324421"/>
                <a:gd name="connsiteY17" fmla="*/ 0 h 229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24421" h="229933">
                  <a:moveTo>
                    <a:pt x="247936" y="0"/>
                  </a:moveTo>
                  <a:lnTo>
                    <a:pt x="247745" y="125540"/>
                  </a:lnTo>
                  <a:cubicBezTo>
                    <a:pt x="247745" y="139065"/>
                    <a:pt x="237077" y="149924"/>
                    <a:pt x="224123" y="149924"/>
                  </a:cubicBezTo>
                  <a:cubicBezTo>
                    <a:pt x="211169" y="149924"/>
                    <a:pt x="200596" y="139065"/>
                    <a:pt x="200596" y="125540"/>
                  </a:cubicBezTo>
                  <a:lnTo>
                    <a:pt x="200406" y="0"/>
                  </a:lnTo>
                  <a:lnTo>
                    <a:pt x="124015" y="0"/>
                  </a:lnTo>
                  <a:lnTo>
                    <a:pt x="123825" y="125540"/>
                  </a:lnTo>
                  <a:cubicBezTo>
                    <a:pt x="123825" y="139065"/>
                    <a:pt x="113157" y="149924"/>
                    <a:pt x="100203" y="149924"/>
                  </a:cubicBezTo>
                  <a:cubicBezTo>
                    <a:pt x="87249" y="149924"/>
                    <a:pt x="76676" y="139065"/>
                    <a:pt x="76676" y="125540"/>
                  </a:cubicBezTo>
                  <a:lnTo>
                    <a:pt x="76676" y="0"/>
                  </a:lnTo>
                  <a:lnTo>
                    <a:pt x="0" y="0"/>
                  </a:lnTo>
                  <a:lnTo>
                    <a:pt x="0" y="125540"/>
                  </a:lnTo>
                  <a:cubicBezTo>
                    <a:pt x="0" y="183166"/>
                    <a:pt x="44863" y="229934"/>
                    <a:pt x="100203" y="229934"/>
                  </a:cubicBezTo>
                  <a:cubicBezTo>
                    <a:pt x="123634" y="229934"/>
                    <a:pt x="145161" y="221552"/>
                    <a:pt x="162211" y="207645"/>
                  </a:cubicBezTo>
                  <a:cubicBezTo>
                    <a:pt x="179260" y="221647"/>
                    <a:pt x="200787" y="229934"/>
                    <a:pt x="224218" y="229934"/>
                  </a:cubicBezTo>
                  <a:cubicBezTo>
                    <a:pt x="279559" y="229934"/>
                    <a:pt x="324421" y="183261"/>
                    <a:pt x="324421" y="125540"/>
                  </a:cubicBezTo>
                  <a:lnTo>
                    <a:pt x="324421" y="0"/>
                  </a:lnTo>
                  <a:lnTo>
                    <a:pt x="247936"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8" name="Freeform: Shape 487">
              <a:extLst>
                <a:ext uri="{FF2B5EF4-FFF2-40B4-BE49-F238E27FC236}">
                  <a16:creationId xmlns:a16="http://schemas.microsoft.com/office/drawing/2014/main" id="{61FD3101-1FF5-4623-A453-175CE061D33B}"/>
                </a:ext>
              </a:extLst>
            </p:cNvPr>
            <p:cNvSpPr/>
            <p:nvPr/>
          </p:nvSpPr>
          <p:spPr>
            <a:xfrm>
              <a:off x="9537903" y="5769629"/>
              <a:ext cx="77438" cy="231171"/>
            </a:xfrm>
            <a:custGeom>
              <a:avLst/>
              <a:gdLst>
                <a:gd name="connsiteX0" fmla="*/ 0 w 77438"/>
                <a:gd name="connsiteY0" fmla="*/ 0 h 231171"/>
                <a:gd name="connsiteX1" fmla="*/ 77438 w 77438"/>
                <a:gd name="connsiteY1" fmla="*/ 0 h 231171"/>
                <a:gd name="connsiteX2" fmla="*/ 77438 w 77438"/>
                <a:gd name="connsiteY2" fmla="*/ 231172 h 231171"/>
                <a:gd name="connsiteX3" fmla="*/ 0 w 77438"/>
                <a:gd name="connsiteY3" fmla="*/ 231172 h 231171"/>
              </a:gdLst>
              <a:ahLst/>
              <a:cxnLst>
                <a:cxn ang="0">
                  <a:pos x="connsiteX0" y="connsiteY0"/>
                </a:cxn>
                <a:cxn ang="0">
                  <a:pos x="connsiteX1" y="connsiteY1"/>
                </a:cxn>
                <a:cxn ang="0">
                  <a:pos x="connsiteX2" y="connsiteY2"/>
                </a:cxn>
                <a:cxn ang="0">
                  <a:pos x="connsiteX3" y="connsiteY3"/>
                </a:cxn>
              </a:cxnLst>
              <a:rect l="l" t="t" r="r" b="b"/>
              <a:pathLst>
                <a:path w="77438" h="231171">
                  <a:moveTo>
                    <a:pt x="0" y="0"/>
                  </a:moveTo>
                  <a:lnTo>
                    <a:pt x="77438" y="0"/>
                  </a:lnTo>
                  <a:lnTo>
                    <a:pt x="77438" y="231172"/>
                  </a:lnTo>
                  <a:lnTo>
                    <a:pt x="0" y="23117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89" name="Freeform: Shape 488">
              <a:extLst>
                <a:ext uri="{FF2B5EF4-FFF2-40B4-BE49-F238E27FC236}">
                  <a16:creationId xmlns:a16="http://schemas.microsoft.com/office/drawing/2014/main" id="{24E77821-073A-4D31-B194-49FD6160ADCA}"/>
                </a:ext>
              </a:extLst>
            </p:cNvPr>
            <p:cNvSpPr/>
            <p:nvPr/>
          </p:nvSpPr>
          <p:spPr>
            <a:xfrm>
              <a:off x="9530760" y="5651233"/>
              <a:ext cx="91630" cy="89820"/>
            </a:xfrm>
            <a:custGeom>
              <a:avLst/>
              <a:gdLst>
                <a:gd name="connsiteX0" fmla="*/ 45815 w 91630"/>
                <a:gd name="connsiteY0" fmla="*/ 0 h 89820"/>
                <a:gd name="connsiteX1" fmla="*/ 0 w 91630"/>
                <a:gd name="connsiteY1" fmla="*/ 44958 h 89820"/>
                <a:gd name="connsiteX2" fmla="*/ 45815 w 91630"/>
                <a:gd name="connsiteY2" fmla="*/ 89821 h 89820"/>
                <a:gd name="connsiteX3" fmla="*/ 91630 w 91630"/>
                <a:gd name="connsiteY3" fmla="*/ 44958 h 89820"/>
                <a:gd name="connsiteX4" fmla="*/ 45815 w 91630"/>
                <a:gd name="connsiteY4" fmla="*/ 0 h 89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30" h="89820">
                  <a:moveTo>
                    <a:pt x="45815" y="0"/>
                  </a:moveTo>
                  <a:cubicBezTo>
                    <a:pt x="20479" y="0"/>
                    <a:pt x="0" y="20098"/>
                    <a:pt x="0" y="44958"/>
                  </a:cubicBezTo>
                  <a:cubicBezTo>
                    <a:pt x="0" y="69818"/>
                    <a:pt x="20479" y="89821"/>
                    <a:pt x="45815" y="89821"/>
                  </a:cubicBezTo>
                  <a:cubicBezTo>
                    <a:pt x="71152" y="89821"/>
                    <a:pt x="91630" y="69723"/>
                    <a:pt x="91630" y="44958"/>
                  </a:cubicBezTo>
                  <a:cubicBezTo>
                    <a:pt x="91630" y="20193"/>
                    <a:pt x="71152" y="0"/>
                    <a:pt x="45815" y="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0" name="Freeform: Shape 489">
              <a:extLst>
                <a:ext uri="{FF2B5EF4-FFF2-40B4-BE49-F238E27FC236}">
                  <a16:creationId xmlns:a16="http://schemas.microsoft.com/office/drawing/2014/main" id="{31A4B86F-5074-4BB3-B4AE-E7EDA445AE01}"/>
                </a:ext>
              </a:extLst>
            </p:cNvPr>
            <p:cNvSpPr/>
            <p:nvPr/>
          </p:nvSpPr>
          <p:spPr>
            <a:xfrm>
              <a:off x="9633630" y="5713527"/>
              <a:ext cx="130873" cy="286321"/>
            </a:xfrm>
            <a:custGeom>
              <a:avLst/>
              <a:gdLst>
                <a:gd name="connsiteX0" fmla="*/ 91916 w 130873"/>
                <a:gd name="connsiteY0" fmla="*/ 286322 h 286321"/>
                <a:gd name="connsiteX1" fmla="*/ 0 w 130873"/>
                <a:gd name="connsiteY1" fmla="*/ 183547 h 286321"/>
                <a:gd name="connsiteX2" fmla="*/ 0 w 130873"/>
                <a:gd name="connsiteY2" fmla="*/ 0 h 286321"/>
                <a:gd name="connsiteX3" fmla="*/ 75533 w 130873"/>
                <a:gd name="connsiteY3" fmla="*/ 0 h 286321"/>
                <a:gd name="connsiteX4" fmla="*/ 75533 w 130873"/>
                <a:gd name="connsiteY4" fmla="*/ 55721 h 286321"/>
                <a:gd name="connsiteX5" fmla="*/ 130873 w 130873"/>
                <a:gd name="connsiteY5" fmla="*/ 55721 h 286321"/>
                <a:gd name="connsiteX6" fmla="*/ 130873 w 130873"/>
                <a:gd name="connsiteY6" fmla="*/ 127064 h 286321"/>
                <a:gd name="connsiteX7" fmla="*/ 75628 w 130873"/>
                <a:gd name="connsiteY7" fmla="*/ 127064 h 286321"/>
                <a:gd name="connsiteX8" fmla="*/ 75628 w 130873"/>
                <a:gd name="connsiteY8" fmla="*/ 183547 h 286321"/>
                <a:gd name="connsiteX9" fmla="*/ 98965 w 130873"/>
                <a:gd name="connsiteY9" fmla="*/ 212789 h 286321"/>
                <a:gd name="connsiteX10" fmla="*/ 129159 w 130873"/>
                <a:gd name="connsiteY10" fmla="*/ 212789 h 286321"/>
                <a:gd name="connsiteX11" fmla="*/ 129159 w 130873"/>
                <a:gd name="connsiteY11" fmla="*/ 285845 h 286321"/>
                <a:gd name="connsiteX12" fmla="*/ 91916 w 130873"/>
                <a:gd name="connsiteY12" fmla="*/ 286322 h 28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873" h="286321">
                  <a:moveTo>
                    <a:pt x="91916" y="286322"/>
                  </a:moveTo>
                  <a:cubicBezTo>
                    <a:pt x="37338" y="286322"/>
                    <a:pt x="0" y="240316"/>
                    <a:pt x="0" y="183547"/>
                  </a:cubicBezTo>
                  <a:lnTo>
                    <a:pt x="0" y="0"/>
                  </a:lnTo>
                  <a:lnTo>
                    <a:pt x="75533" y="0"/>
                  </a:lnTo>
                  <a:lnTo>
                    <a:pt x="75533" y="55721"/>
                  </a:lnTo>
                  <a:lnTo>
                    <a:pt x="130873" y="55721"/>
                  </a:lnTo>
                  <a:lnTo>
                    <a:pt x="130873" y="127064"/>
                  </a:lnTo>
                  <a:lnTo>
                    <a:pt x="75628" y="127064"/>
                  </a:lnTo>
                  <a:lnTo>
                    <a:pt x="75628" y="183547"/>
                  </a:lnTo>
                  <a:cubicBezTo>
                    <a:pt x="75628" y="196787"/>
                    <a:pt x="86201" y="212789"/>
                    <a:pt x="98965" y="212789"/>
                  </a:cubicBezTo>
                  <a:lnTo>
                    <a:pt x="129159" y="212789"/>
                  </a:lnTo>
                  <a:lnTo>
                    <a:pt x="129159" y="285845"/>
                  </a:lnTo>
                  <a:lnTo>
                    <a:pt x="91916" y="286322"/>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1" name="Freeform: Shape 490">
              <a:extLst>
                <a:ext uri="{FF2B5EF4-FFF2-40B4-BE49-F238E27FC236}">
                  <a16:creationId xmlns:a16="http://schemas.microsoft.com/office/drawing/2014/main" id="{02650320-E130-465A-9E20-1939E4F3828B}"/>
                </a:ext>
              </a:extLst>
            </p:cNvPr>
            <p:cNvSpPr/>
            <p:nvPr/>
          </p:nvSpPr>
          <p:spPr>
            <a:xfrm>
              <a:off x="9772314" y="5769153"/>
              <a:ext cx="156400" cy="231457"/>
            </a:xfrm>
            <a:custGeom>
              <a:avLst/>
              <a:gdLst>
                <a:gd name="connsiteX0" fmla="*/ 116967 w 156400"/>
                <a:gd name="connsiteY0" fmla="*/ 231362 h 231457"/>
                <a:gd name="connsiteX1" fmla="*/ 0 w 156400"/>
                <a:gd name="connsiteY1" fmla="*/ 115824 h 231457"/>
                <a:gd name="connsiteX2" fmla="*/ 116967 w 156400"/>
                <a:gd name="connsiteY2" fmla="*/ 0 h 231457"/>
                <a:gd name="connsiteX3" fmla="*/ 156400 w 156400"/>
                <a:gd name="connsiteY3" fmla="*/ 0 h 231457"/>
                <a:gd name="connsiteX4" fmla="*/ 156400 w 156400"/>
                <a:gd name="connsiteY4" fmla="*/ 78581 h 231457"/>
                <a:gd name="connsiteX5" fmla="*/ 116967 w 156400"/>
                <a:gd name="connsiteY5" fmla="*/ 78581 h 231457"/>
                <a:gd name="connsiteX6" fmla="*/ 79438 w 156400"/>
                <a:gd name="connsiteY6" fmla="*/ 115824 h 231457"/>
                <a:gd name="connsiteX7" fmla="*/ 116967 w 156400"/>
                <a:gd name="connsiteY7" fmla="*/ 153067 h 231457"/>
                <a:gd name="connsiteX8" fmla="*/ 155543 w 156400"/>
                <a:gd name="connsiteY8" fmla="*/ 153067 h 231457"/>
                <a:gd name="connsiteX9" fmla="*/ 155543 w 156400"/>
                <a:gd name="connsiteY9" fmla="*/ 231267 h 231457"/>
                <a:gd name="connsiteX10" fmla="*/ 116967 w 156400"/>
                <a:gd name="connsiteY10" fmla="*/ 231458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400" h="231457">
                  <a:moveTo>
                    <a:pt x="116967" y="231362"/>
                  </a:moveTo>
                  <a:cubicBezTo>
                    <a:pt x="52388" y="231362"/>
                    <a:pt x="0" y="179737"/>
                    <a:pt x="0" y="115824"/>
                  </a:cubicBezTo>
                  <a:cubicBezTo>
                    <a:pt x="0" y="51911"/>
                    <a:pt x="52388" y="0"/>
                    <a:pt x="116967" y="0"/>
                  </a:cubicBezTo>
                  <a:lnTo>
                    <a:pt x="156400" y="0"/>
                  </a:lnTo>
                  <a:lnTo>
                    <a:pt x="156400" y="78581"/>
                  </a:lnTo>
                  <a:lnTo>
                    <a:pt x="116967" y="78581"/>
                  </a:lnTo>
                  <a:cubicBezTo>
                    <a:pt x="96202" y="78581"/>
                    <a:pt x="79438" y="95250"/>
                    <a:pt x="79438" y="115824"/>
                  </a:cubicBezTo>
                  <a:cubicBezTo>
                    <a:pt x="79438" y="136398"/>
                    <a:pt x="96298" y="153067"/>
                    <a:pt x="116967" y="153067"/>
                  </a:cubicBezTo>
                  <a:lnTo>
                    <a:pt x="155543" y="153067"/>
                  </a:lnTo>
                  <a:lnTo>
                    <a:pt x="155543" y="231267"/>
                  </a:lnTo>
                  <a:lnTo>
                    <a:pt x="116967" y="231458"/>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2" name="Freeform: Shape 491">
              <a:extLst>
                <a:ext uri="{FF2B5EF4-FFF2-40B4-BE49-F238E27FC236}">
                  <a16:creationId xmlns:a16="http://schemas.microsoft.com/office/drawing/2014/main" id="{6E8E8CC6-A223-4CB3-A29F-426D01EBF5C0}"/>
                </a:ext>
              </a:extLst>
            </p:cNvPr>
            <p:cNvSpPr/>
            <p:nvPr/>
          </p:nvSpPr>
          <p:spPr>
            <a:xfrm>
              <a:off x="9945669" y="5671712"/>
              <a:ext cx="212121" cy="328707"/>
            </a:xfrm>
            <a:custGeom>
              <a:avLst/>
              <a:gdLst>
                <a:gd name="connsiteX0" fmla="*/ 106013 w 212121"/>
                <a:gd name="connsiteY0" fmla="*/ 95059 h 328707"/>
                <a:gd name="connsiteX1" fmla="*/ 80296 w 212121"/>
                <a:gd name="connsiteY1" fmla="*/ 98203 h 328707"/>
                <a:gd name="connsiteX2" fmla="*/ 80296 w 212121"/>
                <a:gd name="connsiteY2" fmla="*/ 0 h 328707"/>
                <a:gd name="connsiteX3" fmla="*/ 0 w 212121"/>
                <a:gd name="connsiteY3" fmla="*/ 0 h 328707"/>
                <a:gd name="connsiteX4" fmla="*/ 0 w 212121"/>
                <a:gd name="connsiteY4" fmla="*/ 198120 h 328707"/>
                <a:gd name="connsiteX5" fmla="*/ 0 w 212121"/>
                <a:gd name="connsiteY5" fmla="*/ 201168 h 328707"/>
                <a:gd name="connsiteX6" fmla="*/ 0 w 212121"/>
                <a:gd name="connsiteY6" fmla="*/ 328708 h 328707"/>
                <a:gd name="connsiteX7" fmla="*/ 80581 w 212121"/>
                <a:gd name="connsiteY7" fmla="*/ 328708 h 328707"/>
                <a:gd name="connsiteX8" fmla="*/ 80772 w 212121"/>
                <a:gd name="connsiteY8" fmla="*/ 201168 h 328707"/>
                <a:gd name="connsiteX9" fmla="*/ 106013 w 212121"/>
                <a:gd name="connsiteY9" fmla="*/ 176403 h 328707"/>
                <a:gd name="connsiteX10" fmla="*/ 130969 w 212121"/>
                <a:gd name="connsiteY10" fmla="*/ 201168 h 328707"/>
                <a:gd name="connsiteX11" fmla="*/ 131159 w 212121"/>
                <a:gd name="connsiteY11" fmla="*/ 328708 h 328707"/>
                <a:gd name="connsiteX12" fmla="*/ 212122 w 212121"/>
                <a:gd name="connsiteY12" fmla="*/ 328708 h 328707"/>
                <a:gd name="connsiteX13" fmla="*/ 212122 w 212121"/>
                <a:gd name="connsiteY13" fmla="*/ 201168 h 328707"/>
                <a:gd name="connsiteX14" fmla="*/ 106108 w 212121"/>
                <a:gd name="connsiteY14" fmla="*/ 95155 h 328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121" h="328707">
                  <a:moveTo>
                    <a:pt x="106013" y="95059"/>
                  </a:moveTo>
                  <a:cubicBezTo>
                    <a:pt x="97155" y="95059"/>
                    <a:pt x="88583" y="96107"/>
                    <a:pt x="80296" y="98203"/>
                  </a:cubicBezTo>
                  <a:lnTo>
                    <a:pt x="80296" y="0"/>
                  </a:lnTo>
                  <a:lnTo>
                    <a:pt x="0" y="0"/>
                  </a:lnTo>
                  <a:lnTo>
                    <a:pt x="0" y="198120"/>
                  </a:lnTo>
                  <a:cubicBezTo>
                    <a:pt x="0" y="199168"/>
                    <a:pt x="0" y="200215"/>
                    <a:pt x="0" y="201168"/>
                  </a:cubicBezTo>
                  <a:lnTo>
                    <a:pt x="0" y="328708"/>
                  </a:lnTo>
                  <a:lnTo>
                    <a:pt x="80581" y="328708"/>
                  </a:lnTo>
                  <a:lnTo>
                    <a:pt x="80772" y="201168"/>
                  </a:lnTo>
                  <a:cubicBezTo>
                    <a:pt x="81058" y="187452"/>
                    <a:pt x="92297" y="176403"/>
                    <a:pt x="106013" y="176403"/>
                  </a:cubicBezTo>
                  <a:cubicBezTo>
                    <a:pt x="119729" y="176403"/>
                    <a:pt x="130969" y="187452"/>
                    <a:pt x="130969" y="201168"/>
                  </a:cubicBezTo>
                  <a:lnTo>
                    <a:pt x="131159" y="328708"/>
                  </a:lnTo>
                  <a:lnTo>
                    <a:pt x="212122" y="328708"/>
                  </a:lnTo>
                  <a:lnTo>
                    <a:pt x="212122" y="201168"/>
                  </a:lnTo>
                  <a:cubicBezTo>
                    <a:pt x="212122" y="142589"/>
                    <a:pt x="164687" y="95155"/>
                    <a:pt x="106108" y="95155"/>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3" name="Freeform: Shape 492">
              <a:extLst>
                <a:ext uri="{FF2B5EF4-FFF2-40B4-BE49-F238E27FC236}">
                  <a16:creationId xmlns:a16="http://schemas.microsoft.com/office/drawing/2014/main" id="{3963639B-E9CA-403D-B1E5-A0E20FE92DB2}"/>
                </a:ext>
              </a:extLst>
            </p:cNvPr>
            <p:cNvSpPr/>
            <p:nvPr/>
          </p:nvSpPr>
          <p:spPr>
            <a:xfrm>
              <a:off x="7620807" y="5501310"/>
              <a:ext cx="2675000" cy="695324"/>
            </a:xfrm>
            <a:custGeom>
              <a:avLst/>
              <a:gdLst>
                <a:gd name="connsiteX0" fmla="*/ 51245 w 2675000"/>
                <a:gd name="connsiteY0" fmla="*/ 644081 h 695324"/>
                <a:gd name="connsiteX1" fmla="*/ 51245 w 2675000"/>
                <a:gd name="connsiteY1" fmla="*/ 51340 h 695324"/>
                <a:gd name="connsiteX2" fmla="*/ 2623757 w 2675000"/>
                <a:gd name="connsiteY2" fmla="*/ 51340 h 695324"/>
                <a:gd name="connsiteX3" fmla="*/ 2623757 w 2675000"/>
                <a:gd name="connsiteY3" fmla="*/ 644081 h 695324"/>
                <a:gd name="connsiteX4" fmla="*/ 51245 w 2675000"/>
                <a:gd name="connsiteY4" fmla="*/ 644081 h 695324"/>
                <a:gd name="connsiteX5" fmla="*/ 2649379 w 2675000"/>
                <a:gd name="connsiteY5" fmla="*/ 0 h 695324"/>
                <a:gd name="connsiteX6" fmla="*/ 0 w 2675000"/>
                <a:gd name="connsiteY6" fmla="*/ 0 h 695324"/>
                <a:gd name="connsiteX7" fmla="*/ 0 w 2675000"/>
                <a:gd name="connsiteY7" fmla="*/ 695325 h 695324"/>
                <a:gd name="connsiteX8" fmla="*/ 2675001 w 2675000"/>
                <a:gd name="connsiteY8" fmla="*/ 695325 h 695324"/>
                <a:gd name="connsiteX9" fmla="*/ 2675001 w 2675000"/>
                <a:gd name="connsiteY9" fmla="*/ 0 h 695324"/>
                <a:gd name="connsiteX10" fmla="*/ 2649379 w 2675000"/>
                <a:gd name="connsiteY10" fmla="*/ 0 h 69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75000" h="695324">
                  <a:moveTo>
                    <a:pt x="51245" y="644081"/>
                  </a:moveTo>
                  <a:lnTo>
                    <a:pt x="51245" y="51340"/>
                  </a:lnTo>
                  <a:lnTo>
                    <a:pt x="2623757" y="51340"/>
                  </a:lnTo>
                  <a:lnTo>
                    <a:pt x="2623757" y="644081"/>
                  </a:lnTo>
                  <a:lnTo>
                    <a:pt x="51245" y="644081"/>
                  </a:lnTo>
                  <a:close/>
                  <a:moveTo>
                    <a:pt x="2649379" y="0"/>
                  </a:moveTo>
                  <a:lnTo>
                    <a:pt x="0" y="0"/>
                  </a:lnTo>
                  <a:lnTo>
                    <a:pt x="0" y="695325"/>
                  </a:lnTo>
                  <a:lnTo>
                    <a:pt x="2675001" y="695325"/>
                  </a:lnTo>
                  <a:lnTo>
                    <a:pt x="2675001" y="0"/>
                  </a:lnTo>
                  <a:lnTo>
                    <a:pt x="2649379"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4" name="Freeform: Shape 493">
              <a:extLst>
                <a:ext uri="{FF2B5EF4-FFF2-40B4-BE49-F238E27FC236}">
                  <a16:creationId xmlns:a16="http://schemas.microsoft.com/office/drawing/2014/main" id="{4FB123A4-CCCF-409C-9D65-35D0050D6357}"/>
                </a:ext>
              </a:extLst>
            </p:cNvPr>
            <p:cNvSpPr/>
            <p:nvPr/>
          </p:nvSpPr>
          <p:spPr>
            <a:xfrm>
              <a:off x="8415191" y="5768105"/>
              <a:ext cx="174023" cy="232409"/>
            </a:xfrm>
            <a:custGeom>
              <a:avLst/>
              <a:gdLst>
                <a:gd name="connsiteX0" fmla="*/ 136875 w 174023"/>
                <a:gd name="connsiteY0" fmla="*/ 105251 h 232409"/>
                <a:gd name="connsiteX1" fmla="*/ 137542 w 174023"/>
                <a:gd name="connsiteY1" fmla="*/ 105728 h 232409"/>
                <a:gd name="connsiteX2" fmla="*/ 109538 w 174023"/>
                <a:gd name="connsiteY2" fmla="*/ 85344 h 232409"/>
                <a:gd name="connsiteX3" fmla="*/ 106967 w 174023"/>
                <a:gd name="connsiteY3" fmla="*/ 82201 h 232409"/>
                <a:gd name="connsiteX4" fmla="*/ 106490 w 174023"/>
                <a:gd name="connsiteY4" fmla="*/ 80867 h 232409"/>
                <a:gd name="connsiteX5" fmla="*/ 106776 w 174023"/>
                <a:gd name="connsiteY5" fmla="*/ 80296 h 232409"/>
                <a:gd name="connsiteX6" fmla="*/ 109919 w 174023"/>
                <a:gd name="connsiteY6" fmla="*/ 78105 h 232409"/>
                <a:gd name="connsiteX7" fmla="*/ 115349 w 174023"/>
                <a:gd name="connsiteY7" fmla="*/ 76962 h 232409"/>
                <a:gd name="connsiteX8" fmla="*/ 167260 w 174023"/>
                <a:gd name="connsiteY8" fmla="*/ 76962 h 232409"/>
                <a:gd name="connsiteX9" fmla="*/ 167260 w 174023"/>
                <a:gd name="connsiteY9" fmla="*/ 0 h 232409"/>
                <a:gd name="connsiteX10" fmla="*/ 62580 w 174023"/>
                <a:gd name="connsiteY10" fmla="*/ 0 h 232409"/>
                <a:gd name="connsiteX11" fmla="*/ 18765 w 174023"/>
                <a:gd name="connsiteY11" fmla="*/ 20955 h 232409"/>
                <a:gd name="connsiteX12" fmla="*/ 1 w 174023"/>
                <a:gd name="connsiteY12" fmla="*/ 66580 h 232409"/>
                <a:gd name="connsiteX13" fmla="*/ 26671 w 174023"/>
                <a:gd name="connsiteY13" fmla="*/ 115348 h 232409"/>
                <a:gd name="connsiteX14" fmla="*/ 26861 w 174023"/>
                <a:gd name="connsiteY14" fmla="*/ 115348 h 232409"/>
                <a:gd name="connsiteX15" fmla="*/ 27052 w 174023"/>
                <a:gd name="connsiteY15" fmla="*/ 115634 h 232409"/>
                <a:gd name="connsiteX16" fmla="*/ 57246 w 174023"/>
                <a:gd name="connsiteY16" fmla="*/ 134588 h 232409"/>
                <a:gd name="connsiteX17" fmla="*/ 57246 w 174023"/>
                <a:gd name="connsiteY17" fmla="*/ 134588 h 232409"/>
                <a:gd name="connsiteX18" fmla="*/ 66581 w 174023"/>
                <a:gd name="connsiteY18" fmla="*/ 147828 h 232409"/>
                <a:gd name="connsiteX19" fmla="*/ 64580 w 174023"/>
                <a:gd name="connsiteY19" fmla="*/ 152019 h 232409"/>
                <a:gd name="connsiteX20" fmla="*/ 54103 w 174023"/>
                <a:gd name="connsiteY20" fmla="*/ 154591 h 232409"/>
                <a:gd name="connsiteX21" fmla="*/ 477 w 174023"/>
                <a:gd name="connsiteY21" fmla="*/ 154591 h 232409"/>
                <a:gd name="connsiteX22" fmla="*/ 477 w 174023"/>
                <a:gd name="connsiteY22" fmla="*/ 232410 h 232409"/>
                <a:gd name="connsiteX23" fmla="*/ 111920 w 174023"/>
                <a:gd name="connsiteY23" fmla="*/ 232410 h 232409"/>
                <a:gd name="connsiteX24" fmla="*/ 157259 w 174023"/>
                <a:gd name="connsiteY24" fmla="*/ 211931 h 232409"/>
                <a:gd name="connsiteX25" fmla="*/ 174023 w 174023"/>
                <a:gd name="connsiteY25" fmla="*/ 166592 h 232409"/>
                <a:gd name="connsiteX26" fmla="*/ 136970 w 174023"/>
                <a:gd name="connsiteY26" fmla="*/ 105346 h 232409"/>
                <a:gd name="connsiteX27" fmla="*/ 146686 w 174023"/>
                <a:gd name="connsiteY27" fmla="*/ 202597 h 232409"/>
                <a:gd name="connsiteX28" fmla="*/ 111824 w 174023"/>
                <a:gd name="connsiteY28" fmla="*/ 218313 h 232409"/>
                <a:gd name="connsiteX29" fmla="*/ 14288 w 174023"/>
                <a:gd name="connsiteY29" fmla="*/ 218313 h 232409"/>
                <a:gd name="connsiteX30" fmla="*/ 14288 w 174023"/>
                <a:gd name="connsiteY30" fmla="*/ 168307 h 232409"/>
                <a:gd name="connsiteX31" fmla="*/ 54008 w 174023"/>
                <a:gd name="connsiteY31" fmla="*/ 168307 h 232409"/>
                <a:gd name="connsiteX32" fmla="*/ 73058 w 174023"/>
                <a:gd name="connsiteY32" fmla="*/ 162782 h 232409"/>
                <a:gd name="connsiteX33" fmla="*/ 80392 w 174023"/>
                <a:gd name="connsiteY33" fmla="*/ 147638 h 232409"/>
                <a:gd name="connsiteX34" fmla="*/ 64771 w 174023"/>
                <a:gd name="connsiteY34" fmla="*/ 122682 h 232409"/>
                <a:gd name="connsiteX35" fmla="*/ 64771 w 174023"/>
                <a:gd name="connsiteY35" fmla="*/ 122682 h 232409"/>
                <a:gd name="connsiteX36" fmla="*/ 34767 w 174023"/>
                <a:gd name="connsiteY36" fmla="*/ 103823 h 232409"/>
                <a:gd name="connsiteX37" fmla="*/ 34767 w 174023"/>
                <a:gd name="connsiteY37" fmla="*/ 103823 h 232409"/>
                <a:gd name="connsiteX38" fmla="*/ 34386 w 174023"/>
                <a:gd name="connsiteY38" fmla="*/ 103632 h 232409"/>
                <a:gd name="connsiteX39" fmla="*/ 34672 w 174023"/>
                <a:gd name="connsiteY39" fmla="*/ 103823 h 232409"/>
                <a:gd name="connsiteX40" fmla="*/ 13907 w 174023"/>
                <a:gd name="connsiteY40" fmla="*/ 66389 h 232409"/>
                <a:gd name="connsiteX41" fmla="*/ 28957 w 174023"/>
                <a:gd name="connsiteY41" fmla="*/ 30194 h 232409"/>
                <a:gd name="connsiteX42" fmla="*/ 62866 w 174023"/>
                <a:gd name="connsiteY42" fmla="*/ 13621 h 232409"/>
                <a:gd name="connsiteX43" fmla="*/ 153449 w 174023"/>
                <a:gd name="connsiteY43" fmla="*/ 13621 h 232409"/>
                <a:gd name="connsiteX44" fmla="*/ 153449 w 174023"/>
                <a:gd name="connsiteY44" fmla="*/ 62770 h 232409"/>
                <a:gd name="connsiteX45" fmla="*/ 115349 w 174023"/>
                <a:gd name="connsiteY45" fmla="*/ 62770 h 232409"/>
                <a:gd name="connsiteX46" fmla="*/ 101061 w 174023"/>
                <a:gd name="connsiteY46" fmla="*/ 66770 h 232409"/>
                <a:gd name="connsiteX47" fmla="*/ 95251 w 174023"/>
                <a:gd name="connsiteY47" fmla="*/ 72200 h 232409"/>
                <a:gd name="connsiteX48" fmla="*/ 92584 w 174023"/>
                <a:gd name="connsiteY48" fmla="*/ 80677 h 232409"/>
                <a:gd name="connsiteX49" fmla="*/ 94679 w 174023"/>
                <a:gd name="connsiteY49" fmla="*/ 88583 h 232409"/>
                <a:gd name="connsiteX50" fmla="*/ 100204 w 174023"/>
                <a:gd name="connsiteY50" fmla="*/ 95536 h 232409"/>
                <a:gd name="connsiteX51" fmla="*/ 100490 w 174023"/>
                <a:gd name="connsiteY51" fmla="*/ 95821 h 232409"/>
                <a:gd name="connsiteX52" fmla="*/ 100871 w 174023"/>
                <a:gd name="connsiteY52" fmla="*/ 96107 h 232409"/>
                <a:gd name="connsiteX53" fmla="*/ 129350 w 174023"/>
                <a:gd name="connsiteY53" fmla="*/ 116872 h 232409"/>
                <a:gd name="connsiteX54" fmla="*/ 129636 w 174023"/>
                <a:gd name="connsiteY54" fmla="*/ 117062 h 232409"/>
                <a:gd name="connsiteX55" fmla="*/ 130017 w 174023"/>
                <a:gd name="connsiteY55" fmla="*/ 117253 h 232409"/>
                <a:gd name="connsiteX56" fmla="*/ 160021 w 174023"/>
                <a:gd name="connsiteY56" fmla="*/ 166307 h 232409"/>
                <a:gd name="connsiteX57" fmla="*/ 146686 w 174023"/>
                <a:gd name="connsiteY57" fmla="*/ 202502 h 23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74023" h="232409">
                  <a:moveTo>
                    <a:pt x="136875" y="105251"/>
                  </a:moveTo>
                  <a:lnTo>
                    <a:pt x="137542" y="105728"/>
                  </a:lnTo>
                  <a:lnTo>
                    <a:pt x="109538" y="85344"/>
                  </a:lnTo>
                  <a:cubicBezTo>
                    <a:pt x="108205" y="84011"/>
                    <a:pt x="107348" y="82867"/>
                    <a:pt x="106967" y="82201"/>
                  </a:cubicBezTo>
                  <a:cubicBezTo>
                    <a:pt x="106586" y="81343"/>
                    <a:pt x="106490" y="80963"/>
                    <a:pt x="106490" y="80867"/>
                  </a:cubicBezTo>
                  <a:lnTo>
                    <a:pt x="106776" y="80296"/>
                  </a:lnTo>
                  <a:cubicBezTo>
                    <a:pt x="107157" y="79724"/>
                    <a:pt x="108205" y="78772"/>
                    <a:pt x="109919" y="78105"/>
                  </a:cubicBezTo>
                  <a:cubicBezTo>
                    <a:pt x="111539" y="77343"/>
                    <a:pt x="113634" y="76962"/>
                    <a:pt x="115349" y="76962"/>
                  </a:cubicBezTo>
                  <a:lnTo>
                    <a:pt x="167260" y="76962"/>
                  </a:lnTo>
                  <a:lnTo>
                    <a:pt x="167260" y="0"/>
                  </a:lnTo>
                  <a:lnTo>
                    <a:pt x="62580" y="0"/>
                  </a:lnTo>
                  <a:cubicBezTo>
                    <a:pt x="45626" y="381"/>
                    <a:pt x="30100" y="8763"/>
                    <a:pt x="18765" y="20955"/>
                  </a:cubicBezTo>
                  <a:cubicBezTo>
                    <a:pt x="7430" y="33242"/>
                    <a:pt x="1" y="49530"/>
                    <a:pt x="1" y="66580"/>
                  </a:cubicBezTo>
                  <a:cubicBezTo>
                    <a:pt x="-94" y="84011"/>
                    <a:pt x="8097" y="102013"/>
                    <a:pt x="26671" y="115348"/>
                  </a:cubicBezTo>
                  <a:lnTo>
                    <a:pt x="26861" y="115348"/>
                  </a:lnTo>
                  <a:lnTo>
                    <a:pt x="27052" y="115634"/>
                  </a:lnTo>
                  <a:lnTo>
                    <a:pt x="57246" y="134588"/>
                  </a:lnTo>
                  <a:lnTo>
                    <a:pt x="57246" y="134588"/>
                  </a:lnTo>
                  <a:cubicBezTo>
                    <a:pt x="63818" y="138684"/>
                    <a:pt x="66676" y="144590"/>
                    <a:pt x="66581" y="147828"/>
                  </a:cubicBezTo>
                  <a:cubicBezTo>
                    <a:pt x="66581" y="149733"/>
                    <a:pt x="66104" y="150781"/>
                    <a:pt x="64580" y="152019"/>
                  </a:cubicBezTo>
                  <a:cubicBezTo>
                    <a:pt x="63056" y="153257"/>
                    <a:pt x="59818" y="154591"/>
                    <a:pt x="54103" y="154591"/>
                  </a:cubicBezTo>
                  <a:lnTo>
                    <a:pt x="477" y="154591"/>
                  </a:lnTo>
                  <a:lnTo>
                    <a:pt x="477" y="232410"/>
                  </a:lnTo>
                  <a:lnTo>
                    <a:pt x="111920" y="232410"/>
                  </a:lnTo>
                  <a:cubicBezTo>
                    <a:pt x="130684" y="232410"/>
                    <a:pt x="146495" y="224218"/>
                    <a:pt x="157259" y="211931"/>
                  </a:cubicBezTo>
                  <a:cubicBezTo>
                    <a:pt x="168022" y="199644"/>
                    <a:pt x="174023" y="183356"/>
                    <a:pt x="174023" y="166592"/>
                  </a:cubicBezTo>
                  <a:cubicBezTo>
                    <a:pt x="174118" y="143732"/>
                    <a:pt x="162497" y="119825"/>
                    <a:pt x="136970" y="105346"/>
                  </a:cubicBezTo>
                  <a:close/>
                  <a:moveTo>
                    <a:pt x="146686" y="202597"/>
                  </a:moveTo>
                  <a:cubicBezTo>
                    <a:pt x="138209" y="212217"/>
                    <a:pt x="126493" y="218313"/>
                    <a:pt x="111824" y="218313"/>
                  </a:cubicBezTo>
                  <a:lnTo>
                    <a:pt x="14288" y="218313"/>
                  </a:lnTo>
                  <a:lnTo>
                    <a:pt x="14288" y="168307"/>
                  </a:lnTo>
                  <a:lnTo>
                    <a:pt x="54008" y="168307"/>
                  </a:lnTo>
                  <a:cubicBezTo>
                    <a:pt x="61723" y="168307"/>
                    <a:pt x="68200" y="166592"/>
                    <a:pt x="73058" y="162782"/>
                  </a:cubicBezTo>
                  <a:cubicBezTo>
                    <a:pt x="77915" y="159067"/>
                    <a:pt x="80487" y="153257"/>
                    <a:pt x="80392" y="147638"/>
                  </a:cubicBezTo>
                  <a:cubicBezTo>
                    <a:pt x="80297" y="137922"/>
                    <a:pt x="74201" y="128873"/>
                    <a:pt x="64771" y="122682"/>
                  </a:cubicBezTo>
                  <a:lnTo>
                    <a:pt x="64771" y="122682"/>
                  </a:lnTo>
                  <a:lnTo>
                    <a:pt x="34767" y="103823"/>
                  </a:lnTo>
                  <a:lnTo>
                    <a:pt x="34767" y="103823"/>
                  </a:lnTo>
                  <a:lnTo>
                    <a:pt x="34386" y="103632"/>
                  </a:lnTo>
                  <a:lnTo>
                    <a:pt x="34672" y="103823"/>
                  </a:lnTo>
                  <a:cubicBezTo>
                    <a:pt x="19432" y="92678"/>
                    <a:pt x="13907" y="79629"/>
                    <a:pt x="13907" y="66389"/>
                  </a:cubicBezTo>
                  <a:cubicBezTo>
                    <a:pt x="13907" y="53435"/>
                    <a:pt x="19718" y="40100"/>
                    <a:pt x="28957" y="30194"/>
                  </a:cubicBezTo>
                  <a:cubicBezTo>
                    <a:pt x="38196" y="20288"/>
                    <a:pt x="50579" y="13907"/>
                    <a:pt x="62866" y="13621"/>
                  </a:cubicBezTo>
                  <a:lnTo>
                    <a:pt x="153449" y="13621"/>
                  </a:lnTo>
                  <a:lnTo>
                    <a:pt x="153449" y="62770"/>
                  </a:lnTo>
                  <a:lnTo>
                    <a:pt x="115349" y="62770"/>
                  </a:lnTo>
                  <a:cubicBezTo>
                    <a:pt x="110396" y="62770"/>
                    <a:pt x="105443" y="64103"/>
                    <a:pt x="101061" y="66770"/>
                  </a:cubicBezTo>
                  <a:cubicBezTo>
                    <a:pt x="98870" y="68104"/>
                    <a:pt x="96870" y="69818"/>
                    <a:pt x="95251" y="72200"/>
                  </a:cubicBezTo>
                  <a:cubicBezTo>
                    <a:pt x="93632" y="74486"/>
                    <a:pt x="92584" y="77534"/>
                    <a:pt x="92584" y="80677"/>
                  </a:cubicBezTo>
                  <a:cubicBezTo>
                    <a:pt x="92584" y="83344"/>
                    <a:pt x="93346" y="86106"/>
                    <a:pt x="94679" y="88583"/>
                  </a:cubicBezTo>
                  <a:cubicBezTo>
                    <a:pt x="96013" y="91059"/>
                    <a:pt x="97918" y="93345"/>
                    <a:pt x="100204" y="95536"/>
                  </a:cubicBezTo>
                  <a:lnTo>
                    <a:pt x="100490" y="95821"/>
                  </a:lnTo>
                  <a:lnTo>
                    <a:pt x="100871" y="96107"/>
                  </a:lnTo>
                  <a:lnTo>
                    <a:pt x="129350" y="116872"/>
                  </a:lnTo>
                  <a:lnTo>
                    <a:pt x="129636" y="117062"/>
                  </a:lnTo>
                  <a:lnTo>
                    <a:pt x="130017" y="117253"/>
                  </a:lnTo>
                  <a:cubicBezTo>
                    <a:pt x="151353" y="129445"/>
                    <a:pt x="159926" y="147923"/>
                    <a:pt x="160021" y="166307"/>
                  </a:cubicBezTo>
                  <a:cubicBezTo>
                    <a:pt x="160021" y="179737"/>
                    <a:pt x="155163" y="192881"/>
                    <a:pt x="146686" y="202502"/>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5" name="Freeform: Shape 494">
              <a:extLst>
                <a:ext uri="{FF2B5EF4-FFF2-40B4-BE49-F238E27FC236}">
                  <a16:creationId xmlns:a16="http://schemas.microsoft.com/office/drawing/2014/main" id="{26031F18-A31D-46CD-9D33-79B3611E38B2}"/>
                </a:ext>
              </a:extLst>
            </p:cNvPr>
            <p:cNvSpPr/>
            <p:nvPr/>
          </p:nvSpPr>
          <p:spPr>
            <a:xfrm>
              <a:off x="7753871" y="5768105"/>
              <a:ext cx="174022" cy="232409"/>
            </a:xfrm>
            <a:custGeom>
              <a:avLst/>
              <a:gdLst>
                <a:gd name="connsiteX0" fmla="*/ 136874 w 174022"/>
                <a:gd name="connsiteY0" fmla="*/ 105251 h 232409"/>
                <a:gd name="connsiteX1" fmla="*/ 137541 w 174022"/>
                <a:gd name="connsiteY1" fmla="*/ 105728 h 232409"/>
                <a:gd name="connsiteX2" fmla="*/ 109537 w 174022"/>
                <a:gd name="connsiteY2" fmla="*/ 85344 h 232409"/>
                <a:gd name="connsiteX3" fmla="*/ 106966 w 174022"/>
                <a:gd name="connsiteY3" fmla="*/ 82201 h 232409"/>
                <a:gd name="connsiteX4" fmla="*/ 106489 w 174022"/>
                <a:gd name="connsiteY4" fmla="*/ 80867 h 232409"/>
                <a:gd name="connsiteX5" fmla="*/ 106775 w 174022"/>
                <a:gd name="connsiteY5" fmla="*/ 80296 h 232409"/>
                <a:gd name="connsiteX6" fmla="*/ 109919 w 174022"/>
                <a:gd name="connsiteY6" fmla="*/ 78105 h 232409"/>
                <a:gd name="connsiteX7" fmla="*/ 115348 w 174022"/>
                <a:gd name="connsiteY7" fmla="*/ 76962 h 232409"/>
                <a:gd name="connsiteX8" fmla="*/ 167259 w 174022"/>
                <a:gd name="connsiteY8" fmla="*/ 76962 h 232409"/>
                <a:gd name="connsiteX9" fmla="*/ 167259 w 174022"/>
                <a:gd name="connsiteY9" fmla="*/ 0 h 232409"/>
                <a:gd name="connsiteX10" fmla="*/ 62579 w 174022"/>
                <a:gd name="connsiteY10" fmla="*/ 0 h 232409"/>
                <a:gd name="connsiteX11" fmla="*/ 18764 w 174022"/>
                <a:gd name="connsiteY11" fmla="*/ 20955 h 232409"/>
                <a:gd name="connsiteX12" fmla="*/ 0 w 174022"/>
                <a:gd name="connsiteY12" fmla="*/ 66580 h 232409"/>
                <a:gd name="connsiteX13" fmla="*/ 26670 w 174022"/>
                <a:gd name="connsiteY13" fmla="*/ 115348 h 232409"/>
                <a:gd name="connsiteX14" fmla="*/ 26861 w 174022"/>
                <a:gd name="connsiteY14" fmla="*/ 115348 h 232409"/>
                <a:gd name="connsiteX15" fmla="*/ 27051 w 174022"/>
                <a:gd name="connsiteY15" fmla="*/ 115634 h 232409"/>
                <a:gd name="connsiteX16" fmla="*/ 57245 w 174022"/>
                <a:gd name="connsiteY16" fmla="*/ 134588 h 232409"/>
                <a:gd name="connsiteX17" fmla="*/ 57245 w 174022"/>
                <a:gd name="connsiteY17" fmla="*/ 134588 h 232409"/>
                <a:gd name="connsiteX18" fmla="*/ 66580 w 174022"/>
                <a:gd name="connsiteY18" fmla="*/ 147828 h 232409"/>
                <a:gd name="connsiteX19" fmla="*/ 64579 w 174022"/>
                <a:gd name="connsiteY19" fmla="*/ 152019 h 232409"/>
                <a:gd name="connsiteX20" fmla="*/ 54102 w 174022"/>
                <a:gd name="connsiteY20" fmla="*/ 154591 h 232409"/>
                <a:gd name="connsiteX21" fmla="*/ 476 w 174022"/>
                <a:gd name="connsiteY21" fmla="*/ 154591 h 232409"/>
                <a:gd name="connsiteX22" fmla="*/ 476 w 174022"/>
                <a:gd name="connsiteY22" fmla="*/ 232410 h 232409"/>
                <a:gd name="connsiteX23" fmla="*/ 111919 w 174022"/>
                <a:gd name="connsiteY23" fmla="*/ 232410 h 232409"/>
                <a:gd name="connsiteX24" fmla="*/ 157258 w 174022"/>
                <a:gd name="connsiteY24" fmla="*/ 211931 h 232409"/>
                <a:gd name="connsiteX25" fmla="*/ 174022 w 174022"/>
                <a:gd name="connsiteY25" fmla="*/ 166592 h 232409"/>
                <a:gd name="connsiteX26" fmla="*/ 136970 w 174022"/>
                <a:gd name="connsiteY26" fmla="*/ 105346 h 232409"/>
                <a:gd name="connsiteX27" fmla="*/ 146685 w 174022"/>
                <a:gd name="connsiteY27" fmla="*/ 202597 h 232409"/>
                <a:gd name="connsiteX28" fmla="*/ 111823 w 174022"/>
                <a:gd name="connsiteY28" fmla="*/ 218313 h 232409"/>
                <a:gd name="connsiteX29" fmla="*/ 14288 w 174022"/>
                <a:gd name="connsiteY29" fmla="*/ 218313 h 232409"/>
                <a:gd name="connsiteX30" fmla="*/ 14288 w 174022"/>
                <a:gd name="connsiteY30" fmla="*/ 168307 h 232409"/>
                <a:gd name="connsiteX31" fmla="*/ 54007 w 174022"/>
                <a:gd name="connsiteY31" fmla="*/ 168307 h 232409"/>
                <a:gd name="connsiteX32" fmla="*/ 73057 w 174022"/>
                <a:gd name="connsiteY32" fmla="*/ 162782 h 232409"/>
                <a:gd name="connsiteX33" fmla="*/ 80391 w 174022"/>
                <a:gd name="connsiteY33" fmla="*/ 147638 h 232409"/>
                <a:gd name="connsiteX34" fmla="*/ 64770 w 174022"/>
                <a:gd name="connsiteY34" fmla="*/ 122682 h 232409"/>
                <a:gd name="connsiteX35" fmla="*/ 64770 w 174022"/>
                <a:gd name="connsiteY35" fmla="*/ 122682 h 232409"/>
                <a:gd name="connsiteX36" fmla="*/ 34861 w 174022"/>
                <a:gd name="connsiteY36" fmla="*/ 103823 h 232409"/>
                <a:gd name="connsiteX37" fmla="*/ 34861 w 174022"/>
                <a:gd name="connsiteY37" fmla="*/ 103823 h 232409"/>
                <a:gd name="connsiteX38" fmla="*/ 34481 w 174022"/>
                <a:gd name="connsiteY38" fmla="*/ 103632 h 232409"/>
                <a:gd name="connsiteX39" fmla="*/ 34766 w 174022"/>
                <a:gd name="connsiteY39" fmla="*/ 103823 h 232409"/>
                <a:gd name="connsiteX40" fmla="*/ 13907 w 174022"/>
                <a:gd name="connsiteY40" fmla="*/ 66389 h 232409"/>
                <a:gd name="connsiteX41" fmla="*/ 28956 w 174022"/>
                <a:gd name="connsiteY41" fmla="*/ 30194 h 232409"/>
                <a:gd name="connsiteX42" fmla="*/ 62770 w 174022"/>
                <a:gd name="connsiteY42" fmla="*/ 13621 h 232409"/>
                <a:gd name="connsiteX43" fmla="*/ 153448 w 174022"/>
                <a:gd name="connsiteY43" fmla="*/ 13621 h 232409"/>
                <a:gd name="connsiteX44" fmla="*/ 153448 w 174022"/>
                <a:gd name="connsiteY44" fmla="*/ 62770 h 232409"/>
                <a:gd name="connsiteX45" fmla="*/ 115348 w 174022"/>
                <a:gd name="connsiteY45" fmla="*/ 62770 h 232409"/>
                <a:gd name="connsiteX46" fmla="*/ 101060 w 174022"/>
                <a:gd name="connsiteY46" fmla="*/ 66770 h 232409"/>
                <a:gd name="connsiteX47" fmla="*/ 95250 w 174022"/>
                <a:gd name="connsiteY47" fmla="*/ 72200 h 232409"/>
                <a:gd name="connsiteX48" fmla="*/ 92583 w 174022"/>
                <a:gd name="connsiteY48" fmla="*/ 80677 h 232409"/>
                <a:gd name="connsiteX49" fmla="*/ 94678 w 174022"/>
                <a:gd name="connsiteY49" fmla="*/ 88583 h 232409"/>
                <a:gd name="connsiteX50" fmla="*/ 100203 w 174022"/>
                <a:gd name="connsiteY50" fmla="*/ 95536 h 232409"/>
                <a:gd name="connsiteX51" fmla="*/ 100489 w 174022"/>
                <a:gd name="connsiteY51" fmla="*/ 95821 h 232409"/>
                <a:gd name="connsiteX52" fmla="*/ 100870 w 174022"/>
                <a:gd name="connsiteY52" fmla="*/ 96107 h 232409"/>
                <a:gd name="connsiteX53" fmla="*/ 129349 w 174022"/>
                <a:gd name="connsiteY53" fmla="*/ 116872 h 232409"/>
                <a:gd name="connsiteX54" fmla="*/ 129635 w 174022"/>
                <a:gd name="connsiteY54" fmla="*/ 117062 h 232409"/>
                <a:gd name="connsiteX55" fmla="*/ 130016 w 174022"/>
                <a:gd name="connsiteY55" fmla="*/ 117253 h 232409"/>
                <a:gd name="connsiteX56" fmla="*/ 160020 w 174022"/>
                <a:gd name="connsiteY56" fmla="*/ 166307 h 232409"/>
                <a:gd name="connsiteX57" fmla="*/ 146685 w 174022"/>
                <a:gd name="connsiteY57" fmla="*/ 202502 h 23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74022" h="232409">
                  <a:moveTo>
                    <a:pt x="136874" y="105251"/>
                  </a:moveTo>
                  <a:lnTo>
                    <a:pt x="137541" y="105728"/>
                  </a:lnTo>
                  <a:lnTo>
                    <a:pt x="109537" y="85344"/>
                  </a:lnTo>
                  <a:cubicBezTo>
                    <a:pt x="108204" y="84011"/>
                    <a:pt x="107347" y="82867"/>
                    <a:pt x="106966" y="82201"/>
                  </a:cubicBezTo>
                  <a:cubicBezTo>
                    <a:pt x="106489" y="81343"/>
                    <a:pt x="106489" y="80963"/>
                    <a:pt x="106489" y="80867"/>
                  </a:cubicBezTo>
                  <a:lnTo>
                    <a:pt x="106775" y="80296"/>
                  </a:lnTo>
                  <a:cubicBezTo>
                    <a:pt x="107061" y="79724"/>
                    <a:pt x="108204" y="78772"/>
                    <a:pt x="109919" y="78105"/>
                  </a:cubicBezTo>
                  <a:cubicBezTo>
                    <a:pt x="111538" y="77343"/>
                    <a:pt x="113633" y="76962"/>
                    <a:pt x="115348" y="76962"/>
                  </a:cubicBezTo>
                  <a:lnTo>
                    <a:pt x="167259" y="76962"/>
                  </a:lnTo>
                  <a:lnTo>
                    <a:pt x="167259" y="0"/>
                  </a:lnTo>
                  <a:lnTo>
                    <a:pt x="62579" y="0"/>
                  </a:lnTo>
                  <a:cubicBezTo>
                    <a:pt x="45625" y="381"/>
                    <a:pt x="30099" y="8763"/>
                    <a:pt x="18764" y="20955"/>
                  </a:cubicBezTo>
                  <a:cubicBezTo>
                    <a:pt x="7429" y="33242"/>
                    <a:pt x="0" y="49530"/>
                    <a:pt x="0" y="66580"/>
                  </a:cubicBezTo>
                  <a:cubicBezTo>
                    <a:pt x="0" y="84011"/>
                    <a:pt x="8096" y="102013"/>
                    <a:pt x="26670" y="115348"/>
                  </a:cubicBezTo>
                  <a:lnTo>
                    <a:pt x="26861" y="115348"/>
                  </a:lnTo>
                  <a:lnTo>
                    <a:pt x="27051" y="115634"/>
                  </a:lnTo>
                  <a:lnTo>
                    <a:pt x="57245" y="134588"/>
                  </a:lnTo>
                  <a:lnTo>
                    <a:pt x="57245" y="134588"/>
                  </a:lnTo>
                  <a:cubicBezTo>
                    <a:pt x="63818" y="138684"/>
                    <a:pt x="66675" y="144590"/>
                    <a:pt x="66580" y="147828"/>
                  </a:cubicBezTo>
                  <a:cubicBezTo>
                    <a:pt x="66580" y="149733"/>
                    <a:pt x="66103" y="150781"/>
                    <a:pt x="64579" y="152019"/>
                  </a:cubicBezTo>
                  <a:cubicBezTo>
                    <a:pt x="63056" y="153257"/>
                    <a:pt x="59817" y="154591"/>
                    <a:pt x="54102" y="154591"/>
                  </a:cubicBezTo>
                  <a:lnTo>
                    <a:pt x="476" y="154591"/>
                  </a:lnTo>
                  <a:lnTo>
                    <a:pt x="476" y="232410"/>
                  </a:lnTo>
                  <a:lnTo>
                    <a:pt x="111919" y="232410"/>
                  </a:lnTo>
                  <a:cubicBezTo>
                    <a:pt x="130683" y="232410"/>
                    <a:pt x="146495" y="224218"/>
                    <a:pt x="157258" y="211931"/>
                  </a:cubicBezTo>
                  <a:cubicBezTo>
                    <a:pt x="168021" y="199644"/>
                    <a:pt x="174022" y="183356"/>
                    <a:pt x="174022" y="166592"/>
                  </a:cubicBezTo>
                  <a:cubicBezTo>
                    <a:pt x="174117" y="143732"/>
                    <a:pt x="162497" y="119825"/>
                    <a:pt x="136970" y="105346"/>
                  </a:cubicBezTo>
                  <a:close/>
                  <a:moveTo>
                    <a:pt x="146685" y="202597"/>
                  </a:moveTo>
                  <a:cubicBezTo>
                    <a:pt x="138208" y="212217"/>
                    <a:pt x="126492" y="218313"/>
                    <a:pt x="111823" y="218313"/>
                  </a:cubicBezTo>
                  <a:lnTo>
                    <a:pt x="14288" y="218313"/>
                  </a:lnTo>
                  <a:lnTo>
                    <a:pt x="14288" y="168307"/>
                  </a:lnTo>
                  <a:lnTo>
                    <a:pt x="54007" y="168307"/>
                  </a:lnTo>
                  <a:cubicBezTo>
                    <a:pt x="61722" y="168307"/>
                    <a:pt x="68199" y="166592"/>
                    <a:pt x="73057" y="162782"/>
                  </a:cubicBezTo>
                  <a:cubicBezTo>
                    <a:pt x="77914" y="159067"/>
                    <a:pt x="80486" y="153257"/>
                    <a:pt x="80391" y="147638"/>
                  </a:cubicBezTo>
                  <a:cubicBezTo>
                    <a:pt x="80296" y="137922"/>
                    <a:pt x="74200" y="128873"/>
                    <a:pt x="64770" y="122682"/>
                  </a:cubicBezTo>
                  <a:lnTo>
                    <a:pt x="64770" y="122682"/>
                  </a:lnTo>
                  <a:lnTo>
                    <a:pt x="34861" y="103823"/>
                  </a:lnTo>
                  <a:lnTo>
                    <a:pt x="34861" y="103823"/>
                  </a:lnTo>
                  <a:lnTo>
                    <a:pt x="34481" y="103632"/>
                  </a:lnTo>
                  <a:lnTo>
                    <a:pt x="34766" y="103823"/>
                  </a:lnTo>
                  <a:cubicBezTo>
                    <a:pt x="19526" y="92678"/>
                    <a:pt x="14002" y="79629"/>
                    <a:pt x="13907" y="66389"/>
                  </a:cubicBezTo>
                  <a:cubicBezTo>
                    <a:pt x="13907" y="53435"/>
                    <a:pt x="19717" y="40100"/>
                    <a:pt x="28956" y="30194"/>
                  </a:cubicBezTo>
                  <a:cubicBezTo>
                    <a:pt x="38195" y="20288"/>
                    <a:pt x="50483" y="13907"/>
                    <a:pt x="62770" y="13621"/>
                  </a:cubicBezTo>
                  <a:lnTo>
                    <a:pt x="153448" y="13621"/>
                  </a:lnTo>
                  <a:lnTo>
                    <a:pt x="153448" y="62770"/>
                  </a:lnTo>
                  <a:lnTo>
                    <a:pt x="115348" y="62770"/>
                  </a:lnTo>
                  <a:cubicBezTo>
                    <a:pt x="110395" y="62770"/>
                    <a:pt x="105347" y="64103"/>
                    <a:pt x="101060" y="66770"/>
                  </a:cubicBezTo>
                  <a:cubicBezTo>
                    <a:pt x="98870" y="68104"/>
                    <a:pt x="96869" y="69818"/>
                    <a:pt x="95250" y="72200"/>
                  </a:cubicBezTo>
                  <a:cubicBezTo>
                    <a:pt x="93631" y="74486"/>
                    <a:pt x="92583" y="77534"/>
                    <a:pt x="92583" y="80677"/>
                  </a:cubicBezTo>
                  <a:cubicBezTo>
                    <a:pt x="92583" y="83344"/>
                    <a:pt x="93345" y="86106"/>
                    <a:pt x="94678" y="88583"/>
                  </a:cubicBezTo>
                  <a:cubicBezTo>
                    <a:pt x="96012" y="91059"/>
                    <a:pt x="97917" y="93345"/>
                    <a:pt x="100203" y="95536"/>
                  </a:cubicBezTo>
                  <a:lnTo>
                    <a:pt x="100489" y="95821"/>
                  </a:lnTo>
                  <a:lnTo>
                    <a:pt x="100870" y="96107"/>
                  </a:lnTo>
                  <a:lnTo>
                    <a:pt x="129349" y="116872"/>
                  </a:lnTo>
                  <a:lnTo>
                    <a:pt x="129635" y="117062"/>
                  </a:lnTo>
                  <a:lnTo>
                    <a:pt x="130016" y="117253"/>
                  </a:lnTo>
                  <a:cubicBezTo>
                    <a:pt x="151352" y="129445"/>
                    <a:pt x="159925" y="147923"/>
                    <a:pt x="160020" y="166307"/>
                  </a:cubicBezTo>
                  <a:cubicBezTo>
                    <a:pt x="160020" y="179737"/>
                    <a:pt x="155162" y="192881"/>
                    <a:pt x="146685" y="202502"/>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496" name="Freeform: Shape 495">
              <a:extLst>
                <a:ext uri="{FF2B5EF4-FFF2-40B4-BE49-F238E27FC236}">
                  <a16:creationId xmlns:a16="http://schemas.microsoft.com/office/drawing/2014/main" id="{487A27C8-4D69-4484-87C0-237E02A61F1C}"/>
                </a:ext>
              </a:extLst>
            </p:cNvPr>
            <p:cNvSpPr/>
            <p:nvPr/>
          </p:nvSpPr>
          <p:spPr>
            <a:xfrm>
              <a:off x="8187925" y="5769343"/>
              <a:ext cx="211835" cy="231933"/>
            </a:xfrm>
            <a:custGeom>
              <a:avLst/>
              <a:gdLst>
                <a:gd name="connsiteX0" fmla="*/ 105918 w 211835"/>
                <a:gd name="connsiteY0" fmla="*/ 0 h 231933"/>
                <a:gd name="connsiteX1" fmla="*/ 0 w 211835"/>
                <a:gd name="connsiteY1" fmla="*/ 105918 h 231933"/>
                <a:gd name="connsiteX2" fmla="*/ 0 w 211835"/>
                <a:gd name="connsiteY2" fmla="*/ 231934 h 231933"/>
                <a:gd name="connsiteX3" fmla="*/ 89440 w 211835"/>
                <a:gd name="connsiteY3" fmla="*/ 231934 h 231933"/>
                <a:gd name="connsiteX4" fmla="*/ 89440 w 211835"/>
                <a:gd name="connsiteY4" fmla="*/ 224981 h 231933"/>
                <a:gd name="connsiteX5" fmla="*/ 89630 w 211835"/>
                <a:gd name="connsiteY5" fmla="*/ 105918 h 231933"/>
                <a:gd name="connsiteX6" fmla="*/ 89630 w 211835"/>
                <a:gd name="connsiteY6" fmla="*/ 105918 h 231933"/>
                <a:gd name="connsiteX7" fmla="*/ 94393 w 211835"/>
                <a:gd name="connsiteY7" fmla="*/ 94488 h 231933"/>
                <a:gd name="connsiteX8" fmla="*/ 105918 w 211835"/>
                <a:gd name="connsiteY8" fmla="*/ 89726 h 231933"/>
                <a:gd name="connsiteX9" fmla="*/ 117443 w 211835"/>
                <a:gd name="connsiteY9" fmla="*/ 94488 h 231933"/>
                <a:gd name="connsiteX10" fmla="*/ 122206 w 211835"/>
                <a:gd name="connsiteY10" fmla="*/ 105918 h 231933"/>
                <a:gd name="connsiteX11" fmla="*/ 122206 w 211835"/>
                <a:gd name="connsiteY11" fmla="*/ 105918 h 231933"/>
                <a:gd name="connsiteX12" fmla="*/ 122396 w 211835"/>
                <a:gd name="connsiteY12" fmla="*/ 224981 h 231933"/>
                <a:gd name="connsiteX13" fmla="*/ 122396 w 211835"/>
                <a:gd name="connsiteY13" fmla="*/ 231934 h 231933"/>
                <a:gd name="connsiteX14" fmla="*/ 211836 w 211835"/>
                <a:gd name="connsiteY14" fmla="*/ 231934 h 231933"/>
                <a:gd name="connsiteX15" fmla="*/ 211836 w 211835"/>
                <a:gd name="connsiteY15" fmla="*/ 105918 h 231933"/>
                <a:gd name="connsiteX16" fmla="*/ 106013 w 211835"/>
                <a:gd name="connsiteY16" fmla="*/ 0 h 231933"/>
                <a:gd name="connsiteX17" fmla="*/ 197834 w 211835"/>
                <a:gd name="connsiteY17" fmla="*/ 218027 h 231933"/>
                <a:gd name="connsiteX18" fmla="*/ 136303 w 211835"/>
                <a:gd name="connsiteY18" fmla="*/ 218027 h 231933"/>
                <a:gd name="connsiteX19" fmla="*/ 136112 w 211835"/>
                <a:gd name="connsiteY19" fmla="*/ 105918 h 231933"/>
                <a:gd name="connsiteX20" fmla="*/ 105918 w 211835"/>
                <a:gd name="connsiteY20" fmla="*/ 75819 h 231933"/>
                <a:gd name="connsiteX21" fmla="*/ 75629 w 211835"/>
                <a:gd name="connsiteY21" fmla="*/ 105918 h 231933"/>
                <a:gd name="connsiteX22" fmla="*/ 75438 w 211835"/>
                <a:gd name="connsiteY22" fmla="*/ 218027 h 231933"/>
                <a:gd name="connsiteX23" fmla="*/ 13906 w 211835"/>
                <a:gd name="connsiteY23" fmla="*/ 218027 h 231933"/>
                <a:gd name="connsiteX24" fmla="*/ 13906 w 211835"/>
                <a:gd name="connsiteY24" fmla="*/ 105918 h 231933"/>
                <a:gd name="connsiteX25" fmla="*/ 40862 w 211835"/>
                <a:gd name="connsiteY25" fmla="*/ 40862 h 231933"/>
                <a:gd name="connsiteX26" fmla="*/ 105918 w 211835"/>
                <a:gd name="connsiteY26" fmla="*/ 13906 h 231933"/>
                <a:gd name="connsiteX27" fmla="*/ 170974 w 211835"/>
                <a:gd name="connsiteY27" fmla="*/ 40862 h 231933"/>
                <a:gd name="connsiteX28" fmla="*/ 197929 w 211835"/>
                <a:gd name="connsiteY28" fmla="*/ 105918 h 231933"/>
                <a:gd name="connsiteX29" fmla="*/ 197929 w 211835"/>
                <a:gd name="connsiteY29" fmla="*/ 218027 h 231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1835" h="231933">
                  <a:moveTo>
                    <a:pt x="105918" y="0"/>
                  </a:moveTo>
                  <a:cubicBezTo>
                    <a:pt x="47434" y="0"/>
                    <a:pt x="0" y="47435"/>
                    <a:pt x="0" y="105918"/>
                  </a:cubicBezTo>
                  <a:lnTo>
                    <a:pt x="0" y="231934"/>
                  </a:lnTo>
                  <a:lnTo>
                    <a:pt x="89440" y="231934"/>
                  </a:lnTo>
                  <a:lnTo>
                    <a:pt x="89440" y="224981"/>
                  </a:lnTo>
                  <a:lnTo>
                    <a:pt x="89630" y="105918"/>
                  </a:lnTo>
                  <a:lnTo>
                    <a:pt x="89630" y="105918"/>
                  </a:lnTo>
                  <a:cubicBezTo>
                    <a:pt x="89630" y="101441"/>
                    <a:pt x="91440" y="97441"/>
                    <a:pt x="94393" y="94488"/>
                  </a:cubicBezTo>
                  <a:cubicBezTo>
                    <a:pt x="97346" y="91535"/>
                    <a:pt x="101441" y="89726"/>
                    <a:pt x="105918" y="89726"/>
                  </a:cubicBezTo>
                  <a:cubicBezTo>
                    <a:pt x="110395" y="89726"/>
                    <a:pt x="114395" y="91535"/>
                    <a:pt x="117443" y="94488"/>
                  </a:cubicBezTo>
                  <a:cubicBezTo>
                    <a:pt x="120396" y="97441"/>
                    <a:pt x="122206" y="101441"/>
                    <a:pt x="122206" y="105918"/>
                  </a:cubicBezTo>
                  <a:lnTo>
                    <a:pt x="122206" y="105918"/>
                  </a:lnTo>
                  <a:lnTo>
                    <a:pt x="122396" y="224981"/>
                  </a:lnTo>
                  <a:lnTo>
                    <a:pt x="122396" y="231934"/>
                  </a:lnTo>
                  <a:lnTo>
                    <a:pt x="211836" y="231934"/>
                  </a:lnTo>
                  <a:lnTo>
                    <a:pt x="211836" y="105918"/>
                  </a:lnTo>
                  <a:cubicBezTo>
                    <a:pt x="211836" y="47435"/>
                    <a:pt x="164497" y="0"/>
                    <a:pt x="106013" y="0"/>
                  </a:cubicBezTo>
                  <a:close/>
                  <a:moveTo>
                    <a:pt x="197834" y="218027"/>
                  </a:moveTo>
                  <a:lnTo>
                    <a:pt x="136303" y="218027"/>
                  </a:lnTo>
                  <a:lnTo>
                    <a:pt x="136112" y="105918"/>
                  </a:lnTo>
                  <a:cubicBezTo>
                    <a:pt x="136112" y="89249"/>
                    <a:pt x="122492" y="75819"/>
                    <a:pt x="105918" y="75819"/>
                  </a:cubicBezTo>
                  <a:cubicBezTo>
                    <a:pt x="89344" y="75819"/>
                    <a:pt x="75724" y="89249"/>
                    <a:pt x="75629" y="105918"/>
                  </a:cubicBezTo>
                  <a:lnTo>
                    <a:pt x="75438" y="218027"/>
                  </a:lnTo>
                  <a:lnTo>
                    <a:pt x="13906" y="218027"/>
                  </a:lnTo>
                  <a:lnTo>
                    <a:pt x="13906" y="105918"/>
                  </a:lnTo>
                  <a:cubicBezTo>
                    <a:pt x="13906" y="80486"/>
                    <a:pt x="24194" y="57531"/>
                    <a:pt x="40862" y="40862"/>
                  </a:cubicBezTo>
                  <a:cubicBezTo>
                    <a:pt x="57531" y="24193"/>
                    <a:pt x="80486" y="13906"/>
                    <a:pt x="105918" y="13906"/>
                  </a:cubicBezTo>
                  <a:cubicBezTo>
                    <a:pt x="131350" y="13906"/>
                    <a:pt x="154305" y="24193"/>
                    <a:pt x="170974" y="40862"/>
                  </a:cubicBezTo>
                  <a:cubicBezTo>
                    <a:pt x="187642" y="57531"/>
                    <a:pt x="197929" y="80486"/>
                    <a:pt x="197929" y="105918"/>
                  </a:cubicBezTo>
                  <a:lnTo>
                    <a:pt x="197929" y="218027"/>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nvGrpSpPr>
            <p:cNvPr id="497" name="Graphic 611">
              <a:extLst>
                <a:ext uri="{FF2B5EF4-FFF2-40B4-BE49-F238E27FC236}">
                  <a16:creationId xmlns:a16="http://schemas.microsoft.com/office/drawing/2014/main" id="{3AE6D2B8-A495-4101-935E-7484B3779FCF}"/>
                </a:ext>
              </a:extLst>
            </p:cNvPr>
            <p:cNvGrpSpPr/>
            <p:nvPr/>
          </p:nvGrpSpPr>
          <p:grpSpPr>
            <a:xfrm>
              <a:off x="8601500" y="5765628"/>
              <a:ext cx="233743" cy="233648"/>
              <a:chOff x="8601500" y="5765628"/>
              <a:chExt cx="233743" cy="233648"/>
            </a:xfrm>
            <a:solidFill>
              <a:srgbClr val="A1ABB2"/>
            </a:solidFill>
          </p:grpSpPr>
          <p:sp>
            <p:nvSpPr>
              <p:cNvPr id="499" name="Freeform: Shape 498">
                <a:extLst>
                  <a:ext uri="{FF2B5EF4-FFF2-40B4-BE49-F238E27FC236}">
                    <a16:creationId xmlns:a16="http://schemas.microsoft.com/office/drawing/2014/main" id="{6FE01EB7-78A4-44AF-A798-0B219E7CC4FB}"/>
                  </a:ext>
                </a:extLst>
              </p:cNvPr>
              <p:cNvSpPr/>
              <p:nvPr/>
            </p:nvSpPr>
            <p:spPr>
              <a:xfrm>
                <a:off x="8601500" y="5765628"/>
                <a:ext cx="233743" cy="233648"/>
              </a:xfrm>
              <a:custGeom>
                <a:avLst/>
                <a:gdLst>
                  <a:gd name="connsiteX0" fmla="*/ 116872 w 233743"/>
                  <a:gd name="connsiteY0" fmla="*/ 0 h 233648"/>
                  <a:gd name="connsiteX1" fmla="*/ 0 w 233743"/>
                  <a:gd name="connsiteY1" fmla="*/ 116872 h 233648"/>
                  <a:gd name="connsiteX2" fmla="*/ 116872 w 233743"/>
                  <a:gd name="connsiteY2" fmla="*/ 233648 h 233648"/>
                  <a:gd name="connsiteX3" fmla="*/ 233744 w 233743"/>
                  <a:gd name="connsiteY3" fmla="*/ 116872 h 233648"/>
                  <a:gd name="connsiteX4" fmla="*/ 116872 w 233743"/>
                  <a:gd name="connsiteY4" fmla="*/ 0 h 233648"/>
                  <a:gd name="connsiteX5" fmla="*/ 189643 w 233743"/>
                  <a:gd name="connsiteY5" fmla="*/ 189548 h 233648"/>
                  <a:gd name="connsiteX6" fmla="*/ 116872 w 233743"/>
                  <a:gd name="connsiteY6" fmla="*/ 219742 h 233648"/>
                  <a:gd name="connsiteX7" fmla="*/ 44101 w 233743"/>
                  <a:gd name="connsiteY7" fmla="*/ 189548 h 233648"/>
                  <a:gd name="connsiteX8" fmla="*/ 14002 w 233743"/>
                  <a:gd name="connsiteY8" fmla="*/ 116872 h 233648"/>
                  <a:gd name="connsiteX9" fmla="*/ 44101 w 233743"/>
                  <a:gd name="connsiteY9" fmla="*/ 44101 h 233648"/>
                  <a:gd name="connsiteX10" fmla="*/ 116872 w 233743"/>
                  <a:gd name="connsiteY10" fmla="*/ 14002 h 233648"/>
                  <a:gd name="connsiteX11" fmla="*/ 189643 w 233743"/>
                  <a:gd name="connsiteY11" fmla="*/ 44101 h 233648"/>
                  <a:gd name="connsiteX12" fmla="*/ 219837 w 233743"/>
                  <a:gd name="connsiteY12" fmla="*/ 116872 h 233648"/>
                  <a:gd name="connsiteX13" fmla="*/ 189643 w 233743"/>
                  <a:gd name="connsiteY13" fmla="*/ 189548 h 233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743" h="233648">
                    <a:moveTo>
                      <a:pt x="116872" y="0"/>
                    </a:moveTo>
                    <a:cubicBezTo>
                      <a:pt x="52388" y="0"/>
                      <a:pt x="95" y="52292"/>
                      <a:pt x="0" y="116872"/>
                    </a:cubicBezTo>
                    <a:cubicBezTo>
                      <a:pt x="0" y="181356"/>
                      <a:pt x="52292" y="233648"/>
                      <a:pt x="116872" y="233648"/>
                    </a:cubicBezTo>
                    <a:cubicBezTo>
                      <a:pt x="181451" y="233648"/>
                      <a:pt x="233744" y="181356"/>
                      <a:pt x="233744" y="116872"/>
                    </a:cubicBezTo>
                    <a:cubicBezTo>
                      <a:pt x="233744" y="52388"/>
                      <a:pt x="181451" y="0"/>
                      <a:pt x="116872" y="0"/>
                    </a:cubicBezTo>
                    <a:close/>
                    <a:moveTo>
                      <a:pt x="189643" y="189548"/>
                    </a:moveTo>
                    <a:cubicBezTo>
                      <a:pt x="170974" y="208217"/>
                      <a:pt x="145256" y="219742"/>
                      <a:pt x="116872" y="219742"/>
                    </a:cubicBezTo>
                    <a:cubicBezTo>
                      <a:pt x="88487" y="219742"/>
                      <a:pt x="62770" y="208217"/>
                      <a:pt x="44101" y="189548"/>
                    </a:cubicBezTo>
                    <a:cubicBezTo>
                      <a:pt x="25432" y="170879"/>
                      <a:pt x="14002" y="145256"/>
                      <a:pt x="14002" y="116872"/>
                    </a:cubicBezTo>
                    <a:cubicBezTo>
                      <a:pt x="14002" y="88487"/>
                      <a:pt x="25527" y="62770"/>
                      <a:pt x="44101" y="44101"/>
                    </a:cubicBezTo>
                    <a:cubicBezTo>
                      <a:pt x="62770" y="25432"/>
                      <a:pt x="88392" y="14002"/>
                      <a:pt x="116872" y="14002"/>
                    </a:cubicBezTo>
                    <a:cubicBezTo>
                      <a:pt x="145352" y="14002"/>
                      <a:pt x="170974" y="25527"/>
                      <a:pt x="189643" y="44101"/>
                    </a:cubicBezTo>
                    <a:cubicBezTo>
                      <a:pt x="208217" y="62770"/>
                      <a:pt x="219742" y="88392"/>
                      <a:pt x="219837" y="116872"/>
                    </a:cubicBezTo>
                    <a:cubicBezTo>
                      <a:pt x="219837" y="145256"/>
                      <a:pt x="208312" y="170974"/>
                      <a:pt x="189643" y="189548"/>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0" name="Freeform: Shape 499">
                <a:extLst>
                  <a:ext uri="{FF2B5EF4-FFF2-40B4-BE49-F238E27FC236}">
                    <a16:creationId xmlns:a16="http://schemas.microsoft.com/office/drawing/2014/main" id="{1AB9D413-C249-4D5C-81BF-B03BB6C2D2B2}"/>
                  </a:ext>
                </a:extLst>
              </p:cNvPr>
              <p:cNvSpPr/>
              <p:nvPr/>
            </p:nvSpPr>
            <p:spPr>
              <a:xfrm>
                <a:off x="8676081" y="5840304"/>
                <a:ext cx="84581" cy="84582"/>
              </a:xfrm>
              <a:custGeom>
                <a:avLst/>
                <a:gdLst>
                  <a:gd name="connsiteX0" fmla="*/ 42291 w 84581"/>
                  <a:gd name="connsiteY0" fmla="*/ 0 h 84582"/>
                  <a:gd name="connsiteX1" fmla="*/ 0 w 84581"/>
                  <a:gd name="connsiteY1" fmla="*/ 42291 h 84582"/>
                  <a:gd name="connsiteX2" fmla="*/ 42291 w 84581"/>
                  <a:gd name="connsiteY2" fmla="*/ 84582 h 84582"/>
                  <a:gd name="connsiteX3" fmla="*/ 84582 w 84581"/>
                  <a:gd name="connsiteY3" fmla="*/ 42291 h 84582"/>
                  <a:gd name="connsiteX4" fmla="*/ 42291 w 84581"/>
                  <a:gd name="connsiteY4" fmla="*/ 0 h 84582"/>
                  <a:gd name="connsiteX5" fmla="*/ 42291 w 84581"/>
                  <a:gd name="connsiteY5" fmla="*/ 70580 h 84582"/>
                  <a:gd name="connsiteX6" fmla="*/ 14002 w 84581"/>
                  <a:gd name="connsiteY6" fmla="*/ 42291 h 84582"/>
                  <a:gd name="connsiteX7" fmla="*/ 42291 w 84581"/>
                  <a:gd name="connsiteY7" fmla="*/ 14002 h 84582"/>
                  <a:gd name="connsiteX8" fmla="*/ 70675 w 84581"/>
                  <a:gd name="connsiteY8" fmla="*/ 42291 h 84582"/>
                  <a:gd name="connsiteX9" fmla="*/ 42291 w 84581"/>
                  <a:gd name="connsiteY9" fmla="*/ 70580 h 8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581" h="84582">
                    <a:moveTo>
                      <a:pt x="42291" y="0"/>
                    </a:moveTo>
                    <a:cubicBezTo>
                      <a:pt x="18955" y="0"/>
                      <a:pt x="0" y="18859"/>
                      <a:pt x="0" y="42291"/>
                    </a:cubicBezTo>
                    <a:cubicBezTo>
                      <a:pt x="0" y="65723"/>
                      <a:pt x="18859" y="84487"/>
                      <a:pt x="42291" y="84582"/>
                    </a:cubicBezTo>
                    <a:cubicBezTo>
                      <a:pt x="65627" y="84582"/>
                      <a:pt x="84582" y="65627"/>
                      <a:pt x="84582" y="42291"/>
                    </a:cubicBezTo>
                    <a:cubicBezTo>
                      <a:pt x="84582" y="18955"/>
                      <a:pt x="65723" y="0"/>
                      <a:pt x="42291" y="0"/>
                    </a:cubicBezTo>
                    <a:close/>
                    <a:moveTo>
                      <a:pt x="42291" y="70580"/>
                    </a:moveTo>
                    <a:cubicBezTo>
                      <a:pt x="26670" y="70580"/>
                      <a:pt x="14002" y="57912"/>
                      <a:pt x="14002" y="42291"/>
                    </a:cubicBezTo>
                    <a:cubicBezTo>
                      <a:pt x="14002" y="26670"/>
                      <a:pt x="26670" y="14002"/>
                      <a:pt x="42291" y="14002"/>
                    </a:cubicBezTo>
                    <a:cubicBezTo>
                      <a:pt x="57912" y="14002"/>
                      <a:pt x="70580" y="26670"/>
                      <a:pt x="70675" y="42291"/>
                    </a:cubicBezTo>
                    <a:cubicBezTo>
                      <a:pt x="70675" y="57912"/>
                      <a:pt x="58007" y="70580"/>
                      <a:pt x="42291" y="70580"/>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sp>
          <p:nvSpPr>
            <p:cNvPr id="498" name="Freeform: Shape 497">
              <a:extLst>
                <a:ext uri="{FF2B5EF4-FFF2-40B4-BE49-F238E27FC236}">
                  <a16:creationId xmlns:a16="http://schemas.microsoft.com/office/drawing/2014/main" id="{3BD3A680-3B86-4D45-8C41-8F3516ACA0FA}"/>
                </a:ext>
              </a:extLst>
            </p:cNvPr>
            <p:cNvSpPr/>
            <p:nvPr/>
          </p:nvSpPr>
          <p:spPr>
            <a:xfrm>
              <a:off x="7938275" y="5768772"/>
              <a:ext cx="232505" cy="232790"/>
            </a:xfrm>
            <a:custGeom>
              <a:avLst/>
              <a:gdLst>
                <a:gd name="connsiteX0" fmla="*/ 230981 w 232505"/>
                <a:gd name="connsiteY0" fmla="*/ 94869 h 232790"/>
                <a:gd name="connsiteX1" fmla="*/ 193453 w 232505"/>
                <a:gd name="connsiteY1" fmla="*/ 30004 h 232790"/>
                <a:gd name="connsiteX2" fmla="*/ 117729 w 232505"/>
                <a:gd name="connsiteY2" fmla="*/ 0 h 232790"/>
                <a:gd name="connsiteX3" fmla="*/ 116205 w 232505"/>
                <a:gd name="connsiteY3" fmla="*/ 0 h 232790"/>
                <a:gd name="connsiteX4" fmla="*/ 0 w 232505"/>
                <a:gd name="connsiteY4" fmla="*/ 114681 h 232790"/>
                <a:gd name="connsiteX5" fmla="*/ 0 w 232505"/>
                <a:gd name="connsiteY5" fmla="*/ 116300 h 232790"/>
                <a:gd name="connsiteX6" fmla="*/ 114490 w 232505"/>
                <a:gd name="connsiteY6" fmla="*/ 232505 h 232790"/>
                <a:gd name="connsiteX7" fmla="*/ 127063 w 232505"/>
                <a:gd name="connsiteY7" fmla="*/ 232791 h 232790"/>
                <a:gd name="connsiteX8" fmla="*/ 211645 w 232505"/>
                <a:gd name="connsiteY8" fmla="*/ 203264 h 232790"/>
                <a:gd name="connsiteX9" fmla="*/ 216789 w 232505"/>
                <a:gd name="connsiteY9" fmla="*/ 198692 h 232790"/>
                <a:gd name="connsiteX10" fmla="*/ 212312 w 232505"/>
                <a:gd name="connsiteY10" fmla="*/ 193453 h 232790"/>
                <a:gd name="connsiteX11" fmla="*/ 174688 w 232505"/>
                <a:gd name="connsiteY11" fmla="*/ 149923 h 232790"/>
                <a:gd name="connsiteX12" fmla="*/ 171450 w 232505"/>
                <a:gd name="connsiteY12" fmla="*/ 146114 h 232790"/>
                <a:gd name="connsiteX13" fmla="*/ 166783 w 232505"/>
                <a:gd name="connsiteY13" fmla="*/ 148019 h 232790"/>
                <a:gd name="connsiteX14" fmla="*/ 152686 w 232505"/>
                <a:gd name="connsiteY14" fmla="*/ 153067 h 232790"/>
                <a:gd name="connsiteX15" fmla="*/ 124111 w 232505"/>
                <a:gd name="connsiteY15" fmla="*/ 155067 h 232790"/>
                <a:gd name="connsiteX16" fmla="*/ 117348 w 232505"/>
                <a:gd name="connsiteY16" fmla="*/ 155067 h 232790"/>
                <a:gd name="connsiteX17" fmla="*/ 94678 w 232505"/>
                <a:gd name="connsiteY17" fmla="*/ 145828 h 232790"/>
                <a:gd name="connsiteX18" fmla="*/ 84201 w 232505"/>
                <a:gd name="connsiteY18" fmla="*/ 114586 h 232790"/>
                <a:gd name="connsiteX19" fmla="*/ 84201 w 232505"/>
                <a:gd name="connsiteY19" fmla="*/ 113538 h 232790"/>
                <a:gd name="connsiteX20" fmla="*/ 96107 w 232505"/>
                <a:gd name="connsiteY20" fmla="*/ 82963 h 232790"/>
                <a:gd name="connsiteX21" fmla="*/ 114967 w 232505"/>
                <a:gd name="connsiteY21" fmla="*/ 74581 h 232790"/>
                <a:gd name="connsiteX22" fmla="*/ 115157 w 232505"/>
                <a:gd name="connsiteY22" fmla="*/ 74581 h 232790"/>
                <a:gd name="connsiteX23" fmla="*/ 133826 w 232505"/>
                <a:gd name="connsiteY23" fmla="*/ 80010 h 232790"/>
                <a:gd name="connsiteX24" fmla="*/ 140589 w 232505"/>
                <a:gd name="connsiteY24" fmla="*/ 85916 h 232790"/>
                <a:gd name="connsiteX25" fmla="*/ 140875 w 232505"/>
                <a:gd name="connsiteY25" fmla="*/ 86296 h 232790"/>
                <a:gd name="connsiteX26" fmla="*/ 111728 w 232505"/>
                <a:gd name="connsiteY26" fmla="*/ 85820 h 232790"/>
                <a:gd name="connsiteX27" fmla="*/ 104870 w 232505"/>
                <a:gd name="connsiteY27" fmla="*/ 85820 h 232790"/>
                <a:gd name="connsiteX28" fmla="*/ 104680 w 232505"/>
                <a:gd name="connsiteY28" fmla="*/ 92583 h 232790"/>
                <a:gd name="connsiteX29" fmla="*/ 103822 w 232505"/>
                <a:gd name="connsiteY29" fmla="*/ 128397 h 232790"/>
                <a:gd name="connsiteX30" fmla="*/ 103822 w 232505"/>
                <a:gd name="connsiteY30" fmla="*/ 135445 h 232790"/>
                <a:gd name="connsiteX31" fmla="*/ 110680 w 232505"/>
                <a:gd name="connsiteY31" fmla="*/ 135445 h 232790"/>
                <a:gd name="connsiteX32" fmla="*/ 224028 w 232505"/>
                <a:gd name="connsiteY32" fmla="*/ 136969 h 232790"/>
                <a:gd name="connsiteX33" fmla="*/ 230410 w 232505"/>
                <a:gd name="connsiteY33" fmla="*/ 136969 h 232790"/>
                <a:gd name="connsiteX34" fmla="*/ 231076 w 232505"/>
                <a:gd name="connsiteY34" fmla="*/ 130683 h 232790"/>
                <a:gd name="connsiteX35" fmla="*/ 232029 w 232505"/>
                <a:gd name="connsiteY35" fmla="*/ 122682 h 232790"/>
                <a:gd name="connsiteX36" fmla="*/ 232505 w 232505"/>
                <a:gd name="connsiteY36" fmla="*/ 115538 h 232790"/>
                <a:gd name="connsiteX37" fmla="*/ 230886 w 232505"/>
                <a:gd name="connsiteY37" fmla="*/ 95059 h 232790"/>
                <a:gd name="connsiteX38" fmla="*/ 218218 w 232505"/>
                <a:gd name="connsiteY38" fmla="*/ 120682 h 232790"/>
                <a:gd name="connsiteX39" fmla="*/ 218218 w 232505"/>
                <a:gd name="connsiteY39" fmla="*/ 122777 h 232790"/>
                <a:gd name="connsiteX40" fmla="*/ 117919 w 232505"/>
                <a:gd name="connsiteY40" fmla="*/ 121253 h 232790"/>
                <a:gd name="connsiteX41" fmla="*/ 118586 w 232505"/>
                <a:gd name="connsiteY41" fmla="*/ 99441 h 232790"/>
                <a:gd name="connsiteX42" fmla="*/ 149733 w 232505"/>
                <a:gd name="connsiteY42" fmla="*/ 99917 h 232790"/>
                <a:gd name="connsiteX43" fmla="*/ 156686 w 232505"/>
                <a:gd name="connsiteY43" fmla="*/ 99917 h 232790"/>
                <a:gd name="connsiteX44" fmla="*/ 156686 w 232505"/>
                <a:gd name="connsiteY44" fmla="*/ 92678 h 232790"/>
                <a:gd name="connsiteX45" fmla="*/ 151924 w 232505"/>
                <a:gd name="connsiteY45" fmla="*/ 77629 h 232790"/>
                <a:gd name="connsiteX46" fmla="*/ 134493 w 232505"/>
                <a:gd name="connsiteY46" fmla="*/ 64579 h 232790"/>
                <a:gd name="connsiteX47" fmla="*/ 115252 w 232505"/>
                <a:gd name="connsiteY47" fmla="*/ 60389 h 232790"/>
                <a:gd name="connsiteX48" fmla="*/ 114871 w 232505"/>
                <a:gd name="connsiteY48" fmla="*/ 60389 h 232790"/>
                <a:gd name="connsiteX49" fmla="*/ 86487 w 232505"/>
                <a:gd name="connsiteY49" fmla="*/ 72485 h 232790"/>
                <a:gd name="connsiteX50" fmla="*/ 70104 w 232505"/>
                <a:gd name="connsiteY50" fmla="*/ 113157 h 232790"/>
                <a:gd name="connsiteX51" fmla="*/ 70104 w 232505"/>
                <a:gd name="connsiteY51" fmla="*/ 114395 h 232790"/>
                <a:gd name="connsiteX52" fmla="*/ 84582 w 232505"/>
                <a:gd name="connsiteY52" fmla="*/ 155353 h 232790"/>
                <a:gd name="connsiteX53" fmla="*/ 116967 w 232505"/>
                <a:gd name="connsiteY53" fmla="*/ 168688 h 232790"/>
                <a:gd name="connsiteX54" fmla="*/ 123920 w 232505"/>
                <a:gd name="connsiteY54" fmla="*/ 168688 h 232790"/>
                <a:gd name="connsiteX55" fmla="*/ 155353 w 232505"/>
                <a:gd name="connsiteY55" fmla="*/ 166497 h 232790"/>
                <a:gd name="connsiteX56" fmla="*/ 167164 w 232505"/>
                <a:gd name="connsiteY56" fmla="*/ 162687 h 232790"/>
                <a:gd name="connsiteX57" fmla="*/ 196691 w 232505"/>
                <a:gd name="connsiteY57" fmla="*/ 196977 h 232790"/>
                <a:gd name="connsiteX58" fmla="*/ 126778 w 232505"/>
                <a:gd name="connsiteY58" fmla="*/ 218789 h 232790"/>
                <a:gd name="connsiteX59" fmla="*/ 114776 w 232505"/>
                <a:gd name="connsiteY59" fmla="*/ 218503 h 232790"/>
                <a:gd name="connsiteX60" fmla="*/ 13621 w 232505"/>
                <a:gd name="connsiteY60" fmla="*/ 116300 h 232790"/>
                <a:gd name="connsiteX61" fmla="*/ 13621 w 232505"/>
                <a:gd name="connsiteY61" fmla="*/ 114967 h 232790"/>
                <a:gd name="connsiteX62" fmla="*/ 115919 w 232505"/>
                <a:gd name="connsiteY62" fmla="*/ 14002 h 232790"/>
                <a:gd name="connsiteX63" fmla="*/ 117253 w 232505"/>
                <a:gd name="connsiteY63" fmla="*/ 14002 h 232790"/>
                <a:gd name="connsiteX64" fmla="*/ 184118 w 232505"/>
                <a:gd name="connsiteY64" fmla="*/ 40672 h 232790"/>
                <a:gd name="connsiteX65" fmla="*/ 216884 w 232505"/>
                <a:gd name="connsiteY65" fmla="*/ 96393 h 232790"/>
                <a:gd name="connsiteX66" fmla="*/ 218408 w 232505"/>
                <a:gd name="connsiteY66" fmla="*/ 115348 h 232790"/>
                <a:gd name="connsiteX67" fmla="*/ 218027 w 232505"/>
                <a:gd name="connsiteY67" fmla="*/ 120777 h 232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32505" h="232790">
                  <a:moveTo>
                    <a:pt x="230981" y="94869"/>
                  </a:moveTo>
                  <a:cubicBezTo>
                    <a:pt x="228314" y="70866"/>
                    <a:pt x="213931" y="47625"/>
                    <a:pt x="193453" y="30004"/>
                  </a:cubicBezTo>
                  <a:cubicBezTo>
                    <a:pt x="172974" y="12382"/>
                    <a:pt x="146113" y="381"/>
                    <a:pt x="117729" y="0"/>
                  </a:cubicBezTo>
                  <a:lnTo>
                    <a:pt x="116205" y="0"/>
                  </a:lnTo>
                  <a:cubicBezTo>
                    <a:pt x="52673" y="0"/>
                    <a:pt x="857" y="51054"/>
                    <a:pt x="0" y="114681"/>
                  </a:cubicBezTo>
                  <a:lnTo>
                    <a:pt x="0" y="116300"/>
                  </a:lnTo>
                  <a:cubicBezTo>
                    <a:pt x="0" y="179832"/>
                    <a:pt x="51149" y="230029"/>
                    <a:pt x="114490" y="232505"/>
                  </a:cubicBezTo>
                  <a:cubicBezTo>
                    <a:pt x="118110" y="232696"/>
                    <a:pt x="122301" y="232791"/>
                    <a:pt x="127063" y="232791"/>
                  </a:cubicBezTo>
                  <a:cubicBezTo>
                    <a:pt x="149066" y="232791"/>
                    <a:pt x="182118" y="229171"/>
                    <a:pt x="211645" y="203264"/>
                  </a:cubicBezTo>
                  <a:lnTo>
                    <a:pt x="216789" y="198692"/>
                  </a:lnTo>
                  <a:lnTo>
                    <a:pt x="212312" y="193453"/>
                  </a:lnTo>
                  <a:lnTo>
                    <a:pt x="174688" y="149923"/>
                  </a:lnTo>
                  <a:lnTo>
                    <a:pt x="171450" y="146114"/>
                  </a:lnTo>
                  <a:lnTo>
                    <a:pt x="166783" y="148019"/>
                  </a:lnTo>
                  <a:cubicBezTo>
                    <a:pt x="161163" y="150304"/>
                    <a:pt x="158115" y="151828"/>
                    <a:pt x="152686" y="153067"/>
                  </a:cubicBezTo>
                  <a:cubicBezTo>
                    <a:pt x="147256" y="154210"/>
                    <a:pt x="139065" y="155067"/>
                    <a:pt x="124111" y="155067"/>
                  </a:cubicBezTo>
                  <a:cubicBezTo>
                    <a:pt x="122015" y="155067"/>
                    <a:pt x="119729" y="155067"/>
                    <a:pt x="117348" y="155067"/>
                  </a:cubicBezTo>
                  <a:cubicBezTo>
                    <a:pt x="108775" y="154972"/>
                    <a:pt x="100679" y="152019"/>
                    <a:pt x="94678" y="145828"/>
                  </a:cubicBezTo>
                  <a:cubicBezTo>
                    <a:pt x="88678" y="139637"/>
                    <a:pt x="84201" y="129921"/>
                    <a:pt x="84201" y="114586"/>
                  </a:cubicBezTo>
                  <a:lnTo>
                    <a:pt x="84201" y="113538"/>
                  </a:lnTo>
                  <a:cubicBezTo>
                    <a:pt x="84487" y="98298"/>
                    <a:pt x="89725" y="88964"/>
                    <a:pt x="96107" y="82963"/>
                  </a:cubicBezTo>
                  <a:cubicBezTo>
                    <a:pt x="102489" y="76962"/>
                    <a:pt x="110490" y="74581"/>
                    <a:pt x="114967" y="74581"/>
                  </a:cubicBezTo>
                  <a:lnTo>
                    <a:pt x="115157" y="74581"/>
                  </a:lnTo>
                  <a:cubicBezTo>
                    <a:pt x="120205" y="74581"/>
                    <a:pt x="128111" y="76581"/>
                    <a:pt x="133826" y="80010"/>
                  </a:cubicBezTo>
                  <a:cubicBezTo>
                    <a:pt x="136684" y="81724"/>
                    <a:pt x="139065" y="83820"/>
                    <a:pt x="140589" y="85916"/>
                  </a:cubicBezTo>
                  <a:lnTo>
                    <a:pt x="140875" y="86296"/>
                  </a:lnTo>
                  <a:lnTo>
                    <a:pt x="111728" y="85820"/>
                  </a:lnTo>
                  <a:lnTo>
                    <a:pt x="104870" y="85820"/>
                  </a:lnTo>
                  <a:lnTo>
                    <a:pt x="104680" y="92583"/>
                  </a:lnTo>
                  <a:lnTo>
                    <a:pt x="103822" y="128397"/>
                  </a:lnTo>
                  <a:lnTo>
                    <a:pt x="103822" y="135445"/>
                  </a:lnTo>
                  <a:lnTo>
                    <a:pt x="110680" y="135445"/>
                  </a:lnTo>
                  <a:lnTo>
                    <a:pt x="224028" y="136969"/>
                  </a:lnTo>
                  <a:lnTo>
                    <a:pt x="230410" y="136969"/>
                  </a:lnTo>
                  <a:lnTo>
                    <a:pt x="231076" y="130683"/>
                  </a:lnTo>
                  <a:cubicBezTo>
                    <a:pt x="231458" y="127159"/>
                    <a:pt x="231743" y="124968"/>
                    <a:pt x="232029" y="122682"/>
                  </a:cubicBezTo>
                  <a:cubicBezTo>
                    <a:pt x="232315" y="120587"/>
                    <a:pt x="232505" y="118300"/>
                    <a:pt x="232505" y="115538"/>
                  </a:cubicBezTo>
                  <a:cubicBezTo>
                    <a:pt x="232505" y="111252"/>
                    <a:pt x="232029" y="105727"/>
                    <a:pt x="230886" y="95059"/>
                  </a:cubicBezTo>
                  <a:close/>
                  <a:moveTo>
                    <a:pt x="218218" y="120682"/>
                  </a:moveTo>
                  <a:lnTo>
                    <a:pt x="218218" y="122777"/>
                  </a:lnTo>
                  <a:lnTo>
                    <a:pt x="117919" y="121253"/>
                  </a:lnTo>
                  <a:lnTo>
                    <a:pt x="118586" y="99441"/>
                  </a:lnTo>
                  <a:lnTo>
                    <a:pt x="149733" y="99917"/>
                  </a:lnTo>
                  <a:lnTo>
                    <a:pt x="156686" y="99917"/>
                  </a:lnTo>
                  <a:lnTo>
                    <a:pt x="156686" y="92678"/>
                  </a:lnTo>
                  <a:cubicBezTo>
                    <a:pt x="156781" y="86963"/>
                    <a:pt x="154876" y="81724"/>
                    <a:pt x="151924" y="77629"/>
                  </a:cubicBezTo>
                  <a:cubicBezTo>
                    <a:pt x="147447" y="71342"/>
                    <a:pt x="141065" y="67246"/>
                    <a:pt x="134493" y="64579"/>
                  </a:cubicBezTo>
                  <a:cubicBezTo>
                    <a:pt x="127921" y="61817"/>
                    <a:pt x="121158" y="60484"/>
                    <a:pt x="115252" y="60389"/>
                  </a:cubicBezTo>
                  <a:lnTo>
                    <a:pt x="114871" y="60389"/>
                  </a:lnTo>
                  <a:cubicBezTo>
                    <a:pt x="106299" y="60389"/>
                    <a:pt x="95631" y="64008"/>
                    <a:pt x="86487" y="72485"/>
                  </a:cubicBezTo>
                  <a:cubicBezTo>
                    <a:pt x="77343" y="80963"/>
                    <a:pt x="70294" y="94488"/>
                    <a:pt x="70104" y="113157"/>
                  </a:cubicBezTo>
                  <a:lnTo>
                    <a:pt x="70104" y="114395"/>
                  </a:lnTo>
                  <a:cubicBezTo>
                    <a:pt x="70104" y="132397"/>
                    <a:pt x="75533" y="146304"/>
                    <a:pt x="84582" y="155353"/>
                  </a:cubicBezTo>
                  <a:cubicBezTo>
                    <a:pt x="93536" y="164497"/>
                    <a:pt x="105442" y="168593"/>
                    <a:pt x="116967" y="168688"/>
                  </a:cubicBezTo>
                  <a:cubicBezTo>
                    <a:pt x="119443" y="168688"/>
                    <a:pt x="121729" y="168688"/>
                    <a:pt x="123920" y="168688"/>
                  </a:cubicBezTo>
                  <a:cubicBezTo>
                    <a:pt x="139351" y="168688"/>
                    <a:pt x="148399" y="167926"/>
                    <a:pt x="155353" y="166497"/>
                  </a:cubicBezTo>
                  <a:cubicBezTo>
                    <a:pt x="160211" y="165449"/>
                    <a:pt x="163735" y="164116"/>
                    <a:pt x="167164" y="162687"/>
                  </a:cubicBezTo>
                  <a:lnTo>
                    <a:pt x="196691" y="196977"/>
                  </a:lnTo>
                  <a:cubicBezTo>
                    <a:pt x="172117" y="215837"/>
                    <a:pt x="146018" y="218789"/>
                    <a:pt x="126778" y="218789"/>
                  </a:cubicBezTo>
                  <a:cubicBezTo>
                    <a:pt x="122396" y="218789"/>
                    <a:pt x="118300" y="218599"/>
                    <a:pt x="114776" y="218503"/>
                  </a:cubicBezTo>
                  <a:cubicBezTo>
                    <a:pt x="58483" y="216313"/>
                    <a:pt x="13621" y="172021"/>
                    <a:pt x="13621" y="116300"/>
                  </a:cubicBezTo>
                  <a:lnTo>
                    <a:pt x="13621" y="114967"/>
                  </a:lnTo>
                  <a:cubicBezTo>
                    <a:pt x="14383" y="58960"/>
                    <a:pt x="60007" y="14002"/>
                    <a:pt x="115919" y="14002"/>
                  </a:cubicBezTo>
                  <a:lnTo>
                    <a:pt x="117253" y="14002"/>
                  </a:lnTo>
                  <a:cubicBezTo>
                    <a:pt x="141637" y="14288"/>
                    <a:pt x="165735" y="24955"/>
                    <a:pt x="184118" y="40672"/>
                  </a:cubicBezTo>
                  <a:cubicBezTo>
                    <a:pt x="202501" y="56388"/>
                    <a:pt x="214884" y="77152"/>
                    <a:pt x="216884" y="96393"/>
                  </a:cubicBezTo>
                  <a:cubicBezTo>
                    <a:pt x="218027" y="106966"/>
                    <a:pt x="218408" y="112109"/>
                    <a:pt x="218408" y="115348"/>
                  </a:cubicBezTo>
                  <a:cubicBezTo>
                    <a:pt x="218408" y="117443"/>
                    <a:pt x="218313" y="118777"/>
                    <a:pt x="218027" y="120777"/>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501" name="Group 500">
            <a:extLst>
              <a:ext uri="{FF2B5EF4-FFF2-40B4-BE49-F238E27FC236}">
                <a16:creationId xmlns:a16="http://schemas.microsoft.com/office/drawing/2014/main" id="{DB4CE087-6AB5-443D-AEB6-E5E8B8549DD2}"/>
              </a:ext>
            </a:extLst>
          </p:cNvPr>
          <p:cNvGrpSpPr/>
          <p:nvPr userDrawn="1"/>
        </p:nvGrpSpPr>
        <p:grpSpPr>
          <a:xfrm>
            <a:off x="4749875" y="3588696"/>
            <a:ext cx="742887" cy="217258"/>
            <a:chOff x="7719924" y="4778937"/>
            <a:chExt cx="3802951" cy="1112176"/>
          </a:xfrm>
        </p:grpSpPr>
        <p:sp>
          <p:nvSpPr>
            <p:cNvPr id="502" name="Freeform: Shape 501">
              <a:extLst>
                <a:ext uri="{FF2B5EF4-FFF2-40B4-BE49-F238E27FC236}">
                  <a16:creationId xmlns:a16="http://schemas.microsoft.com/office/drawing/2014/main" id="{CF8D143B-1A73-4F42-A1E5-B2A65A0BAD71}"/>
                </a:ext>
              </a:extLst>
            </p:cNvPr>
            <p:cNvSpPr/>
            <p:nvPr/>
          </p:nvSpPr>
          <p:spPr>
            <a:xfrm>
              <a:off x="7719924" y="4778937"/>
              <a:ext cx="3778281" cy="1112176"/>
            </a:xfrm>
            <a:custGeom>
              <a:avLst/>
              <a:gdLst>
                <a:gd name="connsiteX0" fmla="*/ 0 w 3778281"/>
                <a:gd name="connsiteY0" fmla="*/ 336995 h 1112176"/>
                <a:gd name="connsiteX1" fmla="*/ 0 w 3778281"/>
                <a:gd name="connsiteY1" fmla="*/ 306324 h 1112176"/>
                <a:gd name="connsiteX2" fmla="*/ 137541 w 3778281"/>
                <a:gd name="connsiteY2" fmla="*/ 306324 h 1112176"/>
                <a:gd name="connsiteX3" fmla="*/ 137541 w 3778281"/>
                <a:gd name="connsiteY3" fmla="*/ 131731 h 1112176"/>
                <a:gd name="connsiteX4" fmla="*/ 295275 w 3778281"/>
                <a:gd name="connsiteY4" fmla="*/ 0 h 1112176"/>
                <a:gd name="connsiteX5" fmla="*/ 362426 w 3778281"/>
                <a:gd name="connsiteY5" fmla="*/ 6096 h 1112176"/>
                <a:gd name="connsiteX6" fmla="*/ 362426 w 3778281"/>
                <a:gd name="connsiteY6" fmla="*/ 36767 h 1112176"/>
                <a:gd name="connsiteX7" fmla="*/ 288989 w 3778281"/>
                <a:gd name="connsiteY7" fmla="*/ 30671 h 1112176"/>
                <a:gd name="connsiteX8" fmla="*/ 168688 w 3778281"/>
                <a:gd name="connsiteY8" fmla="*/ 142494 h 1112176"/>
                <a:gd name="connsiteX9" fmla="*/ 168688 w 3778281"/>
                <a:gd name="connsiteY9" fmla="*/ 306419 h 1112176"/>
                <a:gd name="connsiteX10" fmla="*/ 342138 w 3778281"/>
                <a:gd name="connsiteY10" fmla="*/ 306419 h 1112176"/>
                <a:gd name="connsiteX11" fmla="*/ 342138 w 3778281"/>
                <a:gd name="connsiteY11" fmla="*/ 337090 h 1112176"/>
                <a:gd name="connsiteX12" fmla="*/ 168783 w 3778281"/>
                <a:gd name="connsiteY12" fmla="*/ 337090 h 1112176"/>
                <a:gd name="connsiteX13" fmla="*/ 168783 w 3778281"/>
                <a:gd name="connsiteY13" fmla="*/ 1093756 h 1112176"/>
                <a:gd name="connsiteX14" fmla="*/ 137541 w 3778281"/>
                <a:gd name="connsiteY14" fmla="*/ 1093756 h 1112176"/>
                <a:gd name="connsiteX15" fmla="*/ 137541 w 3778281"/>
                <a:gd name="connsiteY15" fmla="*/ 336995 h 1112176"/>
                <a:gd name="connsiteX16" fmla="*/ 0 w 3778281"/>
                <a:gd name="connsiteY16" fmla="*/ 336995 h 1112176"/>
                <a:gd name="connsiteX17" fmla="*/ 437483 w 3778281"/>
                <a:gd name="connsiteY17" fmla="*/ 1093756 h 1112176"/>
                <a:gd name="connsiteX18" fmla="*/ 406241 w 3778281"/>
                <a:gd name="connsiteY18" fmla="*/ 1093756 h 1112176"/>
                <a:gd name="connsiteX19" fmla="*/ 406241 w 3778281"/>
                <a:gd name="connsiteY19" fmla="*/ 306419 h 1112176"/>
                <a:gd name="connsiteX20" fmla="*/ 437483 w 3778281"/>
                <a:gd name="connsiteY20" fmla="*/ 306419 h 1112176"/>
                <a:gd name="connsiteX21" fmla="*/ 437483 w 3778281"/>
                <a:gd name="connsiteY21" fmla="*/ 500920 h 1112176"/>
                <a:gd name="connsiteX22" fmla="*/ 440626 w 3778281"/>
                <a:gd name="connsiteY22" fmla="*/ 500920 h 1112176"/>
                <a:gd name="connsiteX23" fmla="*/ 756285 w 3778281"/>
                <a:gd name="connsiteY23" fmla="*/ 287941 h 1112176"/>
                <a:gd name="connsiteX24" fmla="*/ 756285 w 3778281"/>
                <a:gd name="connsiteY24" fmla="*/ 318611 h 1112176"/>
                <a:gd name="connsiteX25" fmla="*/ 437483 w 3778281"/>
                <a:gd name="connsiteY25" fmla="*/ 647986 h 1112176"/>
                <a:gd name="connsiteX26" fmla="*/ 437483 w 3778281"/>
                <a:gd name="connsiteY26" fmla="*/ 1093756 h 1112176"/>
                <a:gd name="connsiteX27" fmla="*/ 795338 w 3778281"/>
                <a:gd name="connsiteY27" fmla="*/ 706184 h 1112176"/>
                <a:gd name="connsiteX28" fmla="*/ 1112520 w 3778281"/>
                <a:gd name="connsiteY28" fmla="*/ 1081469 h 1112176"/>
                <a:gd name="connsiteX29" fmla="*/ 1426559 w 3778281"/>
                <a:gd name="connsiteY29" fmla="*/ 821055 h 1112176"/>
                <a:gd name="connsiteX30" fmla="*/ 1457801 w 3778281"/>
                <a:gd name="connsiteY30" fmla="*/ 821055 h 1112176"/>
                <a:gd name="connsiteX31" fmla="*/ 1115568 w 3778281"/>
                <a:gd name="connsiteY31" fmla="*/ 1112139 h 1112176"/>
                <a:gd name="connsiteX32" fmla="*/ 764000 w 3778281"/>
                <a:gd name="connsiteY32" fmla="*/ 700088 h 1112176"/>
                <a:gd name="connsiteX33" fmla="*/ 1115568 w 3778281"/>
                <a:gd name="connsiteY33" fmla="*/ 288036 h 1112176"/>
                <a:gd name="connsiteX34" fmla="*/ 1467136 w 3778281"/>
                <a:gd name="connsiteY34" fmla="*/ 706279 h 1112176"/>
                <a:gd name="connsiteX35" fmla="*/ 795338 w 3778281"/>
                <a:gd name="connsiteY35" fmla="*/ 706279 h 1112176"/>
                <a:gd name="connsiteX36" fmla="*/ 1435989 w 3778281"/>
                <a:gd name="connsiteY36" fmla="*/ 675513 h 1112176"/>
                <a:gd name="connsiteX37" fmla="*/ 1118807 w 3778281"/>
                <a:gd name="connsiteY37" fmla="*/ 318611 h 1112176"/>
                <a:gd name="connsiteX38" fmla="*/ 795338 w 3778281"/>
                <a:gd name="connsiteY38" fmla="*/ 675513 h 1112176"/>
                <a:gd name="connsiteX39" fmla="*/ 1435989 w 3778281"/>
                <a:gd name="connsiteY39" fmla="*/ 675513 h 1112176"/>
                <a:gd name="connsiteX40" fmla="*/ 2115693 w 3778281"/>
                <a:gd name="connsiteY40" fmla="*/ 539210 h 1112176"/>
                <a:gd name="connsiteX41" fmla="*/ 1856327 w 3778281"/>
                <a:gd name="connsiteY41" fmla="*/ 318611 h 1112176"/>
                <a:gd name="connsiteX42" fmla="*/ 1615726 w 3778281"/>
                <a:gd name="connsiteY42" fmla="*/ 485585 h 1112176"/>
                <a:gd name="connsiteX43" fmla="*/ 1704785 w 3778281"/>
                <a:gd name="connsiteY43" fmla="*/ 623411 h 1112176"/>
                <a:gd name="connsiteX44" fmla="*/ 1911001 w 3778281"/>
                <a:gd name="connsiteY44" fmla="*/ 681609 h 1112176"/>
                <a:gd name="connsiteX45" fmla="*/ 2168843 w 3778281"/>
                <a:gd name="connsiteY45" fmla="*/ 892969 h 1112176"/>
                <a:gd name="connsiteX46" fmla="*/ 1878235 w 3778281"/>
                <a:gd name="connsiteY46" fmla="*/ 1112044 h 1112176"/>
                <a:gd name="connsiteX47" fmla="*/ 1553242 w 3778281"/>
                <a:gd name="connsiteY47" fmla="*/ 824008 h 1112176"/>
                <a:gd name="connsiteX48" fmla="*/ 1584484 w 3778281"/>
                <a:gd name="connsiteY48" fmla="*/ 824008 h 1112176"/>
                <a:gd name="connsiteX49" fmla="*/ 1878235 w 3778281"/>
                <a:gd name="connsiteY49" fmla="*/ 1081373 h 1112176"/>
                <a:gd name="connsiteX50" fmla="*/ 2137601 w 3778281"/>
                <a:gd name="connsiteY50" fmla="*/ 896017 h 1112176"/>
                <a:gd name="connsiteX51" fmla="*/ 1860995 w 3778281"/>
                <a:gd name="connsiteY51" fmla="*/ 701516 h 1112176"/>
                <a:gd name="connsiteX52" fmla="*/ 1681258 w 3778281"/>
                <a:gd name="connsiteY52" fmla="*/ 647890 h 1112176"/>
                <a:gd name="connsiteX53" fmla="*/ 1584389 w 3778281"/>
                <a:gd name="connsiteY53" fmla="*/ 485489 h 1112176"/>
                <a:gd name="connsiteX54" fmla="*/ 1856232 w 3778281"/>
                <a:gd name="connsiteY54" fmla="*/ 287846 h 1112176"/>
                <a:gd name="connsiteX55" fmla="*/ 2146840 w 3778281"/>
                <a:gd name="connsiteY55" fmla="*/ 539115 h 1112176"/>
                <a:gd name="connsiteX56" fmla="*/ 2115598 w 3778281"/>
                <a:gd name="connsiteY56" fmla="*/ 539115 h 1112176"/>
                <a:gd name="connsiteX57" fmla="*/ 2962561 w 3778281"/>
                <a:gd name="connsiteY57" fmla="*/ 825627 h 1112176"/>
                <a:gd name="connsiteX58" fmla="*/ 2634424 w 3778281"/>
                <a:gd name="connsiteY58" fmla="*/ 1112139 h 1112176"/>
                <a:gd name="connsiteX59" fmla="*/ 2278190 w 3778281"/>
                <a:gd name="connsiteY59" fmla="*/ 716947 h 1112176"/>
                <a:gd name="connsiteX60" fmla="*/ 2653189 w 3778281"/>
                <a:gd name="connsiteY60" fmla="*/ 288036 h 1112176"/>
                <a:gd name="connsiteX61" fmla="*/ 2956370 w 3778281"/>
                <a:gd name="connsiteY61" fmla="*/ 545402 h 1112176"/>
                <a:gd name="connsiteX62" fmla="*/ 2925128 w 3778281"/>
                <a:gd name="connsiteY62" fmla="*/ 545402 h 1112176"/>
                <a:gd name="connsiteX63" fmla="*/ 2653284 w 3778281"/>
                <a:gd name="connsiteY63" fmla="*/ 318707 h 1112176"/>
                <a:gd name="connsiteX64" fmla="*/ 2309527 w 3778281"/>
                <a:gd name="connsiteY64" fmla="*/ 717042 h 1112176"/>
                <a:gd name="connsiteX65" fmla="*/ 2634520 w 3778281"/>
                <a:gd name="connsiteY65" fmla="*/ 1081659 h 1112176"/>
                <a:gd name="connsiteX66" fmla="*/ 2931414 w 3778281"/>
                <a:gd name="connsiteY66" fmla="*/ 825818 h 1112176"/>
                <a:gd name="connsiteX67" fmla="*/ 2962656 w 3778281"/>
                <a:gd name="connsiteY67" fmla="*/ 825818 h 1112176"/>
                <a:gd name="connsiteX68" fmla="*/ 3417284 w 3778281"/>
                <a:gd name="connsiteY68" fmla="*/ 287941 h 1112176"/>
                <a:gd name="connsiteX69" fmla="*/ 3778282 w 3778281"/>
                <a:gd name="connsiteY69" fmla="*/ 699992 h 1112176"/>
                <a:gd name="connsiteX70" fmla="*/ 3415760 w 3778281"/>
                <a:gd name="connsiteY70" fmla="*/ 1112044 h 1112176"/>
                <a:gd name="connsiteX71" fmla="*/ 3054858 w 3778281"/>
                <a:gd name="connsiteY71" fmla="*/ 699992 h 1112176"/>
                <a:gd name="connsiteX72" fmla="*/ 3417380 w 3778281"/>
                <a:gd name="connsiteY72" fmla="*/ 287941 h 1112176"/>
                <a:gd name="connsiteX73" fmla="*/ 3417284 w 3778281"/>
                <a:gd name="connsiteY73" fmla="*/ 1081469 h 1112176"/>
                <a:gd name="connsiteX74" fmla="*/ 3746945 w 3778281"/>
                <a:gd name="connsiteY74" fmla="*/ 699992 h 1112176"/>
                <a:gd name="connsiteX75" fmla="*/ 3417284 w 3778281"/>
                <a:gd name="connsiteY75" fmla="*/ 318516 h 1112176"/>
                <a:gd name="connsiteX76" fmla="*/ 3086005 w 3778281"/>
                <a:gd name="connsiteY76" fmla="*/ 699992 h 1112176"/>
                <a:gd name="connsiteX77" fmla="*/ 3417284 w 3778281"/>
                <a:gd name="connsiteY77" fmla="*/ 1081469 h 111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3778281" h="1112176">
                  <a:moveTo>
                    <a:pt x="0" y="336995"/>
                  </a:moveTo>
                  <a:lnTo>
                    <a:pt x="0" y="306324"/>
                  </a:lnTo>
                  <a:lnTo>
                    <a:pt x="137541" y="306324"/>
                  </a:lnTo>
                  <a:lnTo>
                    <a:pt x="137541" y="131731"/>
                  </a:lnTo>
                  <a:cubicBezTo>
                    <a:pt x="137541" y="6096"/>
                    <a:pt x="228124" y="0"/>
                    <a:pt x="295275" y="0"/>
                  </a:cubicBezTo>
                  <a:cubicBezTo>
                    <a:pt x="323374" y="0"/>
                    <a:pt x="345281" y="4572"/>
                    <a:pt x="362426" y="6096"/>
                  </a:cubicBezTo>
                  <a:lnTo>
                    <a:pt x="362426" y="36767"/>
                  </a:lnTo>
                  <a:cubicBezTo>
                    <a:pt x="332708" y="32195"/>
                    <a:pt x="312420" y="30671"/>
                    <a:pt x="288989" y="30671"/>
                  </a:cubicBezTo>
                  <a:cubicBezTo>
                    <a:pt x="188976" y="30671"/>
                    <a:pt x="168688" y="65913"/>
                    <a:pt x="168688" y="142494"/>
                  </a:cubicBezTo>
                  <a:lnTo>
                    <a:pt x="168688" y="306419"/>
                  </a:lnTo>
                  <a:lnTo>
                    <a:pt x="342138" y="306419"/>
                  </a:lnTo>
                  <a:lnTo>
                    <a:pt x="342138" y="337090"/>
                  </a:lnTo>
                  <a:lnTo>
                    <a:pt x="168783" y="337090"/>
                  </a:lnTo>
                  <a:lnTo>
                    <a:pt x="168783" y="1093756"/>
                  </a:lnTo>
                  <a:lnTo>
                    <a:pt x="137541" y="1093756"/>
                  </a:lnTo>
                  <a:lnTo>
                    <a:pt x="137541" y="336995"/>
                  </a:lnTo>
                  <a:lnTo>
                    <a:pt x="0" y="336995"/>
                  </a:lnTo>
                  <a:close/>
                  <a:moveTo>
                    <a:pt x="437483" y="1093756"/>
                  </a:moveTo>
                  <a:lnTo>
                    <a:pt x="406241" y="1093756"/>
                  </a:lnTo>
                  <a:lnTo>
                    <a:pt x="406241" y="306419"/>
                  </a:lnTo>
                  <a:lnTo>
                    <a:pt x="437483" y="306419"/>
                  </a:lnTo>
                  <a:lnTo>
                    <a:pt x="437483" y="500920"/>
                  </a:lnTo>
                  <a:lnTo>
                    <a:pt x="440626" y="500920"/>
                  </a:lnTo>
                  <a:cubicBezTo>
                    <a:pt x="470345" y="384524"/>
                    <a:pt x="564071" y="281845"/>
                    <a:pt x="756285" y="287941"/>
                  </a:cubicBezTo>
                  <a:lnTo>
                    <a:pt x="756285" y="318611"/>
                  </a:lnTo>
                  <a:cubicBezTo>
                    <a:pt x="535972" y="307848"/>
                    <a:pt x="437483" y="476441"/>
                    <a:pt x="437483" y="647986"/>
                  </a:cubicBezTo>
                  <a:lnTo>
                    <a:pt x="437483" y="1093756"/>
                  </a:lnTo>
                  <a:close/>
                  <a:moveTo>
                    <a:pt x="795338" y="706184"/>
                  </a:moveTo>
                  <a:cubicBezTo>
                    <a:pt x="798481" y="917543"/>
                    <a:pt x="884396" y="1081469"/>
                    <a:pt x="1112520" y="1081469"/>
                  </a:cubicBezTo>
                  <a:cubicBezTo>
                    <a:pt x="1278160" y="1081469"/>
                    <a:pt x="1399985" y="991076"/>
                    <a:pt x="1426559" y="821055"/>
                  </a:cubicBezTo>
                  <a:lnTo>
                    <a:pt x="1457801" y="821055"/>
                  </a:lnTo>
                  <a:cubicBezTo>
                    <a:pt x="1435894" y="1001840"/>
                    <a:pt x="1298448" y="1112139"/>
                    <a:pt x="1115568" y="1112139"/>
                  </a:cubicBezTo>
                  <a:cubicBezTo>
                    <a:pt x="867156" y="1115187"/>
                    <a:pt x="764000" y="934403"/>
                    <a:pt x="764000" y="700088"/>
                  </a:cubicBezTo>
                  <a:cubicBezTo>
                    <a:pt x="764000" y="438150"/>
                    <a:pt x="934307" y="288036"/>
                    <a:pt x="1115568" y="288036"/>
                  </a:cubicBezTo>
                  <a:cubicBezTo>
                    <a:pt x="1365599" y="288036"/>
                    <a:pt x="1476470" y="490252"/>
                    <a:pt x="1467136" y="706279"/>
                  </a:cubicBezTo>
                  <a:lnTo>
                    <a:pt x="795338" y="706279"/>
                  </a:lnTo>
                  <a:close/>
                  <a:moveTo>
                    <a:pt x="1435989" y="675513"/>
                  </a:moveTo>
                  <a:cubicBezTo>
                    <a:pt x="1437513" y="482537"/>
                    <a:pt x="1326642" y="318611"/>
                    <a:pt x="1118807" y="318611"/>
                  </a:cubicBezTo>
                  <a:cubicBezTo>
                    <a:pt x="945356" y="318611"/>
                    <a:pt x="806291" y="454914"/>
                    <a:pt x="795338" y="675513"/>
                  </a:cubicBezTo>
                  <a:lnTo>
                    <a:pt x="1435989" y="675513"/>
                  </a:lnTo>
                  <a:close/>
                  <a:moveTo>
                    <a:pt x="2115693" y="539210"/>
                  </a:moveTo>
                  <a:cubicBezTo>
                    <a:pt x="2115693" y="381381"/>
                    <a:pt x="2009394" y="318611"/>
                    <a:pt x="1856327" y="318611"/>
                  </a:cubicBezTo>
                  <a:cubicBezTo>
                    <a:pt x="1631347" y="318611"/>
                    <a:pt x="1615726" y="458057"/>
                    <a:pt x="1615726" y="485585"/>
                  </a:cubicBezTo>
                  <a:cubicBezTo>
                    <a:pt x="1615726" y="563690"/>
                    <a:pt x="1650111" y="601980"/>
                    <a:pt x="1704785" y="623411"/>
                  </a:cubicBezTo>
                  <a:cubicBezTo>
                    <a:pt x="1761077" y="644843"/>
                    <a:pt x="1825085" y="658654"/>
                    <a:pt x="1911001" y="681609"/>
                  </a:cubicBezTo>
                  <a:cubicBezTo>
                    <a:pt x="2034445" y="712280"/>
                    <a:pt x="2168843" y="742855"/>
                    <a:pt x="2168843" y="892969"/>
                  </a:cubicBezTo>
                  <a:cubicBezTo>
                    <a:pt x="2168843" y="1050703"/>
                    <a:pt x="2017300" y="1112044"/>
                    <a:pt x="1878235" y="1112044"/>
                  </a:cubicBezTo>
                  <a:cubicBezTo>
                    <a:pt x="1667256" y="1112044"/>
                    <a:pt x="1553242" y="1021652"/>
                    <a:pt x="1553242" y="824008"/>
                  </a:cubicBezTo>
                  <a:lnTo>
                    <a:pt x="1584484" y="824008"/>
                  </a:lnTo>
                  <a:cubicBezTo>
                    <a:pt x="1584484" y="998601"/>
                    <a:pt x="1692307" y="1081373"/>
                    <a:pt x="1878235" y="1081373"/>
                  </a:cubicBezTo>
                  <a:cubicBezTo>
                    <a:pt x="1993868" y="1081373"/>
                    <a:pt x="2137601" y="1030796"/>
                    <a:pt x="2137601" y="896017"/>
                  </a:cubicBezTo>
                  <a:cubicBezTo>
                    <a:pt x="2137601" y="761238"/>
                    <a:pt x="1998536" y="735140"/>
                    <a:pt x="1860995" y="701516"/>
                  </a:cubicBezTo>
                  <a:cubicBezTo>
                    <a:pt x="1784414" y="683133"/>
                    <a:pt x="1726597" y="667798"/>
                    <a:pt x="1681258" y="647890"/>
                  </a:cubicBezTo>
                  <a:cubicBezTo>
                    <a:pt x="1615631" y="620268"/>
                    <a:pt x="1584389" y="569786"/>
                    <a:pt x="1584389" y="485489"/>
                  </a:cubicBezTo>
                  <a:cubicBezTo>
                    <a:pt x="1584389" y="401193"/>
                    <a:pt x="1656302" y="287846"/>
                    <a:pt x="1856232" y="287846"/>
                  </a:cubicBezTo>
                  <a:cubicBezTo>
                    <a:pt x="2034350" y="287846"/>
                    <a:pt x="2146840" y="364426"/>
                    <a:pt x="2146840" y="539115"/>
                  </a:cubicBezTo>
                  <a:lnTo>
                    <a:pt x="2115598" y="539115"/>
                  </a:lnTo>
                  <a:close/>
                  <a:moveTo>
                    <a:pt x="2962561" y="825627"/>
                  </a:moveTo>
                  <a:cubicBezTo>
                    <a:pt x="2945416" y="1001840"/>
                    <a:pt x="2815685" y="1112139"/>
                    <a:pt x="2634424" y="1112139"/>
                  </a:cubicBezTo>
                  <a:cubicBezTo>
                    <a:pt x="2406301" y="1112139"/>
                    <a:pt x="2278190" y="931355"/>
                    <a:pt x="2278190" y="716947"/>
                  </a:cubicBezTo>
                  <a:cubicBezTo>
                    <a:pt x="2278190" y="488728"/>
                    <a:pt x="2395347" y="288036"/>
                    <a:pt x="2653189" y="288036"/>
                  </a:cubicBezTo>
                  <a:cubicBezTo>
                    <a:pt x="2803208" y="288036"/>
                    <a:pt x="2935986" y="378428"/>
                    <a:pt x="2956370" y="545402"/>
                  </a:cubicBezTo>
                  <a:lnTo>
                    <a:pt x="2925128" y="545402"/>
                  </a:lnTo>
                  <a:cubicBezTo>
                    <a:pt x="2900172" y="392240"/>
                    <a:pt x="2786063" y="318707"/>
                    <a:pt x="2653284" y="318707"/>
                  </a:cubicBezTo>
                  <a:cubicBezTo>
                    <a:pt x="2397062" y="318707"/>
                    <a:pt x="2309527" y="531686"/>
                    <a:pt x="2309527" y="717042"/>
                  </a:cubicBezTo>
                  <a:cubicBezTo>
                    <a:pt x="2309527" y="902399"/>
                    <a:pt x="2422017" y="1081659"/>
                    <a:pt x="2634520" y="1081659"/>
                  </a:cubicBezTo>
                  <a:cubicBezTo>
                    <a:pt x="2792349" y="1081659"/>
                    <a:pt x="2918936" y="983647"/>
                    <a:pt x="2931414" y="825818"/>
                  </a:cubicBezTo>
                  <a:lnTo>
                    <a:pt x="2962656" y="825818"/>
                  </a:lnTo>
                  <a:close/>
                  <a:moveTo>
                    <a:pt x="3417284" y="287941"/>
                  </a:moveTo>
                  <a:cubicBezTo>
                    <a:pt x="3651695" y="287941"/>
                    <a:pt x="3778282" y="485585"/>
                    <a:pt x="3778282" y="699992"/>
                  </a:cubicBezTo>
                  <a:cubicBezTo>
                    <a:pt x="3778282" y="914400"/>
                    <a:pt x="3651695" y="1112044"/>
                    <a:pt x="3415760" y="1112044"/>
                  </a:cubicBezTo>
                  <a:cubicBezTo>
                    <a:pt x="3179826" y="1112044"/>
                    <a:pt x="3054858" y="915924"/>
                    <a:pt x="3054858" y="699992"/>
                  </a:cubicBezTo>
                  <a:cubicBezTo>
                    <a:pt x="3054858" y="484061"/>
                    <a:pt x="3181445" y="287941"/>
                    <a:pt x="3417380" y="287941"/>
                  </a:cubicBezTo>
                  <a:close/>
                  <a:moveTo>
                    <a:pt x="3417284" y="1081469"/>
                  </a:moveTo>
                  <a:cubicBezTo>
                    <a:pt x="3631311" y="1081469"/>
                    <a:pt x="3746945" y="899160"/>
                    <a:pt x="3746945" y="699992"/>
                  </a:cubicBezTo>
                  <a:cubicBezTo>
                    <a:pt x="3746945" y="500825"/>
                    <a:pt x="3631311" y="318516"/>
                    <a:pt x="3417284" y="318516"/>
                  </a:cubicBezTo>
                  <a:cubicBezTo>
                    <a:pt x="3203258" y="318516"/>
                    <a:pt x="3086005" y="503873"/>
                    <a:pt x="3086005" y="699992"/>
                  </a:cubicBezTo>
                  <a:cubicBezTo>
                    <a:pt x="3086005" y="896112"/>
                    <a:pt x="3200114" y="1081469"/>
                    <a:pt x="3417284" y="1081469"/>
                  </a:cubicBez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sp>
          <p:nvSpPr>
            <p:cNvPr id="503" name="Freeform: Shape 502">
              <a:extLst>
                <a:ext uri="{FF2B5EF4-FFF2-40B4-BE49-F238E27FC236}">
                  <a16:creationId xmlns:a16="http://schemas.microsoft.com/office/drawing/2014/main" id="{3BCBAA21-6F6C-43A5-A11D-61E03BB2D006}"/>
                </a:ext>
              </a:extLst>
            </p:cNvPr>
            <p:cNvSpPr/>
            <p:nvPr/>
          </p:nvSpPr>
          <p:spPr>
            <a:xfrm>
              <a:off x="11400765" y="5058495"/>
              <a:ext cx="122110" cy="64579"/>
            </a:xfrm>
            <a:custGeom>
              <a:avLst/>
              <a:gdLst>
                <a:gd name="connsiteX0" fmla="*/ 0 w 122110"/>
                <a:gd name="connsiteY0" fmla="*/ 0 h 64579"/>
                <a:gd name="connsiteX1" fmla="*/ 52197 w 122110"/>
                <a:gd name="connsiteY1" fmla="*/ 0 h 64579"/>
                <a:gd name="connsiteX2" fmla="*/ 52197 w 122110"/>
                <a:gd name="connsiteY2" fmla="*/ 5239 h 64579"/>
                <a:gd name="connsiteX3" fmla="*/ 29242 w 122110"/>
                <a:gd name="connsiteY3" fmla="*/ 5239 h 64579"/>
                <a:gd name="connsiteX4" fmla="*/ 29242 w 122110"/>
                <a:gd name="connsiteY4" fmla="*/ 64580 h 64579"/>
                <a:gd name="connsiteX5" fmla="*/ 22955 w 122110"/>
                <a:gd name="connsiteY5" fmla="*/ 64580 h 64579"/>
                <a:gd name="connsiteX6" fmla="*/ 22955 w 122110"/>
                <a:gd name="connsiteY6" fmla="*/ 5239 h 64579"/>
                <a:gd name="connsiteX7" fmla="*/ 0 w 122110"/>
                <a:gd name="connsiteY7" fmla="*/ 5239 h 64579"/>
                <a:gd name="connsiteX8" fmla="*/ 0 w 122110"/>
                <a:gd name="connsiteY8" fmla="*/ 0 h 64579"/>
                <a:gd name="connsiteX9" fmla="*/ 58198 w 122110"/>
                <a:gd name="connsiteY9" fmla="*/ 0 h 64579"/>
                <a:gd name="connsiteX10" fmla="*/ 67437 w 122110"/>
                <a:gd name="connsiteY10" fmla="*/ 0 h 64579"/>
                <a:gd name="connsiteX11" fmla="*/ 90202 w 122110"/>
                <a:gd name="connsiteY11" fmla="*/ 56579 h 64579"/>
                <a:gd name="connsiteX12" fmla="*/ 112871 w 122110"/>
                <a:gd name="connsiteY12" fmla="*/ 0 h 64579"/>
                <a:gd name="connsiteX13" fmla="*/ 122111 w 122110"/>
                <a:gd name="connsiteY13" fmla="*/ 0 h 64579"/>
                <a:gd name="connsiteX14" fmla="*/ 122111 w 122110"/>
                <a:gd name="connsiteY14" fmla="*/ 64580 h 64579"/>
                <a:gd name="connsiteX15" fmla="*/ 115824 w 122110"/>
                <a:gd name="connsiteY15" fmla="*/ 64580 h 64579"/>
                <a:gd name="connsiteX16" fmla="*/ 115824 w 122110"/>
                <a:gd name="connsiteY16" fmla="*/ 8763 h 64579"/>
                <a:gd name="connsiteX17" fmla="*/ 115633 w 122110"/>
                <a:gd name="connsiteY17" fmla="*/ 8763 h 64579"/>
                <a:gd name="connsiteX18" fmla="*/ 93154 w 122110"/>
                <a:gd name="connsiteY18" fmla="*/ 64580 h 64579"/>
                <a:gd name="connsiteX19" fmla="*/ 87249 w 122110"/>
                <a:gd name="connsiteY19" fmla="*/ 64580 h 64579"/>
                <a:gd name="connsiteX20" fmla="*/ 64675 w 122110"/>
                <a:gd name="connsiteY20" fmla="*/ 8763 h 64579"/>
                <a:gd name="connsiteX21" fmla="*/ 64484 w 122110"/>
                <a:gd name="connsiteY21" fmla="*/ 8763 h 64579"/>
                <a:gd name="connsiteX22" fmla="*/ 64484 w 122110"/>
                <a:gd name="connsiteY22" fmla="*/ 64580 h 64579"/>
                <a:gd name="connsiteX23" fmla="*/ 58198 w 122110"/>
                <a:gd name="connsiteY23" fmla="*/ 64580 h 64579"/>
                <a:gd name="connsiteX24" fmla="*/ 58198 w 122110"/>
                <a:gd name="connsiteY24" fmla="*/ 0 h 64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110" h="64579">
                  <a:moveTo>
                    <a:pt x="0" y="0"/>
                  </a:moveTo>
                  <a:lnTo>
                    <a:pt x="52197" y="0"/>
                  </a:lnTo>
                  <a:lnTo>
                    <a:pt x="52197" y="5239"/>
                  </a:lnTo>
                  <a:lnTo>
                    <a:pt x="29242" y="5239"/>
                  </a:lnTo>
                  <a:lnTo>
                    <a:pt x="29242" y="64580"/>
                  </a:lnTo>
                  <a:lnTo>
                    <a:pt x="22955" y="64580"/>
                  </a:lnTo>
                  <a:lnTo>
                    <a:pt x="22955" y="5239"/>
                  </a:lnTo>
                  <a:lnTo>
                    <a:pt x="0" y="5239"/>
                  </a:lnTo>
                  <a:lnTo>
                    <a:pt x="0" y="0"/>
                  </a:lnTo>
                  <a:close/>
                  <a:moveTo>
                    <a:pt x="58198" y="0"/>
                  </a:moveTo>
                  <a:lnTo>
                    <a:pt x="67437" y="0"/>
                  </a:lnTo>
                  <a:lnTo>
                    <a:pt x="90202" y="56579"/>
                  </a:lnTo>
                  <a:lnTo>
                    <a:pt x="112871" y="0"/>
                  </a:lnTo>
                  <a:lnTo>
                    <a:pt x="122111" y="0"/>
                  </a:lnTo>
                  <a:lnTo>
                    <a:pt x="122111" y="64580"/>
                  </a:lnTo>
                  <a:lnTo>
                    <a:pt x="115824" y="64580"/>
                  </a:lnTo>
                  <a:lnTo>
                    <a:pt x="115824" y="8763"/>
                  </a:lnTo>
                  <a:lnTo>
                    <a:pt x="115633" y="8763"/>
                  </a:lnTo>
                  <a:lnTo>
                    <a:pt x="93154" y="64580"/>
                  </a:lnTo>
                  <a:lnTo>
                    <a:pt x="87249" y="64580"/>
                  </a:lnTo>
                  <a:lnTo>
                    <a:pt x="64675" y="8763"/>
                  </a:lnTo>
                  <a:lnTo>
                    <a:pt x="64484" y="8763"/>
                  </a:lnTo>
                  <a:lnTo>
                    <a:pt x="64484" y="64580"/>
                  </a:lnTo>
                  <a:lnTo>
                    <a:pt x="58198" y="64580"/>
                  </a:lnTo>
                  <a:lnTo>
                    <a:pt x="58198" y="0"/>
                  </a:lnTo>
                  <a:close/>
                </a:path>
              </a:pathLst>
            </a:custGeom>
            <a:solidFill>
              <a:srgbClr val="A1ABB2"/>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95965"/>
                </a:solidFill>
                <a:effectLst/>
                <a:uLnTx/>
                <a:uFillTx/>
                <a:latin typeface="Arial"/>
                <a:ea typeface="+mn-ea"/>
                <a:cs typeface="+mn-cs"/>
              </a:endParaRPr>
            </a:p>
          </p:txBody>
        </p:sp>
      </p:grpSp>
      <p:grpSp>
        <p:nvGrpSpPr>
          <p:cNvPr id="21" name="Group 20">
            <a:extLst>
              <a:ext uri="{FF2B5EF4-FFF2-40B4-BE49-F238E27FC236}">
                <a16:creationId xmlns:a16="http://schemas.microsoft.com/office/drawing/2014/main" id="{D910ED23-6B7C-4C58-8259-E3B81CE15F27}"/>
              </a:ext>
            </a:extLst>
          </p:cNvPr>
          <p:cNvGrpSpPr/>
          <p:nvPr userDrawn="1"/>
        </p:nvGrpSpPr>
        <p:grpSpPr>
          <a:xfrm>
            <a:off x="6006704" y="4404063"/>
            <a:ext cx="1377673" cy="157428"/>
            <a:chOff x="5225227" y="4901419"/>
            <a:chExt cx="2738142" cy="312890"/>
          </a:xfrm>
        </p:grpSpPr>
        <p:sp>
          <p:nvSpPr>
            <p:cNvPr id="6" name="Freeform: Shape 5">
              <a:extLst>
                <a:ext uri="{FF2B5EF4-FFF2-40B4-BE49-F238E27FC236}">
                  <a16:creationId xmlns:a16="http://schemas.microsoft.com/office/drawing/2014/main" id="{B6C7AF49-A620-4584-9214-58E99B1AC723}"/>
                </a:ext>
              </a:extLst>
            </p:cNvPr>
            <p:cNvSpPr/>
            <p:nvPr/>
          </p:nvSpPr>
          <p:spPr>
            <a:xfrm>
              <a:off x="5225227" y="4901474"/>
              <a:ext cx="272078" cy="312835"/>
            </a:xfrm>
            <a:custGeom>
              <a:avLst/>
              <a:gdLst>
                <a:gd name="connsiteX0" fmla="*/ 211024 w 272078"/>
                <a:gd name="connsiteY0" fmla="*/ 279316 h 312835"/>
                <a:gd name="connsiteX1" fmla="*/ 136257 w 272078"/>
                <a:gd name="connsiteY1" fmla="*/ 300320 h 312835"/>
                <a:gd name="connsiteX2" fmla="*/ 76617 w 272078"/>
                <a:gd name="connsiteY2" fmla="*/ 287968 h 312835"/>
                <a:gd name="connsiteX3" fmla="*/ 33955 w 272078"/>
                <a:gd name="connsiteY3" fmla="*/ 255046 h 312835"/>
                <a:gd name="connsiteX4" fmla="*/ 8489 w 272078"/>
                <a:gd name="connsiteY4" fmla="*/ 207324 h 312835"/>
                <a:gd name="connsiteX5" fmla="*/ 0 w 272078"/>
                <a:gd name="connsiteY5" fmla="*/ 150351 h 312835"/>
                <a:gd name="connsiteX6" fmla="*/ 8489 w 272078"/>
                <a:gd name="connsiteY6" fmla="*/ 93377 h 312835"/>
                <a:gd name="connsiteX7" fmla="*/ 33955 w 272078"/>
                <a:gd name="connsiteY7" fmla="*/ 45492 h 312835"/>
                <a:gd name="connsiteX8" fmla="*/ 76617 w 272078"/>
                <a:gd name="connsiteY8" fmla="*/ 12352 h 312835"/>
                <a:gd name="connsiteX9" fmla="*/ 136257 w 272078"/>
                <a:gd name="connsiteY9" fmla="*/ 0 h 312835"/>
                <a:gd name="connsiteX10" fmla="*/ 195679 w 272078"/>
                <a:gd name="connsiteY10" fmla="*/ 12352 h 312835"/>
                <a:gd name="connsiteX11" fmla="*/ 238123 w 272078"/>
                <a:gd name="connsiteY11" fmla="*/ 45492 h 312835"/>
                <a:gd name="connsiteX12" fmla="*/ 263590 w 272078"/>
                <a:gd name="connsiteY12" fmla="*/ 93377 h 312835"/>
                <a:gd name="connsiteX13" fmla="*/ 272078 w 272078"/>
                <a:gd name="connsiteY13" fmla="*/ 150351 h 312835"/>
                <a:gd name="connsiteX14" fmla="*/ 261141 w 272078"/>
                <a:gd name="connsiteY14" fmla="*/ 214017 h 312835"/>
                <a:gd name="connsiteX15" fmla="*/ 228383 w 272078"/>
                <a:gd name="connsiteY15" fmla="*/ 264732 h 312835"/>
                <a:gd name="connsiteX16" fmla="*/ 269630 w 272078"/>
                <a:gd name="connsiteY16" fmla="*/ 295858 h 312835"/>
                <a:gd name="connsiteX17" fmla="*/ 255863 w 272078"/>
                <a:gd name="connsiteY17" fmla="*/ 312836 h 312835"/>
                <a:gd name="connsiteX18" fmla="*/ 210970 w 272078"/>
                <a:gd name="connsiteY18" fmla="*/ 279261 h 312835"/>
                <a:gd name="connsiteX19" fmla="*/ 235892 w 272078"/>
                <a:gd name="connsiteY19" fmla="*/ 204549 h 312835"/>
                <a:gd name="connsiteX20" fmla="*/ 244599 w 272078"/>
                <a:gd name="connsiteY20" fmla="*/ 150405 h 312835"/>
                <a:gd name="connsiteX21" fmla="*/ 238341 w 272078"/>
                <a:gd name="connsiteY21" fmla="*/ 103934 h 312835"/>
                <a:gd name="connsiteX22" fmla="*/ 218914 w 272078"/>
                <a:gd name="connsiteY22" fmla="*/ 63285 h 312835"/>
                <a:gd name="connsiteX23" fmla="*/ 185340 w 272078"/>
                <a:gd name="connsiteY23" fmla="*/ 34391 h 312835"/>
                <a:gd name="connsiteX24" fmla="*/ 136202 w 272078"/>
                <a:gd name="connsiteY24" fmla="*/ 23508 h 312835"/>
                <a:gd name="connsiteX25" fmla="*/ 86902 w 272078"/>
                <a:gd name="connsiteY25" fmla="*/ 34391 h 312835"/>
                <a:gd name="connsiteX26" fmla="*/ 53164 w 272078"/>
                <a:gd name="connsiteY26" fmla="*/ 63285 h 312835"/>
                <a:gd name="connsiteX27" fmla="*/ 33738 w 272078"/>
                <a:gd name="connsiteY27" fmla="*/ 103934 h 312835"/>
                <a:gd name="connsiteX28" fmla="*/ 27480 w 272078"/>
                <a:gd name="connsiteY28" fmla="*/ 150405 h 312835"/>
                <a:gd name="connsiteX29" fmla="*/ 33738 w 272078"/>
                <a:gd name="connsiteY29" fmla="*/ 196658 h 312835"/>
                <a:gd name="connsiteX30" fmla="*/ 53164 w 272078"/>
                <a:gd name="connsiteY30" fmla="*/ 237470 h 312835"/>
                <a:gd name="connsiteX31" fmla="*/ 86902 w 272078"/>
                <a:gd name="connsiteY31" fmla="*/ 266365 h 312835"/>
                <a:gd name="connsiteX32" fmla="*/ 136202 w 272078"/>
                <a:gd name="connsiteY32" fmla="*/ 277302 h 312835"/>
                <a:gd name="connsiteX33" fmla="*/ 189584 w 272078"/>
                <a:gd name="connsiteY33" fmla="*/ 263154 h 312835"/>
                <a:gd name="connsiteX34" fmla="*/ 151602 w 272078"/>
                <a:gd name="connsiteY34" fmla="*/ 234477 h 312835"/>
                <a:gd name="connsiteX35" fmla="*/ 165750 w 272078"/>
                <a:gd name="connsiteY35" fmla="*/ 217119 h 312835"/>
                <a:gd name="connsiteX36" fmla="*/ 207814 w 272078"/>
                <a:gd name="connsiteY36" fmla="*/ 249061 h 312835"/>
                <a:gd name="connsiteX37" fmla="*/ 235892 w 272078"/>
                <a:gd name="connsiteY37" fmla="*/ 204603 h 31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72078" h="312835">
                  <a:moveTo>
                    <a:pt x="211024" y="279316"/>
                  </a:moveTo>
                  <a:cubicBezTo>
                    <a:pt x="191326" y="293355"/>
                    <a:pt x="166403"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5" y="45492"/>
                  </a:cubicBezTo>
                  <a:cubicBezTo>
                    <a:pt x="45274" y="31616"/>
                    <a:pt x="59476" y="20569"/>
                    <a:pt x="76617" y="12352"/>
                  </a:cubicBezTo>
                  <a:cubicBezTo>
                    <a:pt x="93704" y="4136"/>
                    <a:pt x="113620" y="0"/>
                    <a:pt x="136257" y="0"/>
                  </a:cubicBezTo>
                  <a:cubicBezTo>
                    <a:pt x="158894" y="0"/>
                    <a:pt x="178701" y="4081"/>
                    <a:pt x="195679" y="12352"/>
                  </a:cubicBezTo>
                  <a:cubicBezTo>
                    <a:pt x="212657" y="20624"/>
                    <a:pt x="226805" y="31616"/>
                    <a:pt x="238123" y="45492"/>
                  </a:cubicBezTo>
                  <a:cubicBezTo>
                    <a:pt x="249442" y="59368"/>
                    <a:pt x="257930" y="75366"/>
                    <a:pt x="263590" y="93377"/>
                  </a:cubicBezTo>
                  <a:cubicBezTo>
                    <a:pt x="269249" y="111443"/>
                    <a:pt x="272078" y="130434"/>
                    <a:pt x="272078" y="150351"/>
                  </a:cubicBezTo>
                  <a:cubicBezTo>
                    <a:pt x="272078" y="172987"/>
                    <a:pt x="268433" y="194210"/>
                    <a:pt x="261141" y="214017"/>
                  </a:cubicBezTo>
                  <a:cubicBezTo>
                    <a:pt x="253849" y="233824"/>
                    <a:pt x="242966" y="250748"/>
                    <a:pt x="228383" y="264732"/>
                  </a:cubicBezTo>
                  <a:lnTo>
                    <a:pt x="269630" y="295858"/>
                  </a:lnTo>
                  <a:lnTo>
                    <a:pt x="255863" y="312836"/>
                  </a:lnTo>
                  <a:lnTo>
                    <a:pt x="210970" y="279261"/>
                  </a:lnTo>
                  <a:close/>
                  <a:moveTo>
                    <a:pt x="235892" y="204549"/>
                  </a:moveTo>
                  <a:cubicBezTo>
                    <a:pt x="241660" y="187027"/>
                    <a:pt x="244599" y="168961"/>
                    <a:pt x="244599" y="150405"/>
                  </a:cubicBezTo>
                  <a:cubicBezTo>
                    <a:pt x="244599" y="134516"/>
                    <a:pt x="242531" y="119007"/>
                    <a:pt x="238341" y="103934"/>
                  </a:cubicBezTo>
                  <a:cubicBezTo>
                    <a:pt x="234151" y="88861"/>
                    <a:pt x="227675" y="75311"/>
                    <a:pt x="218914" y="63285"/>
                  </a:cubicBezTo>
                  <a:cubicBezTo>
                    <a:pt x="210153" y="51314"/>
                    <a:pt x="198944" y="41682"/>
                    <a:pt x="185340" y="34391"/>
                  </a:cubicBezTo>
                  <a:cubicBezTo>
                    <a:pt x="171736" y="27099"/>
                    <a:pt x="155357"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ubicBezTo>
                    <a:pt x="37928" y="211895"/>
                    <a:pt x="44403" y="225499"/>
                    <a:pt x="53164" y="237470"/>
                  </a:cubicBezTo>
                  <a:cubicBezTo>
                    <a:pt x="61925" y="249442"/>
                    <a:pt x="73189" y="259073"/>
                    <a:pt x="86902" y="266365"/>
                  </a:cubicBezTo>
                  <a:cubicBezTo>
                    <a:pt x="100615" y="273657"/>
                    <a:pt x="117103" y="277302"/>
                    <a:pt x="136202" y="277302"/>
                  </a:cubicBezTo>
                  <a:cubicBezTo>
                    <a:pt x="156663" y="277302"/>
                    <a:pt x="174457" y="272568"/>
                    <a:pt x="189584" y="263154"/>
                  </a:cubicBezTo>
                  <a:lnTo>
                    <a:pt x="151602" y="234477"/>
                  </a:lnTo>
                  <a:lnTo>
                    <a:pt x="165750" y="217119"/>
                  </a:lnTo>
                  <a:lnTo>
                    <a:pt x="207814" y="249061"/>
                  </a:lnTo>
                  <a:cubicBezTo>
                    <a:pt x="220764" y="236926"/>
                    <a:pt x="230124" y="222125"/>
                    <a:pt x="235892" y="204603"/>
                  </a:cubicBezTo>
                  <a:close/>
                </a:path>
              </a:pathLst>
            </a:custGeom>
            <a:solidFill>
              <a:srgbClr val="A1ABB2"/>
            </a:solidFill>
            <a:ln w="5435" cap="flat">
              <a:noFill/>
              <a:prstDash val="solid"/>
              <a:miter/>
            </a:ln>
          </p:spPr>
          <p:txBody>
            <a:bodyPr rtlCol="0" anchor="ctr"/>
            <a:lstStyle/>
            <a:p>
              <a:endParaRPr lang="en-US"/>
            </a:p>
          </p:txBody>
        </p:sp>
        <p:sp>
          <p:nvSpPr>
            <p:cNvPr id="8" name="Freeform: Shape 7">
              <a:extLst>
                <a:ext uri="{FF2B5EF4-FFF2-40B4-BE49-F238E27FC236}">
                  <a16:creationId xmlns:a16="http://schemas.microsoft.com/office/drawing/2014/main" id="{4E9F2960-B362-46DB-B884-572B6FAE72DA}"/>
                </a:ext>
              </a:extLst>
            </p:cNvPr>
            <p:cNvSpPr/>
            <p:nvPr/>
          </p:nvSpPr>
          <p:spPr>
            <a:xfrm>
              <a:off x="5537300" y="4907514"/>
              <a:ext cx="224355" cy="294334"/>
            </a:xfrm>
            <a:custGeom>
              <a:avLst/>
              <a:gdLst>
                <a:gd name="connsiteX0" fmla="*/ 27480 w 224355"/>
                <a:gd name="connsiteY0" fmla="*/ 0 h 294334"/>
                <a:gd name="connsiteX1" fmla="*/ 27480 w 224355"/>
                <a:gd name="connsiteY1" fmla="*/ 178701 h 294334"/>
                <a:gd name="connsiteX2" fmla="*/ 33139 w 224355"/>
                <a:gd name="connsiteY2" fmla="*/ 221363 h 294334"/>
                <a:gd name="connsiteX3" fmla="*/ 49736 w 224355"/>
                <a:gd name="connsiteY3" fmla="*/ 250040 h 294334"/>
                <a:gd name="connsiteX4" fmla="*/ 76400 w 224355"/>
                <a:gd name="connsiteY4" fmla="*/ 266202 h 294334"/>
                <a:gd name="connsiteX5" fmla="*/ 111987 w 224355"/>
                <a:gd name="connsiteY5" fmla="*/ 271262 h 294334"/>
                <a:gd name="connsiteX6" fmla="*/ 147956 w 224355"/>
                <a:gd name="connsiteY6" fmla="*/ 266202 h 294334"/>
                <a:gd name="connsiteX7" fmla="*/ 174620 w 224355"/>
                <a:gd name="connsiteY7" fmla="*/ 250040 h 294334"/>
                <a:gd name="connsiteX8" fmla="*/ 191217 w 224355"/>
                <a:gd name="connsiteY8" fmla="*/ 221363 h 294334"/>
                <a:gd name="connsiteX9" fmla="*/ 196876 w 224355"/>
                <a:gd name="connsiteY9" fmla="*/ 178701 h 294334"/>
                <a:gd name="connsiteX10" fmla="*/ 196876 w 224355"/>
                <a:gd name="connsiteY10" fmla="*/ 0 h 294334"/>
                <a:gd name="connsiteX11" fmla="*/ 224356 w 224355"/>
                <a:gd name="connsiteY11" fmla="*/ 0 h 294334"/>
                <a:gd name="connsiteX12" fmla="*/ 224356 w 224355"/>
                <a:gd name="connsiteY12" fmla="*/ 184741 h 294334"/>
                <a:gd name="connsiteX13" fmla="*/ 218098 w 224355"/>
                <a:gd name="connsiteY13" fmla="*/ 226968 h 294334"/>
                <a:gd name="connsiteX14" fmla="*/ 198291 w 224355"/>
                <a:gd name="connsiteY14" fmla="*/ 261957 h 294334"/>
                <a:gd name="connsiteX15" fmla="*/ 163519 w 224355"/>
                <a:gd name="connsiteY15" fmla="*/ 285628 h 294334"/>
                <a:gd name="connsiteX16" fmla="*/ 111987 w 224355"/>
                <a:gd name="connsiteY16" fmla="*/ 294334 h 294334"/>
                <a:gd name="connsiteX17" fmla="*/ 60837 w 224355"/>
                <a:gd name="connsiteY17" fmla="*/ 285628 h 294334"/>
                <a:gd name="connsiteX18" fmla="*/ 26065 w 224355"/>
                <a:gd name="connsiteY18" fmla="*/ 261957 h 294334"/>
                <a:gd name="connsiteX19" fmla="*/ 6258 w 224355"/>
                <a:gd name="connsiteY19" fmla="*/ 226968 h 294334"/>
                <a:gd name="connsiteX20" fmla="*/ 0 w 224355"/>
                <a:gd name="connsiteY20" fmla="*/ 184741 h 294334"/>
                <a:gd name="connsiteX21" fmla="*/ 0 w 224355"/>
                <a:gd name="connsiteY21" fmla="*/ 0 h 294334"/>
                <a:gd name="connsiteX22" fmla="*/ 27480 w 224355"/>
                <a:gd name="connsiteY22" fmla="*/ 0 h 29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4355" h="294334">
                  <a:moveTo>
                    <a:pt x="27480" y="0"/>
                  </a:moveTo>
                  <a:lnTo>
                    <a:pt x="27480" y="178701"/>
                  </a:lnTo>
                  <a:cubicBezTo>
                    <a:pt x="27480" y="195407"/>
                    <a:pt x="29384" y="209609"/>
                    <a:pt x="33139" y="221363"/>
                  </a:cubicBezTo>
                  <a:cubicBezTo>
                    <a:pt x="36894" y="233062"/>
                    <a:pt x="42444" y="242640"/>
                    <a:pt x="49736" y="250040"/>
                  </a:cubicBezTo>
                  <a:cubicBezTo>
                    <a:pt x="57028" y="257441"/>
                    <a:pt x="65897" y="262828"/>
                    <a:pt x="76400" y="266202"/>
                  </a:cubicBezTo>
                  <a:cubicBezTo>
                    <a:pt x="86902" y="269575"/>
                    <a:pt x="98764" y="271262"/>
                    <a:pt x="111987" y="271262"/>
                  </a:cubicBezTo>
                  <a:cubicBezTo>
                    <a:pt x="125211" y="271262"/>
                    <a:pt x="137454" y="269575"/>
                    <a:pt x="147956" y="266202"/>
                  </a:cubicBezTo>
                  <a:cubicBezTo>
                    <a:pt x="158459" y="262828"/>
                    <a:pt x="167383" y="257441"/>
                    <a:pt x="174620" y="250040"/>
                  </a:cubicBezTo>
                  <a:cubicBezTo>
                    <a:pt x="181912" y="242640"/>
                    <a:pt x="187408" y="233062"/>
                    <a:pt x="191217" y="221363"/>
                  </a:cubicBezTo>
                  <a:cubicBezTo>
                    <a:pt x="194971" y="209664"/>
                    <a:pt x="196876" y="195407"/>
                    <a:pt x="196876" y="178701"/>
                  </a:cubicBezTo>
                  <a:lnTo>
                    <a:pt x="196876" y="0"/>
                  </a:lnTo>
                  <a:lnTo>
                    <a:pt x="224356" y="0"/>
                  </a:lnTo>
                  <a:lnTo>
                    <a:pt x="224356" y="184741"/>
                  </a:lnTo>
                  <a:cubicBezTo>
                    <a:pt x="224356" y="199542"/>
                    <a:pt x="222288" y="213636"/>
                    <a:pt x="218098" y="226968"/>
                  </a:cubicBezTo>
                  <a:cubicBezTo>
                    <a:pt x="213908" y="240300"/>
                    <a:pt x="207324" y="251945"/>
                    <a:pt x="198291" y="261957"/>
                  </a:cubicBezTo>
                  <a:cubicBezTo>
                    <a:pt x="189258" y="271915"/>
                    <a:pt x="177667" y="279805"/>
                    <a:pt x="163519" y="285628"/>
                  </a:cubicBezTo>
                  <a:cubicBezTo>
                    <a:pt x="149371" y="291396"/>
                    <a:pt x="132176" y="294334"/>
                    <a:pt x="111987" y="294334"/>
                  </a:cubicBezTo>
                  <a:cubicBezTo>
                    <a:pt x="91799" y="294334"/>
                    <a:pt x="74985" y="291450"/>
                    <a:pt x="60837" y="285628"/>
                  </a:cubicBezTo>
                  <a:cubicBezTo>
                    <a:pt x="46689" y="279860"/>
                    <a:pt x="35098" y="271970"/>
                    <a:pt x="26065" y="261957"/>
                  </a:cubicBezTo>
                  <a:cubicBezTo>
                    <a:pt x="17032" y="251999"/>
                    <a:pt x="10448" y="240354"/>
                    <a:pt x="6258" y="226968"/>
                  </a:cubicBezTo>
                  <a:cubicBezTo>
                    <a:pt x="2068" y="213636"/>
                    <a:pt x="0" y="199542"/>
                    <a:pt x="0" y="184741"/>
                  </a:cubicBez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5F314FF7-ABF5-4B9D-BEEB-7F56167753DD}"/>
                </a:ext>
              </a:extLst>
            </p:cNvPr>
            <p:cNvSpPr/>
            <p:nvPr/>
          </p:nvSpPr>
          <p:spPr>
            <a:xfrm>
              <a:off x="5810957" y="4907514"/>
              <a:ext cx="27479" cy="288620"/>
            </a:xfrm>
            <a:custGeom>
              <a:avLst/>
              <a:gdLst>
                <a:gd name="connsiteX0" fmla="*/ 27480 w 27479"/>
                <a:gd name="connsiteY0" fmla="*/ 0 h 288620"/>
                <a:gd name="connsiteX1" fmla="*/ 27480 w 27479"/>
                <a:gd name="connsiteY1" fmla="*/ 288621 h 288620"/>
                <a:gd name="connsiteX2" fmla="*/ 0 w 27479"/>
                <a:gd name="connsiteY2" fmla="*/ 288621 h 288620"/>
                <a:gd name="connsiteX3" fmla="*/ 0 w 27479"/>
                <a:gd name="connsiteY3" fmla="*/ 0 h 288620"/>
                <a:gd name="connsiteX4" fmla="*/ 27480 w 27479"/>
                <a:gd name="connsiteY4" fmla="*/ 0 h 28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79" h="288620">
                  <a:moveTo>
                    <a:pt x="27480" y="0"/>
                  </a:moveTo>
                  <a:lnTo>
                    <a:pt x="27480" y="288621"/>
                  </a:lnTo>
                  <a:lnTo>
                    <a:pt x="0" y="288621"/>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12" name="Freeform: Shape 11">
              <a:extLst>
                <a:ext uri="{FF2B5EF4-FFF2-40B4-BE49-F238E27FC236}">
                  <a16:creationId xmlns:a16="http://schemas.microsoft.com/office/drawing/2014/main" id="{74036705-F509-49DD-B4C7-E2C18A53FFA7}"/>
                </a:ext>
              </a:extLst>
            </p:cNvPr>
            <p:cNvSpPr/>
            <p:nvPr/>
          </p:nvSpPr>
          <p:spPr>
            <a:xfrm>
              <a:off x="5876854" y="4901419"/>
              <a:ext cx="256352" cy="300320"/>
            </a:xfrm>
            <a:custGeom>
              <a:avLst/>
              <a:gdLst>
                <a:gd name="connsiteX0" fmla="*/ 212820 w 256352"/>
                <a:gd name="connsiteY0" fmla="*/ 63721 h 300320"/>
                <a:gd name="connsiteX1" fmla="*/ 192632 w 256352"/>
                <a:gd name="connsiteY1" fmla="*/ 41682 h 300320"/>
                <a:gd name="connsiteX2" fmla="*/ 166349 w 256352"/>
                <a:gd name="connsiteY2" fmla="*/ 28133 h 300320"/>
                <a:gd name="connsiteX3" fmla="*/ 136257 w 256352"/>
                <a:gd name="connsiteY3" fmla="*/ 23508 h 300320"/>
                <a:gd name="connsiteX4" fmla="*/ 86956 w 256352"/>
                <a:gd name="connsiteY4" fmla="*/ 34391 h 300320"/>
                <a:gd name="connsiteX5" fmla="*/ 53219 w 256352"/>
                <a:gd name="connsiteY5" fmla="*/ 63285 h 300320"/>
                <a:gd name="connsiteX6" fmla="*/ 33792 w 256352"/>
                <a:gd name="connsiteY6" fmla="*/ 103934 h 300320"/>
                <a:gd name="connsiteX7" fmla="*/ 27534 w 256352"/>
                <a:gd name="connsiteY7" fmla="*/ 150405 h 300320"/>
                <a:gd name="connsiteX8" fmla="*/ 33792 w 256352"/>
                <a:gd name="connsiteY8" fmla="*/ 196658 h 300320"/>
                <a:gd name="connsiteX9" fmla="*/ 53219 w 256352"/>
                <a:gd name="connsiteY9" fmla="*/ 237470 h 300320"/>
                <a:gd name="connsiteX10" fmla="*/ 86956 w 256352"/>
                <a:gd name="connsiteY10" fmla="*/ 266365 h 300320"/>
                <a:gd name="connsiteX11" fmla="*/ 136257 w 256352"/>
                <a:gd name="connsiteY11" fmla="*/ 277302 h 300320"/>
                <a:gd name="connsiteX12" fmla="*/ 172661 w 256352"/>
                <a:gd name="connsiteY12" fmla="*/ 270011 h 300320"/>
                <a:gd name="connsiteX13" fmla="*/ 200576 w 256352"/>
                <a:gd name="connsiteY13" fmla="*/ 250203 h 300320"/>
                <a:gd name="connsiteX14" fmla="*/ 219567 w 256352"/>
                <a:gd name="connsiteY14" fmla="*/ 220873 h 300320"/>
                <a:gd name="connsiteX15" fmla="*/ 228872 w 256352"/>
                <a:gd name="connsiteY15" fmla="*/ 184687 h 300320"/>
                <a:gd name="connsiteX16" fmla="*/ 256352 w 256352"/>
                <a:gd name="connsiteY16" fmla="*/ 184687 h 300320"/>
                <a:gd name="connsiteX17" fmla="*/ 243837 w 256352"/>
                <a:gd name="connsiteY17" fmla="*/ 232790 h 300320"/>
                <a:gd name="connsiteX18" fmla="*/ 218751 w 256352"/>
                <a:gd name="connsiteY18" fmla="*/ 269194 h 300320"/>
                <a:gd name="connsiteX19" fmla="*/ 182565 w 256352"/>
                <a:gd name="connsiteY19" fmla="*/ 292212 h 300320"/>
                <a:gd name="connsiteX20" fmla="*/ 136257 w 256352"/>
                <a:gd name="connsiteY20" fmla="*/ 300320 h 300320"/>
                <a:gd name="connsiteX21" fmla="*/ 76617 w 256352"/>
                <a:gd name="connsiteY21" fmla="*/ 287968 h 300320"/>
                <a:gd name="connsiteX22" fmla="*/ 33955 w 256352"/>
                <a:gd name="connsiteY22" fmla="*/ 255046 h 300320"/>
                <a:gd name="connsiteX23" fmla="*/ 8489 w 256352"/>
                <a:gd name="connsiteY23" fmla="*/ 207324 h 300320"/>
                <a:gd name="connsiteX24" fmla="*/ 0 w 256352"/>
                <a:gd name="connsiteY24" fmla="*/ 150351 h 300320"/>
                <a:gd name="connsiteX25" fmla="*/ 8489 w 256352"/>
                <a:gd name="connsiteY25" fmla="*/ 93377 h 300320"/>
                <a:gd name="connsiteX26" fmla="*/ 33955 w 256352"/>
                <a:gd name="connsiteY26" fmla="*/ 45492 h 300320"/>
                <a:gd name="connsiteX27" fmla="*/ 76617 w 256352"/>
                <a:gd name="connsiteY27" fmla="*/ 12352 h 300320"/>
                <a:gd name="connsiteX28" fmla="*/ 136257 w 256352"/>
                <a:gd name="connsiteY28" fmla="*/ 0 h 300320"/>
                <a:gd name="connsiteX29" fmla="*/ 176470 w 256352"/>
                <a:gd name="connsiteY29" fmla="*/ 6040 h 300320"/>
                <a:gd name="connsiteX30" fmla="*/ 212058 w 256352"/>
                <a:gd name="connsiteY30" fmla="*/ 24052 h 300320"/>
                <a:gd name="connsiteX31" fmla="*/ 238722 w 256352"/>
                <a:gd name="connsiteY31" fmla="*/ 53382 h 300320"/>
                <a:gd name="connsiteX32" fmla="*/ 252271 w 256352"/>
                <a:gd name="connsiteY32" fmla="*/ 93377 h 300320"/>
                <a:gd name="connsiteX33" fmla="*/ 224791 w 256352"/>
                <a:gd name="connsiteY33" fmla="*/ 93377 h 300320"/>
                <a:gd name="connsiteX34" fmla="*/ 212874 w 256352"/>
                <a:gd name="connsiteY34" fmla="*/ 63666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6352" h="300320">
                  <a:moveTo>
                    <a:pt x="212820" y="63721"/>
                  </a:moveTo>
                  <a:cubicBezTo>
                    <a:pt x="207269" y="54960"/>
                    <a:pt x="200576" y="47614"/>
                    <a:pt x="192632" y="41682"/>
                  </a:cubicBezTo>
                  <a:cubicBezTo>
                    <a:pt x="184687" y="35751"/>
                    <a:pt x="175926" y="31235"/>
                    <a:pt x="166349" y="28133"/>
                  </a:cubicBezTo>
                  <a:cubicBezTo>
                    <a:pt x="156772" y="25031"/>
                    <a:pt x="146759" y="23508"/>
                    <a:pt x="136257" y="23508"/>
                  </a:cubicBezTo>
                  <a:cubicBezTo>
                    <a:pt x="117103" y="23508"/>
                    <a:pt x="100669" y="27153"/>
                    <a:pt x="86956" y="34391"/>
                  </a:cubicBezTo>
                  <a:cubicBezTo>
                    <a:pt x="73189" y="41682"/>
                    <a:pt x="61979" y="51314"/>
                    <a:pt x="53219" y="63285"/>
                  </a:cubicBezTo>
                  <a:cubicBezTo>
                    <a:pt x="44458" y="75311"/>
                    <a:pt x="37982" y="88806"/>
                    <a:pt x="33792" y="103934"/>
                  </a:cubicBezTo>
                  <a:cubicBezTo>
                    <a:pt x="29602" y="119007"/>
                    <a:pt x="27534" y="134516"/>
                    <a:pt x="27534" y="150405"/>
                  </a:cubicBezTo>
                  <a:cubicBezTo>
                    <a:pt x="27534" y="166294"/>
                    <a:pt x="29602" y="181476"/>
                    <a:pt x="33792" y="196658"/>
                  </a:cubicBezTo>
                  <a:cubicBezTo>
                    <a:pt x="37982" y="211895"/>
                    <a:pt x="44458" y="225499"/>
                    <a:pt x="53219" y="237470"/>
                  </a:cubicBezTo>
                  <a:cubicBezTo>
                    <a:pt x="61979" y="249442"/>
                    <a:pt x="73244" y="259073"/>
                    <a:pt x="86956" y="266365"/>
                  </a:cubicBezTo>
                  <a:cubicBezTo>
                    <a:pt x="100723" y="273657"/>
                    <a:pt x="117157" y="277302"/>
                    <a:pt x="136257" y="277302"/>
                  </a:cubicBezTo>
                  <a:cubicBezTo>
                    <a:pt x="149752" y="277302"/>
                    <a:pt x="161832" y="274854"/>
                    <a:pt x="172661" y="270011"/>
                  </a:cubicBezTo>
                  <a:cubicBezTo>
                    <a:pt x="183435" y="265168"/>
                    <a:pt x="192740" y="258583"/>
                    <a:pt x="200576" y="250203"/>
                  </a:cubicBezTo>
                  <a:cubicBezTo>
                    <a:pt x="208412" y="241878"/>
                    <a:pt x="214724" y="232083"/>
                    <a:pt x="219567" y="220873"/>
                  </a:cubicBezTo>
                  <a:cubicBezTo>
                    <a:pt x="224410" y="209718"/>
                    <a:pt x="227512" y="197638"/>
                    <a:pt x="228872" y="184687"/>
                  </a:cubicBezTo>
                  <a:lnTo>
                    <a:pt x="256352" y="184687"/>
                  </a:lnTo>
                  <a:cubicBezTo>
                    <a:pt x="254448" y="202481"/>
                    <a:pt x="250312" y="218533"/>
                    <a:pt x="243837" y="232790"/>
                  </a:cubicBezTo>
                  <a:cubicBezTo>
                    <a:pt x="237361" y="247102"/>
                    <a:pt x="229036" y="259182"/>
                    <a:pt x="218751" y="269194"/>
                  </a:cubicBezTo>
                  <a:cubicBezTo>
                    <a:pt x="208521" y="279153"/>
                    <a:pt x="196441" y="286825"/>
                    <a:pt x="182565" y="292212"/>
                  </a:cubicBezTo>
                  <a:cubicBezTo>
                    <a:pt x="168689" y="297599"/>
                    <a:pt x="153235"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5" y="45492"/>
                  </a:cubicBezTo>
                  <a:cubicBezTo>
                    <a:pt x="45274" y="31616"/>
                    <a:pt x="59476" y="20569"/>
                    <a:pt x="76617" y="12352"/>
                  </a:cubicBezTo>
                  <a:cubicBezTo>
                    <a:pt x="93704" y="4136"/>
                    <a:pt x="113620" y="0"/>
                    <a:pt x="136257" y="0"/>
                  </a:cubicBezTo>
                  <a:cubicBezTo>
                    <a:pt x="150024" y="0"/>
                    <a:pt x="163410" y="2013"/>
                    <a:pt x="176470" y="6040"/>
                  </a:cubicBezTo>
                  <a:cubicBezTo>
                    <a:pt x="189530" y="10067"/>
                    <a:pt x="201392" y="16053"/>
                    <a:pt x="212058" y="24052"/>
                  </a:cubicBezTo>
                  <a:cubicBezTo>
                    <a:pt x="222723" y="31996"/>
                    <a:pt x="231593" y="41791"/>
                    <a:pt x="238722" y="53382"/>
                  </a:cubicBezTo>
                  <a:cubicBezTo>
                    <a:pt x="245850" y="64972"/>
                    <a:pt x="250367" y="78304"/>
                    <a:pt x="252271" y="93377"/>
                  </a:cubicBezTo>
                  <a:lnTo>
                    <a:pt x="224791" y="93377"/>
                  </a:lnTo>
                  <a:cubicBezTo>
                    <a:pt x="222343" y="82331"/>
                    <a:pt x="218370" y="72427"/>
                    <a:pt x="212874" y="63666"/>
                  </a:cubicBezTo>
                  <a:close/>
                </a:path>
              </a:pathLst>
            </a:custGeom>
            <a:solidFill>
              <a:srgbClr val="A1ABB2"/>
            </a:solidFill>
            <a:ln w="5435" cap="flat">
              <a:no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49C73FFA-4AE4-4F8A-A585-2BFF54ECFB98}"/>
                </a:ext>
              </a:extLst>
            </p:cNvPr>
            <p:cNvSpPr/>
            <p:nvPr/>
          </p:nvSpPr>
          <p:spPr>
            <a:xfrm>
              <a:off x="6158945" y="4907514"/>
              <a:ext cx="238503" cy="288566"/>
            </a:xfrm>
            <a:custGeom>
              <a:avLst/>
              <a:gdLst>
                <a:gd name="connsiteX0" fmla="*/ 27534 w 238503"/>
                <a:gd name="connsiteY0" fmla="*/ 0 h 288566"/>
                <a:gd name="connsiteX1" fmla="*/ 27534 w 238503"/>
                <a:gd name="connsiteY1" fmla="*/ 155248 h 288566"/>
                <a:gd name="connsiteX2" fmla="*/ 195298 w 238503"/>
                <a:gd name="connsiteY2" fmla="*/ 0 h 288566"/>
                <a:gd name="connsiteX3" fmla="*/ 232464 w 238503"/>
                <a:gd name="connsiteY3" fmla="*/ 0 h 288566"/>
                <a:gd name="connsiteX4" fmla="*/ 103499 w 238503"/>
                <a:gd name="connsiteY4" fmla="*/ 119225 h 288566"/>
                <a:gd name="connsiteX5" fmla="*/ 238504 w 238503"/>
                <a:gd name="connsiteY5" fmla="*/ 288566 h 288566"/>
                <a:gd name="connsiteX6" fmla="*/ 202916 w 238503"/>
                <a:gd name="connsiteY6" fmla="*/ 288566 h 288566"/>
                <a:gd name="connsiteX7" fmla="*/ 82875 w 238503"/>
                <a:gd name="connsiteY7" fmla="*/ 138216 h 288566"/>
                <a:gd name="connsiteX8" fmla="*/ 27480 w 238503"/>
                <a:gd name="connsiteY8" fmla="*/ 189530 h 288566"/>
                <a:gd name="connsiteX9" fmla="*/ 27480 w 238503"/>
                <a:gd name="connsiteY9" fmla="*/ 288566 h 288566"/>
                <a:gd name="connsiteX10" fmla="*/ 0 w 238503"/>
                <a:gd name="connsiteY10" fmla="*/ 288566 h 288566"/>
                <a:gd name="connsiteX11" fmla="*/ 0 w 238503"/>
                <a:gd name="connsiteY11" fmla="*/ 0 h 288566"/>
                <a:gd name="connsiteX12" fmla="*/ 27480 w 238503"/>
                <a:gd name="connsiteY12" fmla="*/ 0 h 28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8503" h="288566">
                  <a:moveTo>
                    <a:pt x="27534" y="0"/>
                  </a:moveTo>
                  <a:lnTo>
                    <a:pt x="27534" y="155248"/>
                  </a:lnTo>
                  <a:lnTo>
                    <a:pt x="195298" y="0"/>
                  </a:lnTo>
                  <a:lnTo>
                    <a:pt x="232464" y="0"/>
                  </a:lnTo>
                  <a:lnTo>
                    <a:pt x="103499" y="119225"/>
                  </a:lnTo>
                  <a:lnTo>
                    <a:pt x="238504" y="288566"/>
                  </a:lnTo>
                  <a:lnTo>
                    <a:pt x="202916" y="288566"/>
                  </a:lnTo>
                  <a:lnTo>
                    <a:pt x="82875" y="138216"/>
                  </a:lnTo>
                  <a:lnTo>
                    <a:pt x="27480" y="189530"/>
                  </a:lnTo>
                  <a:lnTo>
                    <a:pt x="27480" y="288566"/>
                  </a:lnTo>
                  <a:lnTo>
                    <a:pt x="0" y="288566"/>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14" name="Freeform: Shape 13">
              <a:extLst>
                <a:ext uri="{FF2B5EF4-FFF2-40B4-BE49-F238E27FC236}">
                  <a16:creationId xmlns:a16="http://schemas.microsoft.com/office/drawing/2014/main" id="{1FFFAEF9-38F4-4369-8BFC-83708EED1FE3}"/>
                </a:ext>
              </a:extLst>
            </p:cNvPr>
            <p:cNvSpPr/>
            <p:nvPr/>
          </p:nvSpPr>
          <p:spPr>
            <a:xfrm>
              <a:off x="6390212" y="4907514"/>
              <a:ext cx="228382" cy="288620"/>
            </a:xfrm>
            <a:custGeom>
              <a:avLst/>
              <a:gdLst>
                <a:gd name="connsiteX0" fmla="*/ 228383 w 228382"/>
                <a:gd name="connsiteY0" fmla="*/ 0 h 288620"/>
                <a:gd name="connsiteX1" fmla="*/ 228383 w 228382"/>
                <a:gd name="connsiteY1" fmla="*/ 23453 h 288620"/>
                <a:gd name="connsiteX2" fmla="*/ 127714 w 228382"/>
                <a:gd name="connsiteY2" fmla="*/ 23453 h 288620"/>
                <a:gd name="connsiteX3" fmla="*/ 127714 w 228382"/>
                <a:gd name="connsiteY3" fmla="*/ 288621 h 288620"/>
                <a:gd name="connsiteX4" fmla="*/ 100234 w 228382"/>
                <a:gd name="connsiteY4" fmla="*/ 288621 h 288620"/>
                <a:gd name="connsiteX5" fmla="*/ 100234 w 228382"/>
                <a:gd name="connsiteY5" fmla="*/ 23453 h 288620"/>
                <a:gd name="connsiteX6" fmla="*/ 0 w 228382"/>
                <a:gd name="connsiteY6" fmla="*/ 23453 h 288620"/>
                <a:gd name="connsiteX7" fmla="*/ 0 w 228382"/>
                <a:gd name="connsiteY7" fmla="*/ 0 h 288620"/>
                <a:gd name="connsiteX8" fmla="*/ 228383 w 228382"/>
                <a:gd name="connsiteY8" fmla="*/ 0 h 28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382" h="288620">
                  <a:moveTo>
                    <a:pt x="228383" y="0"/>
                  </a:moveTo>
                  <a:lnTo>
                    <a:pt x="228383" y="23453"/>
                  </a:lnTo>
                  <a:lnTo>
                    <a:pt x="127714" y="23453"/>
                  </a:lnTo>
                  <a:lnTo>
                    <a:pt x="127714" y="288621"/>
                  </a:lnTo>
                  <a:lnTo>
                    <a:pt x="100234" y="288621"/>
                  </a:lnTo>
                  <a:lnTo>
                    <a:pt x="100234" y="23453"/>
                  </a:lnTo>
                  <a:lnTo>
                    <a:pt x="0" y="23453"/>
                  </a:lnTo>
                  <a:lnTo>
                    <a:pt x="0" y="0"/>
                  </a:lnTo>
                  <a:lnTo>
                    <a:pt x="228383" y="0"/>
                  </a:lnTo>
                  <a:close/>
                </a:path>
              </a:pathLst>
            </a:custGeom>
            <a:solidFill>
              <a:srgbClr val="A1ABB2"/>
            </a:solidFill>
            <a:ln w="5435" cap="flat">
              <a:no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B93C73E6-F2BC-44FC-B5BD-8A0CB10066F5}"/>
                </a:ext>
              </a:extLst>
            </p:cNvPr>
            <p:cNvSpPr/>
            <p:nvPr/>
          </p:nvSpPr>
          <p:spPr>
            <a:xfrm>
              <a:off x="6637586" y="4907514"/>
              <a:ext cx="227620" cy="288566"/>
            </a:xfrm>
            <a:custGeom>
              <a:avLst/>
              <a:gdLst>
                <a:gd name="connsiteX0" fmla="*/ 132176 w 227620"/>
                <a:gd name="connsiteY0" fmla="*/ 0 h 288566"/>
                <a:gd name="connsiteX1" fmla="*/ 165914 w 227620"/>
                <a:gd name="connsiteY1" fmla="*/ 4462 h 288566"/>
                <a:gd name="connsiteX2" fmla="*/ 193829 w 227620"/>
                <a:gd name="connsiteY2" fmla="*/ 18012 h 288566"/>
                <a:gd name="connsiteX3" fmla="*/ 212820 w 227620"/>
                <a:gd name="connsiteY3" fmla="*/ 41465 h 288566"/>
                <a:gd name="connsiteX4" fmla="*/ 219894 w 227620"/>
                <a:gd name="connsiteY4" fmla="*/ 75202 h 288566"/>
                <a:gd name="connsiteX5" fmla="*/ 205746 w 227620"/>
                <a:gd name="connsiteY5" fmla="*/ 122925 h 288566"/>
                <a:gd name="connsiteX6" fmla="*/ 163682 w 227620"/>
                <a:gd name="connsiteY6" fmla="*/ 148773 h 288566"/>
                <a:gd name="connsiteX7" fmla="*/ 163682 w 227620"/>
                <a:gd name="connsiteY7" fmla="*/ 149589 h 288566"/>
                <a:gd name="connsiteX8" fmla="*/ 187136 w 227620"/>
                <a:gd name="connsiteY8" fmla="*/ 157044 h 288566"/>
                <a:gd name="connsiteX9" fmla="*/ 202318 w 227620"/>
                <a:gd name="connsiteY9" fmla="*/ 170974 h 288566"/>
                <a:gd name="connsiteX10" fmla="*/ 210806 w 227620"/>
                <a:gd name="connsiteY10" fmla="*/ 190564 h 288566"/>
                <a:gd name="connsiteX11" fmla="*/ 214235 w 227620"/>
                <a:gd name="connsiteY11" fmla="*/ 214615 h 288566"/>
                <a:gd name="connsiteX12" fmla="*/ 215051 w 227620"/>
                <a:gd name="connsiteY12" fmla="*/ 232409 h 288566"/>
                <a:gd name="connsiteX13" fmla="*/ 216683 w 227620"/>
                <a:gd name="connsiteY13" fmla="*/ 253632 h 288566"/>
                <a:gd name="connsiteX14" fmla="*/ 220547 w 227620"/>
                <a:gd name="connsiteY14" fmla="*/ 273820 h 288566"/>
                <a:gd name="connsiteX15" fmla="*/ 227621 w 227620"/>
                <a:gd name="connsiteY15" fmla="*/ 288566 h 288566"/>
                <a:gd name="connsiteX16" fmla="*/ 197311 w 227620"/>
                <a:gd name="connsiteY16" fmla="*/ 288566 h 288566"/>
                <a:gd name="connsiteX17" fmla="*/ 193448 w 227620"/>
                <a:gd name="connsiteY17" fmla="*/ 278663 h 288566"/>
                <a:gd name="connsiteX18" fmla="*/ 191435 w 227620"/>
                <a:gd name="connsiteY18" fmla="*/ 266528 h 288566"/>
                <a:gd name="connsiteX19" fmla="*/ 190401 w 227620"/>
                <a:gd name="connsiteY19" fmla="*/ 254176 h 288566"/>
                <a:gd name="connsiteX20" fmla="*/ 189584 w 227620"/>
                <a:gd name="connsiteY20" fmla="*/ 243673 h 288566"/>
                <a:gd name="connsiteX21" fmla="*/ 186972 w 227620"/>
                <a:gd name="connsiteY21" fmla="*/ 213146 h 288566"/>
                <a:gd name="connsiteX22" fmla="*/ 179300 w 227620"/>
                <a:gd name="connsiteY22" fmla="*/ 186047 h 288566"/>
                <a:gd name="connsiteX23" fmla="*/ 162322 w 227620"/>
                <a:gd name="connsiteY23" fmla="*/ 166839 h 288566"/>
                <a:gd name="connsiteX24" fmla="*/ 131795 w 227620"/>
                <a:gd name="connsiteY24" fmla="*/ 160363 h 288566"/>
                <a:gd name="connsiteX25" fmla="*/ 27480 w 227620"/>
                <a:gd name="connsiteY25" fmla="*/ 160363 h 288566"/>
                <a:gd name="connsiteX26" fmla="*/ 27480 w 227620"/>
                <a:gd name="connsiteY26" fmla="*/ 288512 h 288566"/>
                <a:gd name="connsiteX27" fmla="*/ 0 w 227620"/>
                <a:gd name="connsiteY27" fmla="*/ 288512 h 288566"/>
                <a:gd name="connsiteX28" fmla="*/ 0 w 227620"/>
                <a:gd name="connsiteY28" fmla="*/ 0 h 288566"/>
                <a:gd name="connsiteX29" fmla="*/ 132176 w 227620"/>
                <a:gd name="connsiteY29" fmla="*/ 0 h 288566"/>
                <a:gd name="connsiteX30" fmla="*/ 130162 w 227620"/>
                <a:gd name="connsiteY30" fmla="*/ 137019 h 288566"/>
                <a:gd name="connsiteX31" fmla="*/ 153996 w 227620"/>
                <a:gd name="connsiteY31" fmla="*/ 133155 h 288566"/>
                <a:gd name="connsiteX32" fmla="*/ 173804 w 227620"/>
                <a:gd name="connsiteY32" fmla="*/ 122054 h 288566"/>
                <a:gd name="connsiteX33" fmla="*/ 187353 w 227620"/>
                <a:gd name="connsiteY33" fmla="*/ 104478 h 288566"/>
                <a:gd name="connsiteX34" fmla="*/ 192414 w 227620"/>
                <a:gd name="connsiteY34" fmla="*/ 80807 h 288566"/>
                <a:gd name="connsiteX35" fmla="*/ 177069 w 227620"/>
                <a:gd name="connsiteY35" fmla="*/ 38744 h 288566"/>
                <a:gd name="connsiteX36" fmla="*/ 130162 w 227620"/>
                <a:gd name="connsiteY36" fmla="*/ 23399 h 288566"/>
                <a:gd name="connsiteX37" fmla="*/ 27480 w 227620"/>
                <a:gd name="connsiteY37" fmla="*/ 23399 h 288566"/>
                <a:gd name="connsiteX38" fmla="*/ 27480 w 227620"/>
                <a:gd name="connsiteY38" fmla="*/ 137073 h 288566"/>
                <a:gd name="connsiteX39" fmla="*/ 130162 w 227620"/>
                <a:gd name="connsiteY39" fmla="*/ 137073 h 28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27620" h="288566">
                  <a:moveTo>
                    <a:pt x="132176" y="0"/>
                  </a:moveTo>
                  <a:cubicBezTo>
                    <a:pt x="144038" y="0"/>
                    <a:pt x="155302" y="1469"/>
                    <a:pt x="165914" y="4462"/>
                  </a:cubicBezTo>
                  <a:cubicBezTo>
                    <a:pt x="176579" y="7455"/>
                    <a:pt x="185830" y="11971"/>
                    <a:pt x="193829" y="18012"/>
                  </a:cubicBezTo>
                  <a:cubicBezTo>
                    <a:pt x="201773" y="24052"/>
                    <a:pt x="208086" y="31888"/>
                    <a:pt x="212820" y="41465"/>
                  </a:cubicBezTo>
                  <a:cubicBezTo>
                    <a:pt x="217554" y="51042"/>
                    <a:pt x="219894" y="62306"/>
                    <a:pt x="219894" y="75202"/>
                  </a:cubicBezTo>
                  <a:cubicBezTo>
                    <a:pt x="219894" y="93541"/>
                    <a:pt x="215160" y="109430"/>
                    <a:pt x="205746" y="122925"/>
                  </a:cubicBezTo>
                  <a:cubicBezTo>
                    <a:pt x="196332" y="136420"/>
                    <a:pt x="182293" y="145018"/>
                    <a:pt x="163682" y="148773"/>
                  </a:cubicBezTo>
                  <a:lnTo>
                    <a:pt x="163682" y="149589"/>
                  </a:lnTo>
                  <a:cubicBezTo>
                    <a:pt x="173096" y="150949"/>
                    <a:pt x="180932" y="153452"/>
                    <a:pt x="187136" y="157044"/>
                  </a:cubicBezTo>
                  <a:cubicBezTo>
                    <a:pt x="193339" y="160690"/>
                    <a:pt x="198400" y="165315"/>
                    <a:pt x="202318" y="170974"/>
                  </a:cubicBezTo>
                  <a:cubicBezTo>
                    <a:pt x="206236" y="176633"/>
                    <a:pt x="209065" y="183163"/>
                    <a:pt x="210806" y="190564"/>
                  </a:cubicBezTo>
                  <a:cubicBezTo>
                    <a:pt x="212548" y="197964"/>
                    <a:pt x="213691" y="206018"/>
                    <a:pt x="214235" y="214615"/>
                  </a:cubicBezTo>
                  <a:cubicBezTo>
                    <a:pt x="214507" y="219458"/>
                    <a:pt x="214779" y="225390"/>
                    <a:pt x="215051" y="232409"/>
                  </a:cubicBezTo>
                  <a:cubicBezTo>
                    <a:pt x="215323" y="239429"/>
                    <a:pt x="215867" y="246503"/>
                    <a:pt x="216683" y="253632"/>
                  </a:cubicBezTo>
                  <a:cubicBezTo>
                    <a:pt x="217500" y="260760"/>
                    <a:pt x="218751" y="267508"/>
                    <a:pt x="220547" y="273820"/>
                  </a:cubicBezTo>
                  <a:cubicBezTo>
                    <a:pt x="222288" y="280186"/>
                    <a:pt x="224628" y="285084"/>
                    <a:pt x="227621" y="288566"/>
                  </a:cubicBezTo>
                  <a:lnTo>
                    <a:pt x="197311" y="288566"/>
                  </a:lnTo>
                  <a:cubicBezTo>
                    <a:pt x="195679" y="285900"/>
                    <a:pt x="194427" y="282581"/>
                    <a:pt x="193448" y="278663"/>
                  </a:cubicBezTo>
                  <a:cubicBezTo>
                    <a:pt x="192523" y="274745"/>
                    <a:pt x="191815" y="270718"/>
                    <a:pt x="191435" y="266528"/>
                  </a:cubicBezTo>
                  <a:cubicBezTo>
                    <a:pt x="191054" y="262338"/>
                    <a:pt x="190673" y="258257"/>
                    <a:pt x="190401" y="254176"/>
                  </a:cubicBezTo>
                  <a:cubicBezTo>
                    <a:pt x="190128" y="250149"/>
                    <a:pt x="189856" y="246612"/>
                    <a:pt x="189584" y="243673"/>
                  </a:cubicBezTo>
                  <a:cubicBezTo>
                    <a:pt x="189040" y="233443"/>
                    <a:pt x="188170" y="223268"/>
                    <a:pt x="186972" y="213146"/>
                  </a:cubicBezTo>
                  <a:cubicBezTo>
                    <a:pt x="185775" y="203025"/>
                    <a:pt x="183218" y="193992"/>
                    <a:pt x="179300" y="186047"/>
                  </a:cubicBezTo>
                  <a:cubicBezTo>
                    <a:pt x="175382" y="178103"/>
                    <a:pt x="169723" y="171682"/>
                    <a:pt x="162322" y="166839"/>
                  </a:cubicBezTo>
                  <a:cubicBezTo>
                    <a:pt x="154921" y="161996"/>
                    <a:pt x="144746" y="159819"/>
                    <a:pt x="131795" y="160363"/>
                  </a:cubicBezTo>
                  <a:lnTo>
                    <a:pt x="27480" y="160363"/>
                  </a:lnTo>
                  <a:lnTo>
                    <a:pt x="27480" y="288512"/>
                  </a:lnTo>
                  <a:lnTo>
                    <a:pt x="0" y="288512"/>
                  </a:lnTo>
                  <a:lnTo>
                    <a:pt x="0" y="0"/>
                  </a:lnTo>
                  <a:lnTo>
                    <a:pt x="132176" y="0"/>
                  </a:lnTo>
                  <a:close/>
                  <a:moveTo>
                    <a:pt x="130162" y="137019"/>
                  </a:moveTo>
                  <a:cubicBezTo>
                    <a:pt x="138488" y="137019"/>
                    <a:pt x="146487" y="135767"/>
                    <a:pt x="153996" y="133155"/>
                  </a:cubicBezTo>
                  <a:cubicBezTo>
                    <a:pt x="161560" y="130598"/>
                    <a:pt x="168145" y="126897"/>
                    <a:pt x="173804" y="122054"/>
                  </a:cubicBezTo>
                  <a:cubicBezTo>
                    <a:pt x="179463" y="117211"/>
                    <a:pt x="183979" y="111335"/>
                    <a:pt x="187353" y="104478"/>
                  </a:cubicBezTo>
                  <a:cubicBezTo>
                    <a:pt x="190727" y="97622"/>
                    <a:pt x="192414" y="89731"/>
                    <a:pt x="192414" y="80807"/>
                  </a:cubicBezTo>
                  <a:cubicBezTo>
                    <a:pt x="192414" y="63013"/>
                    <a:pt x="187299" y="49029"/>
                    <a:pt x="177069" y="38744"/>
                  </a:cubicBezTo>
                  <a:cubicBezTo>
                    <a:pt x="166839" y="28514"/>
                    <a:pt x="151221" y="23399"/>
                    <a:pt x="130162" y="23399"/>
                  </a:cubicBezTo>
                  <a:lnTo>
                    <a:pt x="27480" y="23399"/>
                  </a:lnTo>
                  <a:lnTo>
                    <a:pt x="27480" y="137073"/>
                  </a:lnTo>
                  <a:lnTo>
                    <a:pt x="130162" y="137073"/>
                  </a:lnTo>
                  <a:close/>
                </a:path>
              </a:pathLst>
            </a:custGeom>
            <a:solidFill>
              <a:srgbClr val="A1ABB2"/>
            </a:solidFill>
            <a:ln w="5435" cap="flat">
              <a:noFill/>
              <a:prstDash val="solid"/>
              <a:miter/>
            </a:ln>
          </p:spPr>
          <p:txBody>
            <a:bodyPr rtlCol="0" anchor="ctr"/>
            <a:lstStyle/>
            <a:p>
              <a:endParaRPr lang="en-US"/>
            </a:p>
          </p:txBody>
        </p:sp>
        <p:sp>
          <p:nvSpPr>
            <p:cNvPr id="16" name="Freeform: Shape 15">
              <a:extLst>
                <a:ext uri="{FF2B5EF4-FFF2-40B4-BE49-F238E27FC236}">
                  <a16:creationId xmlns:a16="http://schemas.microsoft.com/office/drawing/2014/main" id="{1570EE77-AEC1-4E14-9176-2A3FC54BD613}"/>
                </a:ext>
              </a:extLst>
            </p:cNvPr>
            <p:cNvSpPr/>
            <p:nvPr/>
          </p:nvSpPr>
          <p:spPr>
            <a:xfrm>
              <a:off x="6883762" y="4901474"/>
              <a:ext cx="272078" cy="300320"/>
            </a:xfrm>
            <a:custGeom>
              <a:avLst/>
              <a:gdLst>
                <a:gd name="connsiteX0" fmla="*/ 8489 w 272078"/>
                <a:gd name="connsiteY0" fmla="*/ 93377 h 300320"/>
                <a:gd name="connsiteX1" fmla="*/ 33955 w 272078"/>
                <a:gd name="connsiteY1" fmla="*/ 45492 h 300320"/>
                <a:gd name="connsiteX2" fmla="*/ 76617 w 272078"/>
                <a:gd name="connsiteY2" fmla="*/ 12352 h 300320"/>
                <a:gd name="connsiteX3" fmla="*/ 136257 w 272078"/>
                <a:gd name="connsiteY3" fmla="*/ 0 h 300320"/>
                <a:gd name="connsiteX4" fmla="*/ 195679 w 272078"/>
                <a:gd name="connsiteY4" fmla="*/ 12352 h 300320"/>
                <a:gd name="connsiteX5" fmla="*/ 238123 w 272078"/>
                <a:gd name="connsiteY5" fmla="*/ 45492 h 300320"/>
                <a:gd name="connsiteX6" fmla="*/ 263590 w 272078"/>
                <a:gd name="connsiteY6" fmla="*/ 93377 h 300320"/>
                <a:gd name="connsiteX7" fmla="*/ 272078 w 272078"/>
                <a:gd name="connsiteY7" fmla="*/ 150351 h 300320"/>
                <a:gd name="connsiteX8" fmla="*/ 263590 w 272078"/>
                <a:gd name="connsiteY8" fmla="*/ 207324 h 300320"/>
                <a:gd name="connsiteX9" fmla="*/ 238123 w 272078"/>
                <a:gd name="connsiteY9" fmla="*/ 255046 h 300320"/>
                <a:gd name="connsiteX10" fmla="*/ 195679 w 272078"/>
                <a:gd name="connsiteY10" fmla="*/ 287968 h 300320"/>
                <a:gd name="connsiteX11" fmla="*/ 136257 w 272078"/>
                <a:gd name="connsiteY11" fmla="*/ 300320 h 300320"/>
                <a:gd name="connsiteX12" fmla="*/ 76617 w 272078"/>
                <a:gd name="connsiteY12" fmla="*/ 287968 h 300320"/>
                <a:gd name="connsiteX13" fmla="*/ 33955 w 272078"/>
                <a:gd name="connsiteY13" fmla="*/ 255046 h 300320"/>
                <a:gd name="connsiteX14" fmla="*/ 8489 w 272078"/>
                <a:gd name="connsiteY14" fmla="*/ 207324 h 300320"/>
                <a:gd name="connsiteX15" fmla="*/ 0 w 272078"/>
                <a:gd name="connsiteY15" fmla="*/ 150351 h 300320"/>
                <a:gd name="connsiteX16" fmla="*/ 8489 w 272078"/>
                <a:gd name="connsiteY16" fmla="*/ 93377 h 300320"/>
                <a:gd name="connsiteX17" fmla="*/ 33738 w 272078"/>
                <a:gd name="connsiteY17" fmla="*/ 196658 h 300320"/>
                <a:gd name="connsiteX18" fmla="*/ 53164 w 272078"/>
                <a:gd name="connsiteY18" fmla="*/ 237470 h 300320"/>
                <a:gd name="connsiteX19" fmla="*/ 86902 w 272078"/>
                <a:gd name="connsiteY19" fmla="*/ 266365 h 300320"/>
                <a:gd name="connsiteX20" fmla="*/ 136202 w 272078"/>
                <a:gd name="connsiteY20" fmla="*/ 277302 h 300320"/>
                <a:gd name="connsiteX21" fmla="*/ 185340 w 272078"/>
                <a:gd name="connsiteY21" fmla="*/ 266365 h 300320"/>
                <a:gd name="connsiteX22" fmla="*/ 218914 w 272078"/>
                <a:gd name="connsiteY22" fmla="*/ 237470 h 300320"/>
                <a:gd name="connsiteX23" fmla="*/ 238341 w 272078"/>
                <a:gd name="connsiteY23" fmla="*/ 196658 h 300320"/>
                <a:gd name="connsiteX24" fmla="*/ 244598 w 272078"/>
                <a:gd name="connsiteY24" fmla="*/ 150405 h 300320"/>
                <a:gd name="connsiteX25" fmla="*/ 238341 w 272078"/>
                <a:gd name="connsiteY25" fmla="*/ 103934 h 300320"/>
                <a:gd name="connsiteX26" fmla="*/ 218914 w 272078"/>
                <a:gd name="connsiteY26" fmla="*/ 63285 h 300320"/>
                <a:gd name="connsiteX27" fmla="*/ 185340 w 272078"/>
                <a:gd name="connsiteY27" fmla="*/ 34391 h 300320"/>
                <a:gd name="connsiteX28" fmla="*/ 136202 w 272078"/>
                <a:gd name="connsiteY28" fmla="*/ 23508 h 300320"/>
                <a:gd name="connsiteX29" fmla="*/ 86902 w 272078"/>
                <a:gd name="connsiteY29" fmla="*/ 34391 h 300320"/>
                <a:gd name="connsiteX30" fmla="*/ 53164 w 272078"/>
                <a:gd name="connsiteY30" fmla="*/ 63285 h 300320"/>
                <a:gd name="connsiteX31" fmla="*/ 33738 w 272078"/>
                <a:gd name="connsiteY31" fmla="*/ 103934 h 300320"/>
                <a:gd name="connsiteX32" fmla="*/ 27480 w 272078"/>
                <a:gd name="connsiteY32" fmla="*/ 150405 h 300320"/>
                <a:gd name="connsiteX33" fmla="*/ 33738 w 272078"/>
                <a:gd name="connsiteY33" fmla="*/ 196658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2078" h="300320">
                  <a:moveTo>
                    <a:pt x="8489" y="93377"/>
                  </a:moveTo>
                  <a:cubicBezTo>
                    <a:pt x="14148" y="75311"/>
                    <a:pt x="22637" y="59368"/>
                    <a:pt x="33955" y="45492"/>
                  </a:cubicBezTo>
                  <a:cubicBezTo>
                    <a:pt x="45274" y="31616"/>
                    <a:pt x="59476" y="20569"/>
                    <a:pt x="76617" y="12352"/>
                  </a:cubicBezTo>
                  <a:cubicBezTo>
                    <a:pt x="93704" y="4136"/>
                    <a:pt x="113620" y="0"/>
                    <a:pt x="136257" y="0"/>
                  </a:cubicBezTo>
                  <a:cubicBezTo>
                    <a:pt x="158894" y="0"/>
                    <a:pt x="178701" y="4081"/>
                    <a:pt x="195679" y="12352"/>
                  </a:cubicBezTo>
                  <a:cubicBezTo>
                    <a:pt x="212656" y="20569"/>
                    <a:pt x="226805" y="31616"/>
                    <a:pt x="238123" y="45492"/>
                  </a:cubicBezTo>
                  <a:cubicBezTo>
                    <a:pt x="249441" y="59368"/>
                    <a:pt x="257930" y="75366"/>
                    <a:pt x="263590" y="93377"/>
                  </a:cubicBezTo>
                  <a:cubicBezTo>
                    <a:pt x="269249" y="111443"/>
                    <a:pt x="272078" y="130434"/>
                    <a:pt x="272078" y="150351"/>
                  </a:cubicBezTo>
                  <a:cubicBezTo>
                    <a:pt x="272078" y="170267"/>
                    <a:pt x="269249" y="189312"/>
                    <a:pt x="263590" y="207324"/>
                  </a:cubicBezTo>
                  <a:cubicBezTo>
                    <a:pt x="257930" y="225390"/>
                    <a:pt x="249441" y="241279"/>
                    <a:pt x="238123" y="255046"/>
                  </a:cubicBezTo>
                  <a:cubicBezTo>
                    <a:pt x="226805" y="268814"/>
                    <a:pt x="212656" y="279751"/>
                    <a:pt x="195679" y="287968"/>
                  </a:cubicBezTo>
                  <a:cubicBezTo>
                    <a:pt x="178701" y="296185"/>
                    <a:pt x="158894" y="300320"/>
                    <a:pt x="136257" y="300320"/>
                  </a:cubicBezTo>
                  <a:cubicBezTo>
                    <a:pt x="113620" y="300320"/>
                    <a:pt x="93758" y="296185"/>
                    <a:pt x="76617" y="287968"/>
                  </a:cubicBezTo>
                  <a:cubicBezTo>
                    <a:pt x="59476" y="279751"/>
                    <a:pt x="45274" y="268759"/>
                    <a:pt x="33955" y="255046"/>
                  </a:cubicBezTo>
                  <a:cubicBezTo>
                    <a:pt x="22637" y="241279"/>
                    <a:pt x="14148" y="225390"/>
                    <a:pt x="8489" y="207324"/>
                  </a:cubicBezTo>
                  <a:cubicBezTo>
                    <a:pt x="2830" y="189258"/>
                    <a:pt x="0" y="170267"/>
                    <a:pt x="0" y="150351"/>
                  </a:cubicBezTo>
                  <a:cubicBezTo>
                    <a:pt x="0" y="130434"/>
                    <a:pt x="2830" y="111389"/>
                    <a:pt x="8489" y="93377"/>
                  </a:cubicBezTo>
                  <a:close/>
                  <a:moveTo>
                    <a:pt x="33738" y="196658"/>
                  </a:moveTo>
                  <a:cubicBezTo>
                    <a:pt x="37928" y="211895"/>
                    <a:pt x="44403" y="225499"/>
                    <a:pt x="53164" y="237470"/>
                  </a:cubicBezTo>
                  <a:cubicBezTo>
                    <a:pt x="61925" y="249442"/>
                    <a:pt x="73189" y="259073"/>
                    <a:pt x="86902" y="266365"/>
                  </a:cubicBezTo>
                  <a:cubicBezTo>
                    <a:pt x="100615" y="273657"/>
                    <a:pt x="117103" y="277302"/>
                    <a:pt x="136202" y="277302"/>
                  </a:cubicBezTo>
                  <a:cubicBezTo>
                    <a:pt x="155302" y="277302"/>
                    <a:pt x="171681" y="273657"/>
                    <a:pt x="185340" y="266365"/>
                  </a:cubicBezTo>
                  <a:cubicBezTo>
                    <a:pt x="198944" y="259073"/>
                    <a:pt x="210153" y="249442"/>
                    <a:pt x="218914" y="237470"/>
                  </a:cubicBezTo>
                  <a:cubicBezTo>
                    <a:pt x="227675" y="225499"/>
                    <a:pt x="234151" y="211895"/>
                    <a:pt x="238341" y="196658"/>
                  </a:cubicBezTo>
                  <a:cubicBezTo>
                    <a:pt x="242531" y="181422"/>
                    <a:pt x="244598" y="166022"/>
                    <a:pt x="244598" y="150405"/>
                  </a:cubicBezTo>
                  <a:cubicBezTo>
                    <a:pt x="244598" y="134788"/>
                    <a:pt x="242531" y="119007"/>
                    <a:pt x="238341" y="103934"/>
                  </a:cubicBezTo>
                  <a:cubicBezTo>
                    <a:pt x="234151" y="88861"/>
                    <a:pt x="227675" y="75311"/>
                    <a:pt x="218914" y="63285"/>
                  </a:cubicBezTo>
                  <a:cubicBezTo>
                    <a:pt x="210153" y="51314"/>
                    <a:pt x="198944" y="41682"/>
                    <a:pt x="185340" y="34391"/>
                  </a:cubicBezTo>
                  <a:cubicBezTo>
                    <a:pt x="171736" y="27099"/>
                    <a:pt x="155357"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lose/>
                </a:path>
              </a:pathLst>
            </a:custGeom>
            <a:solidFill>
              <a:srgbClr val="A1ABB2"/>
            </a:solidFill>
            <a:ln w="5435" cap="flat">
              <a:no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DB238CCD-4FAA-49D8-A9F4-9312A78C1A89}"/>
                </a:ext>
              </a:extLst>
            </p:cNvPr>
            <p:cNvSpPr/>
            <p:nvPr/>
          </p:nvSpPr>
          <p:spPr>
            <a:xfrm>
              <a:off x="7182069" y="4907514"/>
              <a:ext cx="227185" cy="288620"/>
            </a:xfrm>
            <a:custGeom>
              <a:avLst/>
              <a:gdLst>
                <a:gd name="connsiteX0" fmla="*/ 30745 w 227185"/>
                <a:gd name="connsiteY0" fmla="*/ 0 h 288620"/>
                <a:gd name="connsiteX1" fmla="*/ 198889 w 227185"/>
                <a:gd name="connsiteY1" fmla="*/ 244163 h 288620"/>
                <a:gd name="connsiteX2" fmla="*/ 199706 w 227185"/>
                <a:gd name="connsiteY2" fmla="*/ 244163 h 288620"/>
                <a:gd name="connsiteX3" fmla="*/ 199706 w 227185"/>
                <a:gd name="connsiteY3" fmla="*/ 0 h 288620"/>
                <a:gd name="connsiteX4" fmla="*/ 227185 w 227185"/>
                <a:gd name="connsiteY4" fmla="*/ 0 h 288620"/>
                <a:gd name="connsiteX5" fmla="*/ 227185 w 227185"/>
                <a:gd name="connsiteY5" fmla="*/ 288621 h 288620"/>
                <a:gd name="connsiteX6" fmla="*/ 196441 w 227185"/>
                <a:gd name="connsiteY6" fmla="*/ 288621 h 288620"/>
                <a:gd name="connsiteX7" fmla="*/ 28296 w 227185"/>
                <a:gd name="connsiteY7" fmla="*/ 44458 h 288620"/>
                <a:gd name="connsiteX8" fmla="*/ 27480 w 227185"/>
                <a:gd name="connsiteY8" fmla="*/ 44458 h 288620"/>
                <a:gd name="connsiteX9" fmla="*/ 27480 w 227185"/>
                <a:gd name="connsiteY9" fmla="*/ 288621 h 288620"/>
                <a:gd name="connsiteX10" fmla="*/ 0 w 227185"/>
                <a:gd name="connsiteY10" fmla="*/ 288621 h 288620"/>
                <a:gd name="connsiteX11" fmla="*/ 0 w 227185"/>
                <a:gd name="connsiteY11" fmla="*/ 0 h 288620"/>
                <a:gd name="connsiteX12" fmla="*/ 30745 w 227185"/>
                <a:gd name="connsiteY12" fmla="*/ 0 h 28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185" h="288620">
                  <a:moveTo>
                    <a:pt x="30745" y="0"/>
                  </a:moveTo>
                  <a:lnTo>
                    <a:pt x="198889" y="244163"/>
                  </a:lnTo>
                  <a:lnTo>
                    <a:pt x="199706" y="244163"/>
                  </a:lnTo>
                  <a:lnTo>
                    <a:pt x="199706" y="0"/>
                  </a:lnTo>
                  <a:lnTo>
                    <a:pt x="227185" y="0"/>
                  </a:lnTo>
                  <a:lnTo>
                    <a:pt x="227185" y="288621"/>
                  </a:lnTo>
                  <a:lnTo>
                    <a:pt x="196441" y="288621"/>
                  </a:lnTo>
                  <a:lnTo>
                    <a:pt x="28296" y="44458"/>
                  </a:lnTo>
                  <a:lnTo>
                    <a:pt x="27480" y="44458"/>
                  </a:lnTo>
                  <a:lnTo>
                    <a:pt x="27480" y="288621"/>
                  </a:lnTo>
                  <a:lnTo>
                    <a:pt x="0" y="288621"/>
                  </a:lnTo>
                  <a:lnTo>
                    <a:pt x="0" y="0"/>
                  </a:lnTo>
                  <a:lnTo>
                    <a:pt x="30745" y="0"/>
                  </a:lnTo>
                  <a:close/>
                </a:path>
              </a:pathLst>
            </a:custGeom>
            <a:solidFill>
              <a:srgbClr val="A1ABB2"/>
            </a:solidFill>
            <a:ln w="5435" cap="flat">
              <a:no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76362676-5792-4532-BE38-0CB7F094C984}"/>
                </a:ext>
              </a:extLst>
            </p:cNvPr>
            <p:cNvSpPr/>
            <p:nvPr/>
          </p:nvSpPr>
          <p:spPr>
            <a:xfrm>
              <a:off x="7461004" y="4907514"/>
              <a:ext cx="27480" cy="288620"/>
            </a:xfrm>
            <a:custGeom>
              <a:avLst/>
              <a:gdLst>
                <a:gd name="connsiteX0" fmla="*/ 27480 w 27480"/>
                <a:gd name="connsiteY0" fmla="*/ 0 h 288620"/>
                <a:gd name="connsiteX1" fmla="*/ 27480 w 27480"/>
                <a:gd name="connsiteY1" fmla="*/ 288621 h 288620"/>
                <a:gd name="connsiteX2" fmla="*/ 0 w 27480"/>
                <a:gd name="connsiteY2" fmla="*/ 288621 h 288620"/>
                <a:gd name="connsiteX3" fmla="*/ 0 w 27480"/>
                <a:gd name="connsiteY3" fmla="*/ 0 h 288620"/>
                <a:gd name="connsiteX4" fmla="*/ 27480 w 27480"/>
                <a:gd name="connsiteY4" fmla="*/ 0 h 288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80" h="288620">
                  <a:moveTo>
                    <a:pt x="27480" y="0"/>
                  </a:moveTo>
                  <a:lnTo>
                    <a:pt x="27480" y="288621"/>
                  </a:lnTo>
                  <a:lnTo>
                    <a:pt x="0" y="288621"/>
                  </a:lnTo>
                  <a:lnTo>
                    <a:pt x="0" y="0"/>
                  </a:lnTo>
                  <a:lnTo>
                    <a:pt x="27480" y="0"/>
                  </a:lnTo>
                  <a:close/>
                </a:path>
              </a:pathLst>
            </a:custGeom>
            <a:solidFill>
              <a:srgbClr val="A1ABB2"/>
            </a:solidFill>
            <a:ln w="5435" cap="flat">
              <a:no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6916EBB7-C792-45BC-AAE0-FDE4AA6BCBFB}"/>
                </a:ext>
              </a:extLst>
            </p:cNvPr>
            <p:cNvSpPr/>
            <p:nvPr/>
          </p:nvSpPr>
          <p:spPr>
            <a:xfrm>
              <a:off x="7526956" y="4901419"/>
              <a:ext cx="256297" cy="300320"/>
            </a:xfrm>
            <a:custGeom>
              <a:avLst/>
              <a:gdLst>
                <a:gd name="connsiteX0" fmla="*/ 212765 w 256297"/>
                <a:gd name="connsiteY0" fmla="*/ 63721 h 300320"/>
                <a:gd name="connsiteX1" fmla="*/ 192577 w 256297"/>
                <a:gd name="connsiteY1" fmla="*/ 41682 h 300320"/>
                <a:gd name="connsiteX2" fmla="*/ 166294 w 256297"/>
                <a:gd name="connsiteY2" fmla="*/ 28133 h 300320"/>
                <a:gd name="connsiteX3" fmla="*/ 136202 w 256297"/>
                <a:gd name="connsiteY3" fmla="*/ 23508 h 300320"/>
                <a:gd name="connsiteX4" fmla="*/ 86902 w 256297"/>
                <a:gd name="connsiteY4" fmla="*/ 34391 h 300320"/>
                <a:gd name="connsiteX5" fmla="*/ 53164 w 256297"/>
                <a:gd name="connsiteY5" fmla="*/ 63285 h 300320"/>
                <a:gd name="connsiteX6" fmla="*/ 33738 w 256297"/>
                <a:gd name="connsiteY6" fmla="*/ 103934 h 300320"/>
                <a:gd name="connsiteX7" fmla="*/ 27480 w 256297"/>
                <a:gd name="connsiteY7" fmla="*/ 150405 h 300320"/>
                <a:gd name="connsiteX8" fmla="*/ 33738 w 256297"/>
                <a:gd name="connsiteY8" fmla="*/ 196658 h 300320"/>
                <a:gd name="connsiteX9" fmla="*/ 53164 w 256297"/>
                <a:gd name="connsiteY9" fmla="*/ 237470 h 300320"/>
                <a:gd name="connsiteX10" fmla="*/ 86902 w 256297"/>
                <a:gd name="connsiteY10" fmla="*/ 266365 h 300320"/>
                <a:gd name="connsiteX11" fmla="*/ 136202 w 256297"/>
                <a:gd name="connsiteY11" fmla="*/ 277302 h 300320"/>
                <a:gd name="connsiteX12" fmla="*/ 172607 w 256297"/>
                <a:gd name="connsiteY12" fmla="*/ 270011 h 300320"/>
                <a:gd name="connsiteX13" fmla="*/ 200522 w 256297"/>
                <a:gd name="connsiteY13" fmla="*/ 250203 h 300320"/>
                <a:gd name="connsiteX14" fmla="*/ 219513 w 256297"/>
                <a:gd name="connsiteY14" fmla="*/ 220873 h 300320"/>
                <a:gd name="connsiteX15" fmla="*/ 228818 w 256297"/>
                <a:gd name="connsiteY15" fmla="*/ 184687 h 300320"/>
                <a:gd name="connsiteX16" fmla="*/ 256298 w 256297"/>
                <a:gd name="connsiteY16" fmla="*/ 184687 h 300320"/>
                <a:gd name="connsiteX17" fmla="*/ 243782 w 256297"/>
                <a:gd name="connsiteY17" fmla="*/ 232790 h 300320"/>
                <a:gd name="connsiteX18" fmla="*/ 218697 w 256297"/>
                <a:gd name="connsiteY18" fmla="*/ 269194 h 300320"/>
                <a:gd name="connsiteX19" fmla="*/ 182510 w 256297"/>
                <a:gd name="connsiteY19" fmla="*/ 292212 h 300320"/>
                <a:gd name="connsiteX20" fmla="*/ 136257 w 256297"/>
                <a:gd name="connsiteY20" fmla="*/ 300320 h 300320"/>
                <a:gd name="connsiteX21" fmla="*/ 76617 w 256297"/>
                <a:gd name="connsiteY21" fmla="*/ 287968 h 300320"/>
                <a:gd name="connsiteX22" fmla="*/ 33956 w 256297"/>
                <a:gd name="connsiteY22" fmla="*/ 255046 h 300320"/>
                <a:gd name="connsiteX23" fmla="*/ 8489 w 256297"/>
                <a:gd name="connsiteY23" fmla="*/ 207324 h 300320"/>
                <a:gd name="connsiteX24" fmla="*/ 0 w 256297"/>
                <a:gd name="connsiteY24" fmla="*/ 150351 h 300320"/>
                <a:gd name="connsiteX25" fmla="*/ 8489 w 256297"/>
                <a:gd name="connsiteY25" fmla="*/ 93377 h 300320"/>
                <a:gd name="connsiteX26" fmla="*/ 33956 w 256297"/>
                <a:gd name="connsiteY26" fmla="*/ 45492 h 300320"/>
                <a:gd name="connsiteX27" fmla="*/ 76617 w 256297"/>
                <a:gd name="connsiteY27" fmla="*/ 12352 h 300320"/>
                <a:gd name="connsiteX28" fmla="*/ 136257 w 256297"/>
                <a:gd name="connsiteY28" fmla="*/ 0 h 300320"/>
                <a:gd name="connsiteX29" fmla="*/ 176470 w 256297"/>
                <a:gd name="connsiteY29" fmla="*/ 6040 h 300320"/>
                <a:gd name="connsiteX30" fmla="*/ 212058 w 256297"/>
                <a:gd name="connsiteY30" fmla="*/ 24052 h 300320"/>
                <a:gd name="connsiteX31" fmla="*/ 238722 w 256297"/>
                <a:gd name="connsiteY31" fmla="*/ 53382 h 300320"/>
                <a:gd name="connsiteX32" fmla="*/ 252271 w 256297"/>
                <a:gd name="connsiteY32" fmla="*/ 93377 h 300320"/>
                <a:gd name="connsiteX33" fmla="*/ 224791 w 256297"/>
                <a:gd name="connsiteY33" fmla="*/ 93377 h 300320"/>
                <a:gd name="connsiteX34" fmla="*/ 212874 w 256297"/>
                <a:gd name="connsiteY34" fmla="*/ 63666 h 300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56297" h="300320">
                  <a:moveTo>
                    <a:pt x="212765" y="63721"/>
                  </a:moveTo>
                  <a:cubicBezTo>
                    <a:pt x="207215" y="54960"/>
                    <a:pt x="200522" y="47614"/>
                    <a:pt x="192577" y="41682"/>
                  </a:cubicBezTo>
                  <a:cubicBezTo>
                    <a:pt x="184633" y="35751"/>
                    <a:pt x="175872" y="31235"/>
                    <a:pt x="166294" y="28133"/>
                  </a:cubicBezTo>
                  <a:cubicBezTo>
                    <a:pt x="156717" y="25031"/>
                    <a:pt x="146705" y="23508"/>
                    <a:pt x="136202" y="23508"/>
                  </a:cubicBezTo>
                  <a:cubicBezTo>
                    <a:pt x="117048" y="23508"/>
                    <a:pt x="100615" y="27153"/>
                    <a:pt x="86902" y="34391"/>
                  </a:cubicBezTo>
                  <a:cubicBezTo>
                    <a:pt x="73135" y="41682"/>
                    <a:pt x="61925" y="51314"/>
                    <a:pt x="53164" y="63285"/>
                  </a:cubicBezTo>
                  <a:cubicBezTo>
                    <a:pt x="44403" y="75311"/>
                    <a:pt x="37928" y="88806"/>
                    <a:pt x="33738" y="103934"/>
                  </a:cubicBezTo>
                  <a:cubicBezTo>
                    <a:pt x="29548" y="119007"/>
                    <a:pt x="27480" y="134516"/>
                    <a:pt x="27480" y="150405"/>
                  </a:cubicBezTo>
                  <a:cubicBezTo>
                    <a:pt x="27480" y="166294"/>
                    <a:pt x="29548" y="181476"/>
                    <a:pt x="33738" y="196658"/>
                  </a:cubicBezTo>
                  <a:cubicBezTo>
                    <a:pt x="37928" y="211895"/>
                    <a:pt x="44403" y="225499"/>
                    <a:pt x="53164" y="237470"/>
                  </a:cubicBezTo>
                  <a:cubicBezTo>
                    <a:pt x="61925" y="249442"/>
                    <a:pt x="73189" y="259073"/>
                    <a:pt x="86902" y="266365"/>
                  </a:cubicBezTo>
                  <a:cubicBezTo>
                    <a:pt x="100669" y="273657"/>
                    <a:pt x="117103" y="277302"/>
                    <a:pt x="136202" y="277302"/>
                  </a:cubicBezTo>
                  <a:cubicBezTo>
                    <a:pt x="149698" y="277302"/>
                    <a:pt x="161778" y="274854"/>
                    <a:pt x="172607" y="270011"/>
                  </a:cubicBezTo>
                  <a:cubicBezTo>
                    <a:pt x="183381" y="265168"/>
                    <a:pt x="192686" y="258583"/>
                    <a:pt x="200522" y="250203"/>
                  </a:cubicBezTo>
                  <a:cubicBezTo>
                    <a:pt x="208358" y="241878"/>
                    <a:pt x="214670" y="232083"/>
                    <a:pt x="219513" y="220873"/>
                  </a:cubicBezTo>
                  <a:cubicBezTo>
                    <a:pt x="224356" y="209718"/>
                    <a:pt x="227458" y="197638"/>
                    <a:pt x="228818" y="184687"/>
                  </a:cubicBezTo>
                  <a:lnTo>
                    <a:pt x="256298" y="184687"/>
                  </a:lnTo>
                  <a:cubicBezTo>
                    <a:pt x="254393" y="202481"/>
                    <a:pt x="250258" y="218533"/>
                    <a:pt x="243782" y="232790"/>
                  </a:cubicBezTo>
                  <a:cubicBezTo>
                    <a:pt x="237307" y="247102"/>
                    <a:pt x="228981" y="259182"/>
                    <a:pt x="218697" y="269194"/>
                  </a:cubicBezTo>
                  <a:cubicBezTo>
                    <a:pt x="208466" y="279153"/>
                    <a:pt x="196386" y="286825"/>
                    <a:pt x="182510" y="292212"/>
                  </a:cubicBezTo>
                  <a:cubicBezTo>
                    <a:pt x="168634" y="297599"/>
                    <a:pt x="153235" y="300320"/>
                    <a:pt x="136257" y="300320"/>
                  </a:cubicBezTo>
                  <a:cubicBezTo>
                    <a:pt x="113620" y="300320"/>
                    <a:pt x="93758" y="296185"/>
                    <a:pt x="76617" y="287968"/>
                  </a:cubicBezTo>
                  <a:cubicBezTo>
                    <a:pt x="59476" y="279751"/>
                    <a:pt x="45274" y="268759"/>
                    <a:pt x="33956" y="255046"/>
                  </a:cubicBezTo>
                  <a:cubicBezTo>
                    <a:pt x="22637" y="241279"/>
                    <a:pt x="14148" y="225390"/>
                    <a:pt x="8489" y="207324"/>
                  </a:cubicBezTo>
                  <a:cubicBezTo>
                    <a:pt x="2830" y="189258"/>
                    <a:pt x="0" y="170267"/>
                    <a:pt x="0" y="150351"/>
                  </a:cubicBezTo>
                  <a:cubicBezTo>
                    <a:pt x="0" y="130434"/>
                    <a:pt x="2830" y="111389"/>
                    <a:pt x="8489" y="93377"/>
                  </a:cubicBezTo>
                  <a:cubicBezTo>
                    <a:pt x="14148" y="75311"/>
                    <a:pt x="22637" y="59368"/>
                    <a:pt x="33956" y="45492"/>
                  </a:cubicBezTo>
                  <a:cubicBezTo>
                    <a:pt x="45274" y="31616"/>
                    <a:pt x="59476" y="20569"/>
                    <a:pt x="76617" y="12352"/>
                  </a:cubicBezTo>
                  <a:cubicBezTo>
                    <a:pt x="93704" y="4136"/>
                    <a:pt x="113620" y="0"/>
                    <a:pt x="136257" y="0"/>
                  </a:cubicBezTo>
                  <a:cubicBezTo>
                    <a:pt x="150024" y="0"/>
                    <a:pt x="163410" y="2013"/>
                    <a:pt x="176470" y="6040"/>
                  </a:cubicBezTo>
                  <a:cubicBezTo>
                    <a:pt x="189530" y="10067"/>
                    <a:pt x="201393" y="16053"/>
                    <a:pt x="212058" y="24052"/>
                  </a:cubicBezTo>
                  <a:cubicBezTo>
                    <a:pt x="222724" y="32051"/>
                    <a:pt x="231593" y="41791"/>
                    <a:pt x="238722" y="53382"/>
                  </a:cubicBezTo>
                  <a:cubicBezTo>
                    <a:pt x="245850" y="64972"/>
                    <a:pt x="250367" y="78304"/>
                    <a:pt x="252271" y="93377"/>
                  </a:cubicBezTo>
                  <a:lnTo>
                    <a:pt x="224791" y="93377"/>
                  </a:lnTo>
                  <a:cubicBezTo>
                    <a:pt x="222343" y="82331"/>
                    <a:pt x="218370" y="72427"/>
                    <a:pt x="212874" y="63666"/>
                  </a:cubicBezTo>
                  <a:close/>
                </a:path>
              </a:pathLst>
            </a:custGeom>
            <a:solidFill>
              <a:srgbClr val="A1ABB2"/>
            </a:solidFill>
            <a:ln w="5435" cap="flat">
              <a:no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4714CA88-72A7-40E4-B096-A755CD47305F}"/>
                </a:ext>
              </a:extLst>
            </p:cNvPr>
            <p:cNvSpPr/>
            <p:nvPr/>
          </p:nvSpPr>
          <p:spPr>
            <a:xfrm>
              <a:off x="7809972" y="4911704"/>
              <a:ext cx="153397" cy="153125"/>
            </a:xfrm>
            <a:custGeom>
              <a:avLst/>
              <a:gdLst>
                <a:gd name="connsiteX0" fmla="*/ 107036 w 153397"/>
                <a:gd name="connsiteY0" fmla="*/ 5877 h 153125"/>
                <a:gd name="connsiteX1" fmla="*/ 131360 w 153397"/>
                <a:gd name="connsiteY1" fmla="*/ 22147 h 153125"/>
                <a:gd name="connsiteX2" fmla="*/ 147521 w 153397"/>
                <a:gd name="connsiteY2" fmla="*/ 46580 h 153125"/>
                <a:gd name="connsiteX3" fmla="*/ 153398 w 153397"/>
                <a:gd name="connsiteY3" fmla="*/ 76672 h 153125"/>
                <a:gd name="connsiteX4" fmla="*/ 147521 w 153397"/>
                <a:gd name="connsiteY4" fmla="*/ 106872 h 153125"/>
                <a:gd name="connsiteX5" fmla="*/ 131360 w 153397"/>
                <a:gd name="connsiteY5" fmla="*/ 131087 h 153125"/>
                <a:gd name="connsiteX6" fmla="*/ 107036 w 153397"/>
                <a:gd name="connsiteY6" fmla="*/ 147249 h 153125"/>
                <a:gd name="connsiteX7" fmla="*/ 76726 w 153397"/>
                <a:gd name="connsiteY7" fmla="*/ 153126 h 153125"/>
                <a:gd name="connsiteX8" fmla="*/ 46417 w 153397"/>
                <a:gd name="connsiteY8" fmla="*/ 147249 h 153125"/>
                <a:gd name="connsiteX9" fmla="*/ 22093 w 153397"/>
                <a:gd name="connsiteY9" fmla="*/ 131087 h 153125"/>
                <a:gd name="connsiteX10" fmla="*/ 5877 w 153397"/>
                <a:gd name="connsiteY10" fmla="*/ 106872 h 153125"/>
                <a:gd name="connsiteX11" fmla="*/ 0 w 153397"/>
                <a:gd name="connsiteY11" fmla="*/ 76672 h 153125"/>
                <a:gd name="connsiteX12" fmla="*/ 5877 w 153397"/>
                <a:gd name="connsiteY12" fmla="*/ 46580 h 153125"/>
                <a:gd name="connsiteX13" fmla="*/ 22093 w 153397"/>
                <a:gd name="connsiteY13" fmla="*/ 22147 h 153125"/>
                <a:gd name="connsiteX14" fmla="*/ 46417 w 153397"/>
                <a:gd name="connsiteY14" fmla="*/ 5877 h 153125"/>
                <a:gd name="connsiteX15" fmla="*/ 76726 w 153397"/>
                <a:gd name="connsiteY15" fmla="*/ 0 h 153125"/>
                <a:gd name="connsiteX16" fmla="*/ 107036 w 153397"/>
                <a:gd name="connsiteY16" fmla="*/ 5877 h 153125"/>
                <a:gd name="connsiteX17" fmla="*/ 50824 w 153397"/>
                <a:gd name="connsiteY17" fmla="*/ 16107 h 153125"/>
                <a:gd name="connsiteX18" fmla="*/ 30310 w 153397"/>
                <a:gd name="connsiteY18" fmla="*/ 30146 h 153125"/>
                <a:gd name="connsiteX19" fmla="*/ 16814 w 153397"/>
                <a:gd name="connsiteY19" fmla="*/ 50988 h 153125"/>
                <a:gd name="connsiteX20" fmla="*/ 11972 w 153397"/>
                <a:gd name="connsiteY20" fmla="*/ 76781 h 153125"/>
                <a:gd name="connsiteX21" fmla="*/ 16814 w 153397"/>
                <a:gd name="connsiteY21" fmla="*/ 102574 h 153125"/>
                <a:gd name="connsiteX22" fmla="*/ 30310 w 153397"/>
                <a:gd name="connsiteY22" fmla="*/ 123415 h 153125"/>
                <a:gd name="connsiteX23" fmla="*/ 50824 w 153397"/>
                <a:gd name="connsiteY23" fmla="*/ 137454 h 153125"/>
                <a:gd name="connsiteX24" fmla="*/ 76726 w 153397"/>
                <a:gd name="connsiteY24" fmla="*/ 142624 h 153125"/>
                <a:gd name="connsiteX25" fmla="*/ 102410 w 153397"/>
                <a:gd name="connsiteY25" fmla="*/ 137454 h 153125"/>
                <a:gd name="connsiteX26" fmla="*/ 122925 w 153397"/>
                <a:gd name="connsiteY26" fmla="*/ 123415 h 153125"/>
                <a:gd name="connsiteX27" fmla="*/ 136529 w 153397"/>
                <a:gd name="connsiteY27" fmla="*/ 102574 h 153125"/>
                <a:gd name="connsiteX28" fmla="*/ 141481 w 153397"/>
                <a:gd name="connsiteY28" fmla="*/ 76781 h 153125"/>
                <a:gd name="connsiteX29" fmla="*/ 136529 w 153397"/>
                <a:gd name="connsiteY29" fmla="*/ 50988 h 153125"/>
                <a:gd name="connsiteX30" fmla="*/ 122925 w 153397"/>
                <a:gd name="connsiteY30" fmla="*/ 30146 h 153125"/>
                <a:gd name="connsiteX31" fmla="*/ 102410 w 153397"/>
                <a:gd name="connsiteY31" fmla="*/ 16107 h 153125"/>
                <a:gd name="connsiteX32" fmla="*/ 76726 w 153397"/>
                <a:gd name="connsiteY32" fmla="*/ 10938 h 153125"/>
                <a:gd name="connsiteX33" fmla="*/ 50824 w 153397"/>
                <a:gd name="connsiteY33" fmla="*/ 16107 h 153125"/>
                <a:gd name="connsiteX34" fmla="*/ 48865 w 153397"/>
                <a:gd name="connsiteY34" fmla="*/ 121075 h 153125"/>
                <a:gd name="connsiteX35" fmla="*/ 48865 w 153397"/>
                <a:gd name="connsiteY35" fmla="*/ 32377 h 153125"/>
                <a:gd name="connsiteX36" fmla="*/ 82875 w 153397"/>
                <a:gd name="connsiteY36" fmla="*/ 32377 h 153125"/>
                <a:gd name="connsiteX37" fmla="*/ 104859 w 153397"/>
                <a:gd name="connsiteY37" fmla="*/ 38690 h 153125"/>
                <a:gd name="connsiteX38" fmla="*/ 111770 w 153397"/>
                <a:gd name="connsiteY38" fmla="*/ 56919 h 153125"/>
                <a:gd name="connsiteX39" fmla="*/ 110029 w 153397"/>
                <a:gd name="connsiteY39" fmla="*/ 67040 h 153125"/>
                <a:gd name="connsiteX40" fmla="*/ 105185 w 153397"/>
                <a:gd name="connsiteY40" fmla="*/ 74386 h 153125"/>
                <a:gd name="connsiteX41" fmla="*/ 98057 w 153397"/>
                <a:gd name="connsiteY41" fmla="*/ 79120 h 153125"/>
                <a:gd name="connsiteX42" fmla="*/ 89514 w 153397"/>
                <a:gd name="connsiteY42" fmla="*/ 81678 h 153125"/>
                <a:gd name="connsiteX43" fmla="*/ 115905 w 153397"/>
                <a:gd name="connsiteY43" fmla="*/ 121075 h 153125"/>
                <a:gd name="connsiteX44" fmla="*/ 103118 w 153397"/>
                <a:gd name="connsiteY44" fmla="*/ 121075 h 153125"/>
                <a:gd name="connsiteX45" fmla="*/ 78141 w 153397"/>
                <a:gd name="connsiteY45" fmla="*/ 81678 h 153125"/>
                <a:gd name="connsiteX46" fmla="*/ 59803 w 153397"/>
                <a:gd name="connsiteY46" fmla="*/ 81678 h 153125"/>
                <a:gd name="connsiteX47" fmla="*/ 59803 w 153397"/>
                <a:gd name="connsiteY47" fmla="*/ 121075 h 153125"/>
                <a:gd name="connsiteX48" fmla="*/ 48865 w 153397"/>
                <a:gd name="connsiteY48" fmla="*/ 121075 h 153125"/>
                <a:gd name="connsiteX49" fmla="*/ 84018 w 153397"/>
                <a:gd name="connsiteY49" fmla="*/ 72101 h 153125"/>
                <a:gd name="connsiteX50" fmla="*/ 92561 w 153397"/>
                <a:gd name="connsiteY50" fmla="*/ 70359 h 153125"/>
                <a:gd name="connsiteX51" fmla="*/ 98547 w 153397"/>
                <a:gd name="connsiteY51" fmla="*/ 65734 h 153125"/>
                <a:gd name="connsiteX52" fmla="*/ 100832 w 153397"/>
                <a:gd name="connsiteY52" fmla="*/ 56973 h 153125"/>
                <a:gd name="connsiteX53" fmla="*/ 99091 w 153397"/>
                <a:gd name="connsiteY53" fmla="*/ 49355 h 153125"/>
                <a:gd name="connsiteX54" fmla="*/ 94357 w 153397"/>
                <a:gd name="connsiteY54" fmla="*/ 44730 h 153125"/>
                <a:gd name="connsiteX55" fmla="*/ 87664 w 153397"/>
                <a:gd name="connsiteY55" fmla="*/ 42335 h 153125"/>
                <a:gd name="connsiteX56" fmla="*/ 79828 w 153397"/>
                <a:gd name="connsiteY56" fmla="*/ 41737 h 153125"/>
                <a:gd name="connsiteX57" fmla="*/ 59803 w 153397"/>
                <a:gd name="connsiteY57" fmla="*/ 41737 h 153125"/>
                <a:gd name="connsiteX58" fmla="*/ 59803 w 153397"/>
                <a:gd name="connsiteY58" fmla="*/ 72482 h 153125"/>
                <a:gd name="connsiteX59" fmla="*/ 74223 w 153397"/>
                <a:gd name="connsiteY59" fmla="*/ 72482 h 153125"/>
                <a:gd name="connsiteX60" fmla="*/ 84018 w 153397"/>
                <a:gd name="connsiteY60" fmla="*/ 72155 h 15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53397" h="153125">
                  <a:moveTo>
                    <a:pt x="107036" y="5877"/>
                  </a:moveTo>
                  <a:cubicBezTo>
                    <a:pt x="116395" y="9795"/>
                    <a:pt x="124503" y="15236"/>
                    <a:pt x="131360" y="22147"/>
                  </a:cubicBezTo>
                  <a:cubicBezTo>
                    <a:pt x="138216" y="29112"/>
                    <a:pt x="143603" y="37220"/>
                    <a:pt x="147521" y="46580"/>
                  </a:cubicBezTo>
                  <a:cubicBezTo>
                    <a:pt x="151439" y="55939"/>
                    <a:pt x="153398" y="65952"/>
                    <a:pt x="153398" y="76672"/>
                  </a:cubicBezTo>
                  <a:cubicBezTo>
                    <a:pt x="153398" y="87392"/>
                    <a:pt x="151439" y="97622"/>
                    <a:pt x="147521" y="106872"/>
                  </a:cubicBezTo>
                  <a:cubicBezTo>
                    <a:pt x="143603" y="116177"/>
                    <a:pt x="138216" y="124231"/>
                    <a:pt x="131360" y="131087"/>
                  </a:cubicBezTo>
                  <a:cubicBezTo>
                    <a:pt x="124503" y="137944"/>
                    <a:pt x="116395" y="143331"/>
                    <a:pt x="107036" y="147249"/>
                  </a:cubicBezTo>
                  <a:cubicBezTo>
                    <a:pt x="97676" y="151167"/>
                    <a:pt x="87555" y="153126"/>
                    <a:pt x="76726" y="153126"/>
                  </a:cubicBezTo>
                  <a:cubicBezTo>
                    <a:pt x="65897" y="153126"/>
                    <a:pt x="55776" y="151167"/>
                    <a:pt x="46417" y="147249"/>
                  </a:cubicBezTo>
                  <a:cubicBezTo>
                    <a:pt x="37057" y="143331"/>
                    <a:pt x="28949" y="137944"/>
                    <a:pt x="22093" y="131087"/>
                  </a:cubicBezTo>
                  <a:cubicBezTo>
                    <a:pt x="15236" y="124231"/>
                    <a:pt x="9849" y="116123"/>
                    <a:pt x="5877" y="106872"/>
                  </a:cubicBezTo>
                  <a:cubicBezTo>
                    <a:pt x="1959" y="97567"/>
                    <a:pt x="0" y="87500"/>
                    <a:pt x="0" y="76672"/>
                  </a:cubicBezTo>
                  <a:cubicBezTo>
                    <a:pt x="0" y="65843"/>
                    <a:pt x="1959" y="55939"/>
                    <a:pt x="5877" y="46580"/>
                  </a:cubicBezTo>
                  <a:cubicBezTo>
                    <a:pt x="9795" y="37220"/>
                    <a:pt x="15182" y="29112"/>
                    <a:pt x="22093" y="22147"/>
                  </a:cubicBezTo>
                  <a:cubicBezTo>
                    <a:pt x="28949" y="15182"/>
                    <a:pt x="37057" y="9795"/>
                    <a:pt x="46417" y="5877"/>
                  </a:cubicBezTo>
                  <a:cubicBezTo>
                    <a:pt x="55776" y="1959"/>
                    <a:pt x="65897" y="0"/>
                    <a:pt x="76726" y="0"/>
                  </a:cubicBezTo>
                  <a:cubicBezTo>
                    <a:pt x="87555" y="0"/>
                    <a:pt x="97676" y="1959"/>
                    <a:pt x="107036" y="5877"/>
                  </a:cubicBezTo>
                  <a:close/>
                  <a:moveTo>
                    <a:pt x="50824" y="16107"/>
                  </a:moveTo>
                  <a:cubicBezTo>
                    <a:pt x="42934" y="19535"/>
                    <a:pt x="36078" y="24215"/>
                    <a:pt x="30310" y="30146"/>
                  </a:cubicBezTo>
                  <a:cubicBezTo>
                    <a:pt x="24542" y="36078"/>
                    <a:pt x="20025" y="42988"/>
                    <a:pt x="16814" y="50988"/>
                  </a:cubicBezTo>
                  <a:cubicBezTo>
                    <a:pt x="13604" y="58987"/>
                    <a:pt x="11972" y="67530"/>
                    <a:pt x="11972" y="76781"/>
                  </a:cubicBezTo>
                  <a:cubicBezTo>
                    <a:pt x="11972" y="86031"/>
                    <a:pt x="13604" y="94574"/>
                    <a:pt x="16814" y="102574"/>
                  </a:cubicBezTo>
                  <a:cubicBezTo>
                    <a:pt x="20025" y="110573"/>
                    <a:pt x="24542" y="117483"/>
                    <a:pt x="30310" y="123415"/>
                  </a:cubicBezTo>
                  <a:cubicBezTo>
                    <a:pt x="36078" y="129346"/>
                    <a:pt x="42934" y="134026"/>
                    <a:pt x="50824" y="137454"/>
                  </a:cubicBezTo>
                  <a:cubicBezTo>
                    <a:pt x="58715" y="140882"/>
                    <a:pt x="67367" y="142624"/>
                    <a:pt x="76726" y="142624"/>
                  </a:cubicBezTo>
                  <a:cubicBezTo>
                    <a:pt x="86086" y="142624"/>
                    <a:pt x="94466" y="140882"/>
                    <a:pt x="102410" y="137454"/>
                  </a:cubicBezTo>
                  <a:cubicBezTo>
                    <a:pt x="110301" y="134026"/>
                    <a:pt x="117157" y="129346"/>
                    <a:pt x="122925" y="123415"/>
                  </a:cubicBezTo>
                  <a:cubicBezTo>
                    <a:pt x="128693" y="117483"/>
                    <a:pt x="133210" y="110573"/>
                    <a:pt x="136529" y="102574"/>
                  </a:cubicBezTo>
                  <a:cubicBezTo>
                    <a:pt x="139848" y="94629"/>
                    <a:pt x="141481" y="86031"/>
                    <a:pt x="141481" y="76781"/>
                  </a:cubicBezTo>
                  <a:cubicBezTo>
                    <a:pt x="141481" y="67530"/>
                    <a:pt x="139848" y="58987"/>
                    <a:pt x="136529" y="50988"/>
                  </a:cubicBezTo>
                  <a:cubicBezTo>
                    <a:pt x="133210" y="43043"/>
                    <a:pt x="128693" y="36078"/>
                    <a:pt x="122925" y="30146"/>
                  </a:cubicBezTo>
                  <a:cubicBezTo>
                    <a:pt x="117157" y="24215"/>
                    <a:pt x="110301" y="19535"/>
                    <a:pt x="102410" y="16107"/>
                  </a:cubicBezTo>
                  <a:cubicBezTo>
                    <a:pt x="94520" y="12679"/>
                    <a:pt x="85922" y="10938"/>
                    <a:pt x="76726" y="10938"/>
                  </a:cubicBezTo>
                  <a:cubicBezTo>
                    <a:pt x="67530" y="10938"/>
                    <a:pt x="58769" y="12679"/>
                    <a:pt x="50824" y="16107"/>
                  </a:cubicBezTo>
                  <a:close/>
                  <a:moveTo>
                    <a:pt x="48865" y="121075"/>
                  </a:moveTo>
                  <a:lnTo>
                    <a:pt x="48865" y="32377"/>
                  </a:lnTo>
                  <a:lnTo>
                    <a:pt x="82875" y="32377"/>
                  </a:lnTo>
                  <a:cubicBezTo>
                    <a:pt x="92888" y="32377"/>
                    <a:pt x="100234" y="34500"/>
                    <a:pt x="104859" y="38690"/>
                  </a:cubicBezTo>
                  <a:cubicBezTo>
                    <a:pt x="109484" y="42880"/>
                    <a:pt x="111770" y="48974"/>
                    <a:pt x="111770" y="56919"/>
                  </a:cubicBezTo>
                  <a:cubicBezTo>
                    <a:pt x="111770" y="60782"/>
                    <a:pt x="111171" y="64156"/>
                    <a:pt x="110029" y="67040"/>
                  </a:cubicBezTo>
                  <a:cubicBezTo>
                    <a:pt x="108886" y="69924"/>
                    <a:pt x="107253" y="72373"/>
                    <a:pt x="105185" y="74386"/>
                  </a:cubicBezTo>
                  <a:cubicBezTo>
                    <a:pt x="103118" y="76400"/>
                    <a:pt x="100723" y="77978"/>
                    <a:pt x="98057" y="79120"/>
                  </a:cubicBezTo>
                  <a:cubicBezTo>
                    <a:pt x="95391" y="80263"/>
                    <a:pt x="92507" y="81134"/>
                    <a:pt x="89514" y="81678"/>
                  </a:cubicBezTo>
                  <a:lnTo>
                    <a:pt x="115905" y="121075"/>
                  </a:lnTo>
                  <a:lnTo>
                    <a:pt x="103118" y="121075"/>
                  </a:lnTo>
                  <a:lnTo>
                    <a:pt x="78141" y="81678"/>
                  </a:lnTo>
                  <a:lnTo>
                    <a:pt x="59803" y="81678"/>
                  </a:lnTo>
                  <a:lnTo>
                    <a:pt x="59803" y="121075"/>
                  </a:lnTo>
                  <a:lnTo>
                    <a:pt x="48865" y="121075"/>
                  </a:lnTo>
                  <a:close/>
                  <a:moveTo>
                    <a:pt x="84018" y="72101"/>
                  </a:moveTo>
                  <a:cubicBezTo>
                    <a:pt x="87228" y="71883"/>
                    <a:pt x="90112" y="71285"/>
                    <a:pt x="92561" y="70359"/>
                  </a:cubicBezTo>
                  <a:cubicBezTo>
                    <a:pt x="95010" y="69380"/>
                    <a:pt x="97023" y="67856"/>
                    <a:pt x="98547" y="65734"/>
                  </a:cubicBezTo>
                  <a:cubicBezTo>
                    <a:pt x="100071" y="63612"/>
                    <a:pt x="100832" y="60673"/>
                    <a:pt x="100832" y="56973"/>
                  </a:cubicBezTo>
                  <a:cubicBezTo>
                    <a:pt x="100832" y="53817"/>
                    <a:pt x="100234" y="51260"/>
                    <a:pt x="99091" y="49355"/>
                  </a:cubicBezTo>
                  <a:cubicBezTo>
                    <a:pt x="97948" y="47450"/>
                    <a:pt x="96316" y="45872"/>
                    <a:pt x="94357" y="44730"/>
                  </a:cubicBezTo>
                  <a:cubicBezTo>
                    <a:pt x="92398" y="43587"/>
                    <a:pt x="90112" y="42771"/>
                    <a:pt x="87664" y="42335"/>
                  </a:cubicBezTo>
                  <a:cubicBezTo>
                    <a:pt x="85215" y="41900"/>
                    <a:pt x="82603" y="41737"/>
                    <a:pt x="79828" y="41737"/>
                  </a:cubicBezTo>
                  <a:lnTo>
                    <a:pt x="59803" y="41737"/>
                  </a:lnTo>
                  <a:lnTo>
                    <a:pt x="59803" y="72482"/>
                  </a:lnTo>
                  <a:lnTo>
                    <a:pt x="74223" y="72482"/>
                  </a:lnTo>
                  <a:cubicBezTo>
                    <a:pt x="77542" y="72482"/>
                    <a:pt x="80807" y="72373"/>
                    <a:pt x="84018" y="72155"/>
                  </a:cubicBezTo>
                  <a:close/>
                </a:path>
              </a:pathLst>
            </a:custGeom>
            <a:solidFill>
              <a:srgbClr val="A1ABB2"/>
            </a:solidFill>
            <a:ln w="5435" cap="flat">
              <a:noFill/>
              <a:prstDash val="solid"/>
              <a:miter/>
            </a:ln>
          </p:spPr>
          <p:txBody>
            <a:bodyPr rtlCol="0" anchor="ctr"/>
            <a:lstStyle/>
            <a:p>
              <a:endParaRPr lang="en-US"/>
            </a:p>
          </p:txBody>
        </p:sp>
      </p:grpSp>
    </p:spTree>
    <p:extLst>
      <p:ext uri="{BB962C8B-B14F-4D97-AF65-F5344CB8AC3E}">
        <p14:creationId xmlns:p14="http://schemas.microsoft.com/office/powerpoint/2010/main" val="182578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ide Titl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9B3BEEA-B37D-1047-9DAC-C9925BF4D5E7}"/>
              </a:ext>
            </a:extLst>
          </p:cNvPr>
          <p:cNvSpPr/>
          <p:nvPr/>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Espace réservé pour une image  13">
            <a:extLst>
              <a:ext uri="{FF2B5EF4-FFF2-40B4-BE49-F238E27FC236}">
                <a16:creationId xmlns:a16="http://schemas.microsoft.com/office/drawing/2014/main" id="{1F1702BD-E16F-9347-B8D1-C097BDF47922}"/>
              </a:ext>
            </a:extLst>
          </p:cNvPr>
          <p:cNvSpPr>
            <a:spLocks noGrp="1"/>
          </p:cNvSpPr>
          <p:nvPr>
            <p:ph type="pic" sz="quarter" idx="13"/>
          </p:nvPr>
        </p:nvSpPr>
        <p:spPr>
          <a:xfrm>
            <a:off x="0" y="1365250"/>
            <a:ext cx="12192000" cy="2768763"/>
          </a:xfrm>
        </p:spPr>
        <p:txBody>
          <a:bodyPr/>
          <a:lstStyle>
            <a:lvl1pPr marL="0" indent="0">
              <a:buNone/>
              <a:defRPr/>
            </a:lvl1pPr>
          </a:lstStyle>
          <a:p>
            <a:r>
              <a:rPr lang="en-US"/>
              <a:t>Click icon to add picture</a:t>
            </a:r>
            <a:endParaRPr lang="fr-FR"/>
          </a:p>
        </p:txBody>
      </p:sp>
      <p:sp>
        <p:nvSpPr>
          <p:cNvPr id="9" name="Titre 16">
            <a:extLst>
              <a:ext uri="{FF2B5EF4-FFF2-40B4-BE49-F238E27FC236}">
                <a16:creationId xmlns:a16="http://schemas.microsoft.com/office/drawing/2014/main" id="{E52B47EC-8E66-CA4B-824B-D4FBD1BD406F}"/>
              </a:ext>
            </a:extLst>
          </p:cNvPr>
          <p:cNvSpPr>
            <a:spLocks noGrp="1"/>
          </p:cNvSpPr>
          <p:nvPr>
            <p:ph type="title"/>
          </p:nvPr>
        </p:nvSpPr>
        <p:spPr>
          <a:xfrm>
            <a:off x="1290873" y="4590376"/>
            <a:ext cx="9582339" cy="859258"/>
          </a:xfrm>
        </p:spPr>
        <p:txBody>
          <a:bodyPr>
            <a:normAutofit/>
          </a:bodyPr>
          <a:lstStyle>
            <a:lvl1pPr algn="ctr">
              <a:defRPr sz="2800"/>
            </a:lvl1pPr>
          </a:lstStyle>
          <a:p>
            <a:r>
              <a:rPr lang="en-US"/>
              <a:t>Click to edit Master title style</a:t>
            </a:r>
            <a:endParaRPr lang="fr-FR"/>
          </a:p>
        </p:txBody>
      </p:sp>
      <p:sp>
        <p:nvSpPr>
          <p:cNvPr id="2" name="Footer Placeholder 1">
            <a:extLst>
              <a:ext uri="{FF2B5EF4-FFF2-40B4-BE49-F238E27FC236}">
                <a16:creationId xmlns:a16="http://schemas.microsoft.com/office/drawing/2014/main" id="{66C07C7C-A286-4FFD-BD2F-E3E037C73799}"/>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44871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481959"/>
            <a:ext cx="10772607" cy="4493391"/>
          </a:xfrm>
          <a:prstGeom prst="rect">
            <a:avLst/>
          </a:prstGeom>
        </p:spPr>
        <p:txBody>
          <a:bodyPr/>
          <a:lstStyle>
            <a:lvl1pPr marL="457200" indent="-4572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marL="8001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marL="12573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marL="16573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marL="21145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81F8EFD3-E259-1846-AD7D-FC1DB48139D4}"/>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90B42A20-FC5C-4058-A501-2831AC056116}"/>
              </a:ext>
            </a:extLst>
          </p:cNvPr>
          <p:cNvSpPr>
            <a:spLocks noGrp="1"/>
          </p:cNvSpPr>
          <p:nvPr>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1164110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 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F1276-E320-4B6A-99C5-2A56044B65C0}"/>
              </a:ext>
            </a:extLst>
          </p:cNvPr>
          <p:cNvSpPr>
            <a:spLocks noGrp="1"/>
          </p:cNvSpPr>
          <p:nvPr>
            <p:ph type="title"/>
          </p:nvPr>
        </p:nvSpPr>
        <p:spPr>
          <a:xfrm>
            <a:off x="838200" y="684951"/>
            <a:ext cx="10515600" cy="685909"/>
          </a:xfrm>
          <a:prstGeom prst="rect">
            <a:avLst/>
          </a:prstGeom>
        </p:spPr>
        <p:txBody>
          <a:bodyPr/>
          <a:lstStyle/>
          <a:p>
            <a:r>
              <a:rPr lang="en-US"/>
              <a:t>Click to edit Master title style</a:t>
            </a:r>
          </a:p>
        </p:txBody>
      </p:sp>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Espace réservé du texte 18">
            <a:extLst>
              <a:ext uri="{FF2B5EF4-FFF2-40B4-BE49-F238E27FC236}">
                <a16:creationId xmlns:a16="http://schemas.microsoft.com/office/drawing/2014/main" id="{8F6C8368-1675-E644-ACD8-9FB3C9AB7505}"/>
              </a:ext>
            </a:extLst>
          </p:cNvPr>
          <p:cNvSpPr>
            <a:spLocks noGrp="1"/>
          </p:cNvSpPr>
          <p:nvPr>
            <p:ph type="body" sz="quarter" idx="13" hasCustomPrompt="1"/>
          </p:nvPr>
        </p:nvSpPr>
        <p:spPr>
          <a:xfrm>
            <a:off x="838200" y="1370860"/>
            <a:ext cx="10515600"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pic>
        <p:nvPicPr>
          <p:cNvPr id="9" name="Picture 8" descr="Shape&#10;&#10;Description automatically generated with medium confidence">
            <a:extLst>
              <a:ext uri="{FF2B5EF4-FFF2-40B4-BE49-F238E27FC236}">
                <a16:creationId xmlns:a16="http://schemas.microsoft.com/office/drawing/2014/main" id="{C7A2C6F8-F5FF-4D7D-9A1E-1556C42A8C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3" name="Footer Placeholder 2">
            <a:extLst>
              <a:ext uri="{FF2B5EF4-FFF2-40B4-BE49-F238E27FC236}">
                <a16:creationId xmlns:a16="http://schemas.microsoft.com/office/drawing/2014/main" id="{A2BB7D72-1639-4459-A355-BD53F8C618B0}"/>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312860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descr="Shape&#10;&#10;Description automatically generated with medium confidence">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C477F77F-3222-43AD-8D62-3135F85900D1}"/>
              </a:ext>
            </a:extLst>
          </p:cNvPr>
          <p:cNvSpPr>
            <a:spLocks noGrp="1"/>
          </p:cNvSpPr>
          <p:nvPr>
            <p:ph type="ftr" sz="quarter" idx="10"/>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1682122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Sub +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2280746"/>
            <a:ext cx="10772607" cy="3694604"/>
          </a:xfrm>
          <a:prstGeom prst="rect">
            <a:avLst/>
          </a:prstGeom>
        </p:spPr>
        <p:txBody>
          <a:bodyPr/>
          <a:lstStyle>
            <a:lvl1pPr marL="457200" indent="-4572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marL="8001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marL="12573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marL="16573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marL="21145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Rectangle 7">
            <a:extLst>
              <a:ext uri="{FF2B5EF4-FFF2-40B4-BE49-F238E27FC236}">
                <a16:creationId xmlns:a16="http://schemas.microsoft.com/office/drawing/2014/main" id="{81F8EFD3-E259-1846-AD7D-FC1DB48139D4}"/>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F3712963-2A3C-B241-A3E1-2B9C01EE4E10}"/>
              </a:ext>
            </a:extLst>
          </p:cNvPr>
          <p:cNvSpPr>
            <a:spLocks noGrp="1"/>
          </p:cNvSpPr>
          <p:nvPr>
            <p:ph type="title"/>
          </p:nvPr>
        </p:nvSpPr>
        <p:spPr>
          <a:xfrm>
            <a:off x="838200" y="684951"/>
            <a:ext cx="10772606" cy="685909"/>
          </a:xfrm>
          <a:prstGeom prst="rect">
            <a:avLst/>
          </a:prstGeom>
        </p:spPr>
        <p:txBody>
          <a:bodyPr/>
          <a:lstStyle/>
          <a:p>
            <a:r>
              <a:rPr lang="en-US"/>
              <a:t>Click to edit Master title style</a:t>
            </a:r>
          </a:p>
        </p:txBody>
      </p:sp>
      <p:sp>
        <p:nvSpPr>
          <p:cNvPr id="11" name="Espace réservé du texte 18">
            <a:extLst>
              <a:ext uri="{FF2B5EF4-FFF2-40B4-BE49-F238E27FC236}">
                <a16:creationId xmlns:a16="http://schemas.microsoft.com/office/drawing/2014/main" id="{8E556A04-02B5-FB47-9D95-CBD27EE0741A}"/>
              </a:ext>
            </a:extLst>
          </p:cNvPr>
          <p:cNvSpPr>
            <a:spLocks noGrp="1"/>
          </p:cNvSpPr>
          <p:nvPr>
            <p:ph type="body" sz="quarter" idx="13" hasCustomPrompt="1"/>
          </p:nvPr>
        </p:nvSpPr>
        <p:spPr>
          <a:xfrm>
            <a:off x="838200" y="1370860"/>
            <a:ext cx="10772606" cy="466305"/>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pic>
        <p:nvPicPr>
          <p:cNvPr id="12" name="Picture 11" descr="Shape&#10;&#10;Description automatically generated with medium confidence">
            <a:extLst>
              <a:ext uri="{FF2B5EF4-FFF2-40B4-BE49-F238E27FC236}">
                <a16:creationId xmlns:a16="http://schemas.microsoft.com/office/drawing/2014/main" id="{8E68D764-30B1-744A-9EF8-B635C933313B}"/>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81064" y="6452503"/>
            <a:ext cx="1184456" cy="189184"/>
          </a:xfrm>
          <a:prstGeom prst="rect">
            <a:avLst/>
          </a:prstGeom>
        </p:spPr>
      </p:pic>
      <p:sp>
        <p:nvSpPr>
          <p:cNvPr id="2" name="Footer Placeholder 1">
            <a:extLst>
              <a:ext uri="{FF2B5EF4-FFF2-40B4-BE49-F238E27FC236}">
                <a16:creationId xmlns:a16="http://schemas.microsoft.com/office/drawing/2014/main" id="{2317A261-C411-486D-AA19-4C9DB1D15192}"/>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89525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Header Bar">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hasCustomPrompt="1"/>
          </p:nvPr>
        </p:nvSpPr>
        <p:spPr>
          <a:xfrm>
            <a:off x="581193" y="2295336"/>
            <a:ext cx="11029615" cy="2147467"/>
          </a:xfrm>
          <a:prstGeom prst="rect">
            <a:avLst/>
          </a:prstGeom>
        </p:spPr>
        <p:txBody>
          <a:bodyPr anchor="b">
            <a:normAutofit/>
          </a:bodyPr>
          <a:lstStyle>
            <a:lvl1pPr algn="l">
              <a:defRPr lang="en-US" sz="6000" b="0" i="0" kern="1200" cap="none" dirty="0">
                <a:solidFill>
                  <a:schemeClr val="tx2"/>
                </a:solidFill>
                <a:latin typeface="Avenir Next LT Pro" panose="020B0504020202020204" pitchFamily="34" charset="77"/>
                <a:ea typeface="Roboto Thin" panose="02000000000000000000" pitchFamily="2" charset="0"/>
                <a:cs typeface="+mj-cs"/>
              </a:defRPr>
            </a:lvl1pPr>
          </a:lstStyle>
          <a:p>
            <a:r>
              <a:rPr lang="en-US" dirty="0"/>
              <a:t>Click to edit master title style</a:t>
            </a:r>
          </a:p>
        </p:txBody>
      </p:sp>
      <p:sp>
        <p:nvSpPr>
          <p:cNvPr id="6" name="Subtitle 2">
            <a:extLst>
              <a:ext uri="{FF2B5EF4-FFF2-40B4-BE49-F238E27FC236}">
                <a16:creationId xmlns:a16="http://schemas.microsoft.com/office/drawing/2014/main" id="{CEEFB25C-3A92-4598-8815-E4C797B83F2B}"/>
              </a:ext>
            </a:extLst>
          </p:cNvPr>
          <p:cNvSpPr>
            <a:spLocks noGrp="1"/>
          </p:cNvSpPr>
          <p:nvPr>
            <p:ph type="subTitle" idx="13" hasCustomPrompt="1"/>
          </p:nvPr>
        </p:nvSpPr>
        <p:spPr>
          <a:xfrm>
            <a:off x="581192" y="4498904"/>
            <a:ext cx="11029615" cy="590321"/>
          </a:xfrm>
          <a:prstGeom prst="rect">
            <a:avLst/>
          </a:prstGeom>
        </p:spPr>
        <p:txBody>
          <a:bodyPr anchor="b">
            <a:normAutofit/>
          </a:bodyPr>
          <a:lstStyle>
            <a:lvl1pPr marL="0" indent="0" algn="l">
              <a:buNone/>
              <a:defRPr sz="2000" b="0" i="0" cap="none">
                <a:solidFill>
                  <a:schemeClr val="accent2"/>
                </a:solidFill>
                <a:latin typeface="Avenir Next LT Pro" panose="020B0504020202020204" pitchFamily="34" charset="77"/>
                <a:ea typeface="Roboto Thin" panose="02000000000000000000"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7" name="Rectangle 6">
            <a:extLst>
              <a:ext uri="{FF2B5EF4-FFF2-40B4-BE49-F238E27FC236}">
                <a16:creationId xmlns:a16="http://schemas.microsoft.com/office/drawing/2014/main" id="{46B4F08D-B99B-FB44-8013-EC11BA2477D6}"/>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descr="A picture containing graphical user interface&#10;&#10;Description automatically generated">
            <a:extLst>
              <a:ext uri="{FF2B5EF4-FFF2-40B4-BE49-F238E27FC236}">
                <a16:creationId xmlns:a16="http://schemas.microsoft.com/office/drawing/2014/main" id="{EB924AAF-D157-4715-B993-B982E3C789C4}"/>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val="0"/>
              </a:ext>
            </a:extLst>
          </a:blip>
          <a:srcRect/>
          <a:stretch/>
        </p:blipFill>
        <p:spPr bwMode="auto">
          <a:xfrm>
            <a:off x="1344328" y="106532"/>
            <a:ext cx="1867821" cy="324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Footer Placeholder 2">
            <a:extLst>
              <a:ext uri="{FF2B5EF4-FFF2-40B4-BE49-F238E27FC236}">
                <a16:creationId xmlns:a16="http://schemas.microsoft.com/office/drawing/2014/main" id="{6CD41CBA-E5DC-4D1B-9DF3-07136EC999A3}"/>
              </a:ext>
            </a:extLst>
          </p:cNvPr>
          <p:cNvSpPr>
            <a:spLocks noGrp="1"/>
          </p:cNvSpPr>
          <p:nvPr>
            <p:ph type="ftr" sz="quarter" idx="14"/>
          </p:nvPr>
        </p:nvSpPr>
        <p:spPr>
          <a:xfrm>
            <a:off x="7239000" y="6356350"/>
            <a:ext cx="4114800" cy="365125"/>
          </a:xfrm>
          <a:prstGeom prst="rect">
            <a:avLst/>
          </a:prstGeom>
        </p:spPr>
        <p:txBody>
          <a:bodyPr/>
          <a:lstStyle/>
          <a:p>
            <a:r>
              <a:rPr lang="en-US">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3435677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54F73073-62D5-42F8-99CD-0BC2E331035C}"/>
              </a:ext>
            </a:extLst>
          </p:cNvPr>
          <p:cNvSpPr/>
          <p:nvPr userDrawn="1"/>
        </p:nvSpPr>
        <p:spPr>
          <a:xfrm>
            <a:off x="7273992" y="2482211"/>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C8F1276-E320-4B6A-99C5-2A56044B65C0}"/>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pic>
        <p:nvPicPr>
          <p:cNvPr id="12" name="Picture 11" descr="A picture containing loudspeaker&#10;&#10;Description automatically generated">
            <a:extLst>
              <a:ext uri="{FF2B5EF4-FFF2-40B4-BE49-F238E27FC236}">
                <a16:creationId xmlns:a16="http://schemas.microsoft.com/office/drawing/2014/main" id="{2D0D976D-2349-4E75-84D4-2B30440A44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00000" y="2349150"/>
            <a:ext cx="2638625" cy="2415415"/>
          </a:xfrm>
          <a:prstGeom prst="rect">
            <a:avLst/>
          </a:prstGeom>
        </p:spPr>
      </p:pic>
      <p:sp>
        <p:nvSpPr>
          <p:cNvPr id="9" name="Rectangle 8">
            <a:extLst>
              <a:ext uri="{FF2B5EF4-FFF2-40B4-BE49-F238E27FC236}">
                <a16:creationId xmlns:a16="http://schemas.microsoft.com/office/drawing/2014/main" id="{BBDAEBAF-F7C8-BE1C-F5E6-062913234A6A}"/>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160087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2A82E3-00A0-AF4A-8FEF-4052CA35DD27}"/>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a:extLst>
              <a:ext uri="{FF2B5EF4-FFF2-40B4-BE49-F238E27FC236}">
                <a16:creationId xmlns:a16="http://schemas.microsoft.com/office/drawing/2014/main" id="{F3AB8043-5701-034A-A57C-739811F83614}"/>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881064" y="6462795"/>
            <a:ext cx="1184456" cy="168599"/>
          </a:xfrm>
          <a:prstGeom prst="rect">
            <a:avLst/>
          </a:prstGeom>
        </p:spPr>
      </p:pic>
      <p:sp>
        <p:nvSpPr>
          <p:cNvPr id="2" name="Footer Placeholder 1">
            <a:extLst>
              <a:ext uri="{FF2B5EF4-FFF2-40B4-BE49-F238E27FC236}">
                <a16:creationId xmlns:a16="http://schemas.microsoft.com/office/drawing/2014/main" id="{C477F77F-3222-43AD-8D62-3135F85900D1}"/>
              </a:ext>
            </a:extLst>
          </p:cNvPr>
          <p:cNvSpPr>
            <a:spLocks noGrp="1"/>
          </p:cNvSpPr>
          <p:nvPr>
            <p:ph type="ftr" sz="quarter" idx="10"/>
          </p:nvPr>
        </p:nvSpPr>
        <p:spPr>
          <a:xfrm>
            <a:off x="7239000" y="6356350"/>
            <a:ext cx="4114800" cy="365125"/>
          </a:xfrm>
          <a:prstGeom prst="rect">
            <a:avLst/>
          </a:prstGeom>
        </p:spPr>
        <p:txBody>
          <a:bodyPr/>
          <a:lstStyle/>
          <a:p>
            <a:r>
              <a:rPr lang="en-US" dirty="0">
                <a:solidFill>
                  <a:schemeClr val="tx1"/>
                </a:solidFill>
                <a:ea typeface="Times New Roman" panose="02020603050405020304" pitchFamily="18" charset="0"/>
              </a:rPr>
              <a:t>Proprietary &amp; Confidential</a:t>
            </a:r>
            <a:endParaRPr lang="en-US" dirty="0">
              <a:solidFill>
                <a:schemeClr val="tx1"/>
              </a:solidFill>
            </a:endParaRPr>
          </a:p>
        </p:txBody>
      </p:sp>
    </p:spTree>
    <p:extLst>
      <p:ext uri="{BB962C8B-B14F-4D97-AF65-F5344CB8AC3E}">
        <p14:creationId xmlns:p14="http://schemas.microsoft.com/office/powerpoint/2010/main" val="239016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7" name="Oval 6">
            <a:extLst>
              <a:ext uri="{FF2B5EF4-FFF2-40B4-BE49-F238E27FC236}">
                <a16:creationId xmlns:a16="http://schemas.microsoft.com/office/drawing/2014/main" id="{68E20D51-03F9-462E-8ED9-7C8E7EE6FDF8}"/>
              </a:ext>
            </a:extLst>
          </p:cNvPr>
          <p:cNvSpPr/>
          <p:nvPr userDrawn="1"/>
        </p:nvSpPr>
        <p:spPr>
          <a:xfrm>
            <a:off x="9296400" y="-400760"/>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D61A6FC7-BF33-4F4F-A332-A047BB9D2318}"/>
              </a:ext>
            </a:extLst>
          </p:cNvPr>
          <p:cNvSpPr/>
          <p:nvPr userDrawn="1"/>
        </p:nvSpPr>
        <p:spPr>
          <a:xfrm>
            <a:off x="9981540" y="-400760"/>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838200" y="1481959"/>
            <a:ext cx="10772607" cy="4493391"/>
          </a:xfrm>
          <a:prstGeom prst="rect">
            <a:avLst/>
          </a:prstGeom>
        </p:spPr>
        <p:txBody>
          <a:bodyPr/>
          <a:lstStyle>
            <a:lvl1pPr marL="457200" indent="-4572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1pPr>
            <a:lvl2pPr marL="8001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2pPr>
            <a:lvl3pPr marL="1257300" indent="-34290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3pPr>
            <a:lvl4pPr marL="16573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4pPr>
            <a:lvl5pPr marL="2114550" indent="-285750">
              <a:buClr>
                <a:srgbClr val="5A6E7A"/>
              </a:buClr>
              <a:buFont typeface="Arial" panose="020B0604020202020204" pitchFamily="34" charset="0"/>
              <a:buChar char="•"/>
              <a:defRPr b="0" i="0">
                <a:solidFill>
                  <a:srgbClr val="000000"/>
                </a:solidFill>
                <a:latin typeface="Arial" panose="020B0604020202020204" pitchFamily="34" charset="0"/>
                <a:ea typeface="Roboto Thin" panose="02000000000000000000" pitchFamily="2"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a:extLst>
              <a:ext uri="{FF2B5EF4-FFF2-40B4-BE49-F238E27FC236}">
                <a16:creationId xmlns:a16="http://schemas.microsoft.com/office/drawing/2014/main" id="{616F7313-F347-9809-26B6-614038694E2A}"/>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27307" y="6544195"/>
            <a:ext cx="1467969" cy="209333"/>
          </a:xfrm>
          <a:prstGeom prst="rect">
            <a:avLst/>
          </a:prstGeom>
        </p:spPr>
      </p:pic>
      <p:pic>
        <p:nvPicPr>
          <p:cNvPr id="10" name="Picture 9" descr="Icon&#10;&#10;Description automatically generated">
            <a:extLst>
              <a:ext uri="{FF2B5EF4-FFF2-40B4-BE49-F238E27FC236}">
                <a16:creationId xmlns:a16="http://schemas.microsoft.com/office/drawing/2014/main" id="{0C42CAF3-6100-9123-6962-B1A4DFE90971}"/>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89232" y="6425832"/>
            <a:ext cx="1575461" cy="327696"/>
          </a:xfrm>
          <a:prstGeom prst="rect">
            <a:avLst/>
          </a:prstGeom>
        </p:spPr>
      </p:pic>
    </p:spTree>
    <p:custDataLst>
      <p:tags r:id="rId1"/>
    </p:custDataLst>
    <p:extLst>
      <p:ext uri="{BB962C8B-B14F-4D97-AF65-F5344CB8AC3E}">
        <p14:creationId xmlns:p14="http://schemas.microsoft.com/office/powerpoint/2010/main" val="3956778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EEDF913B-2AC0-42E0-86D6-B51A3EDDDA99}"/>
              </a:ext>
            </a:extLst>
          </p:cNvPr>
          <p:cNvSpPr/>
          <p:nvPr userDrawn="1"/>
        </p:nvSpPr>
        <p:spPr>
          <a:xfrm>
            <a:off x="10485569" y="-453289"/>
            <a:ext cx="2284186" cy="2284718"/>
          </a:xfrm>
          <a:prstGeom prst="ellipse">
            <a:avLst/>
          </a:prstGeom>
          <a:pattFill prst="dashHorz">
            <a:fgClr>
              <a:schemeClr val="accent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65BBD09-7A42-4CB1-9995-7EC5840B9FD8}"/>
              </a:ext>
            </a:extLst>
          </p:cNvPr>
          <p:cNvSpPr/>
          <p:nvPr userDrawn="1"/>
        </p:nvSpPr>
        <p:spPr>
          <a:xfrm>
            <a:off x="8245834" y="-305325"/>
            <a:ext cx="3381828" cy="3384438"/>
          </a:xfrm>
          <a:prstGeom prst="ellipse">
            <a:avLst/>
          </a:prstGeom>
          <a:solidFill>
            <a:schemeClr val="accent5">
              <a:alpha val="3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15FD86D-AA05-28DE-24D4-0A824A1B0B68}"/>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93D8C7C3-00FD-F09F-EE88-CDD44161CEE7}"/>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27307" y="6544195"/>
            <a:ext cx="1467969" cy="209333"/>
          </a:xfrm>
          <a:prstGeom prst="rect">
            <a:avLst/>
          </a:prstGeom>
        </p:spPr>
      </p:pic>
      <p:pic>
        <p:nvPicPr>
          <p:cNvPr id="4" name="Picture 3" descr="Icon&#10;&#10;Description automatically generated">
            <a:extLst>
              <a:ext uri="{FF2B5EF4-FFF2-40B4-BE49-F238E27FC236}">
                <a16:creationId xmlns:a16="http://schemas.microsoft.com/office/drawing/2014/main" id="{725A2017-C9BA-71C3-4C6D-2118FD807540}"/>
              </a:ext>
            </a:extLst>
          </p:cNvPr>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10389232" y="6425832"/>
            <a:ext cx="1575461" cy="327696"/>
          </a:xfrm>
          <a:prstGeom prst="rect">
            <a:avLst/>
          </a:prstGeom>
        </p:spPr>
      </p:pic>
    </p:spTree>
    <p:custDataLst>
      <p:tags r:id="rId1"/>
    </p:custDataLst>
    <p:extLst>
      <p:ext uri="{BB962C8B-B14F-4D97-AF65-F5344CB8AC3E}">
        <p14:creationId xmlns:p14="http://schemas.microsoft.com/office/powerpoint/2010/main" val="217950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Photo">
    <p:spTree>
      <p:nvGrpSpPr>
        <p:cNvPr id="1" name=""/>
        <p:cNvGrpSpPr/>
        <p:nvPr/>
      </p:nvGrpSpPr>
      <p:grpSpPr>
        <a:xfrm>
          <a:off x="0" y="0"/>
          <a:ext cx="0" cy="0"/>
          <a:chOff x="0" y="0"/>
          <a:chExt cx="0" cy="0"/>
        </a:xfrm>
      </p:grpSpPr>
      <p:sp>
        <p:nvSpPr>
          <p:cNvPr id="18" name="Oval 15">
            <a:extLst>
              <a:ext uri="{FF2B5EF4-FFF2-40B4-BE49-F238E27FC236}">
                <a16:creationId xmlns:a16="http://schemas.microsoft.com/office/drawing/2014/main" id="{8A405D94-EB8C-4062-8B2E-CC7C0B0861DE}"/>
              </a:ext>
            </a:extLst>
          </p:cNvPr>
          <p:cNvSpPr/>
          <p:nvPr userDrawn="1"/>
        </p:nvSpPr>
        <p:spPr>
          <a:xfrm flipH="1">
            <a:off x="3109136" y="4426107"/>
            <a:ext cx="2603324" cy="2462525"/>
          </a:xfrm>
          <a:prstGeom prst="ellipse">
            <a:avLst/>
          </a:prstGeom>
          <a:pattFill prst="dashHorz">
            <a:fgClr>
              <a:srgbClr val="6AE692"/>
            </a:fgClr>
            <a:bgClr>
              <a:sysClr val="window" lastClr="FFFFFF"/>
            </a:bgClr>
          </a:patt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0" name="Oval 15">
            <a:extLst>
              <a:ext uri="{FF2B5EF4-FFF2-40B4-BE49-F238E27FC236}">
                <a16:creationId xmlns:a16="http://schemas.microsoft.com/office/drawing/2014/main" id="{3650C199-26A7-4486-A7F4-A92D1F1C5FA0}"/>
              </a:ext>
            </a:extLst>
          </p:cNvPr>
          <p:cNvSpPr/>
          <p:nvPr userDrawn="1"/>
        </p:nvSpPr>
        <p:spPr>
          <a:xfrm>
            <a:off x="3441523" y="4590148"/>
            <a:ext cx="2714447" cy="2728829"/>
          </a:xfrm>
          <a:prstGeom prst="ellipse">
            <a:avLst/>
          </a:prstGeom>
          <a:solidFill>
            <a:srgbClr val="6AE692">
              <a:lumMod val="20000"/>
              <a:lumOff val="80000"/>
            </a:srgbClr>
          </a:solidFill>
          <a:ln w="22225"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Espace réservé pour une image  13">
            <a:extLst>
              <a:ext uri="{FF2B5EF4-FFF2-40B4-BE49-F238E27FC236}">
                <a16:creationId xmlns:a16="http://schemas.microsoft.com/office/drawing/2014/main" id="{ABB7766A-0B99-3543-A3B8-094A21E1A19B}"/>
              </a:ext>
            </a:extLst>
          </p:cNvPr>
          <p:cNvSpPr>
            <a:spLocks noGrp="1"/>
          </p:cNvSpPr>
          <p:nvPr>
            <p:ph type="pic" sz="quarter" idx="11"/>
          </p:nvPr>
        </p:nvSpPr>
        <p:spPr>
          <a:xfrm>
            <a:off x="838199" y="1801533"/>
            <a:ext cx="4541875" cy="3751241"/>
          </a:xfrm>
        </p:spPr>
        <p:txBody>
          <a:bodyPr/>
          <a:lstStyle>
            <a:lvl1pPr marL="0" indent="0">
              <a:buNone/>
              <a:defRPr/>
            </a:lvl1pPr>
          </a:lstStyle>
          <a:p>
            <a:r>
              <a:rPr lang="en-US"/>
              <a:t>Click icon to add picture</a:t>
            </a:r>
            <a:endParaRPr lang="fr-FR"/>
          </a:p>
        </p:txBody>
      </p:sp>
      <p:sp>
        <p:nvSpPr>
          <p:cNvPr id="15" name="Espace réservé du contenu 1">
            <a:extLst>
              <a:ext uri="{FF2B5EF4-FFF2-40B4-BE49-F238E27FC236}">
                <a16:creationId xmlns:a16="http://schemas.microsoft.com/office/drawing/2014/main" id="{472FC45A-857D-41BA-8622-FB1E439ABCDB}"/>
              </a:ext>
            </a:extLst>
          </p:cNvPr>
          <p:cNvSpPr>
            <a:spLocks noGrp="1"/>
          </p:cNvSpPr>
          <p:nvPr>
            <p:ph sz="half" idx="13" hasCustomPrompt="1"/>
          </p:nvPr>
        </p:nvSpPr>
        <p:spPr>
          <a:xfrm>
            <a:off x="5568362" y="2775098"/>
            <a:ext cx="5785438" cy="2777676"/>
          </a:xfrm>
        </p:spPr>
        <p:txBody>
          <a:bodyPr vert="horz" lIns="91440" tIns="45720" rIns="91440" bIns="45720" rtlCol="0" anchor="t">
            <a:noAutofit/>
          </a:bodyPr>
          <a:lstStyle>
            <a:lvl1pPr>
              <a:defRPr/>
            </a:lvl1pPr>
          </a:lstStyle>
          <a:p>
            <a:pPr marL="0" indent="0">
              <a:lnSpc>
                <a:spcPct val="100000"/>
              </a:lnSpc>
              <a:buClr>
                <a:schemeClr val="tx1"/>
              </a:buClr>
              <a:buNone/>
            </a:pPr>
            <a:r>
              <a:rPr lang="en-US" sz="1600">
                <a:latin typeface="Arial"/>
                <a:ea typeface="Roboto"/>
                <a:cs typeface="Arial"/>
              </a:rPr>
              <a:t>Copy here</a:t>
            </a:r>
            <a:endParaRPr lang="en-US" sz="1600">
              <a:solidFill>
                <a:srgbClr val="000000"/>
              </a:solidFill>
              <a:latin typeface="Arial" panose="020B0604020202020204" pitchFamily="34" charset="0"/>
              <a:ea typeface="Roboto" panose="02000000000000000000" pitchFamily="2" charset="0"/>
              <a:cs typeface="Arial" panose="020B0604020202020204" pitchFamily="34" charset="0"/>
            </a:endParaRPr>
          </a:p>
          <a:p>
            <a:pPr marL="0" indent="0">
              <a:buNone/>
            </a:pPr>
            <a:endParaRPr lang="en-US"/>
          </a:p>
        </p:txBody>
      </p:sp>
      <p:sp>
        <p:nvSpPr>
          <p:cNvPr id="21" name="Title 1">
            <a:extLst>
              <a:ext uri="{FF2B5EF4-FFF2-40B4-BE49-F238E27FC236}">
                <a16:creationId xmlns:a16="http://schemas.microsoft.com/office/drawing/2014/main" id="{29A5B1E9-5B3D-4C1C-B4E6-AD75FDAF29F5}"/>
              </a:ext>
            </a:extLst>
          </p:cNvPr>
          <p:cNvSpPr>
            <a:spLocks noGrp="1"/>
          </p:cNvSpPr>
          <p:nvPr>
            <p:ph type="title"/>
          </p:nvPr>
        </p:nvSpPr>
        <p:spPr>
          <a:xfrm>
            <a:off x="838200" y="684951"/>
            <a:ext cx="10515600" cy="685909"/>
          </a:xfrm>
          <a:prstGeom prst="rect">
            <a:avLst/>
          </a:prstGeom>
        </p:spPr>
        <p:txBody>
          <a:bodyPr/>
          <a:lstStyle/>
          <a:p>
            <a:r>
              <a:rPr lang="en-US"/>
              <a:t>Click to edit Master title style</a:t>
            </a:r>
          </a:p>
        </p:txBody>
      </p:sp>
      <p:sp>
        <p:nvSpPr>
          <p:cNvPr id="22" name="Espace réservé du texte 18">
            <a:extLst>
              <a:ext uri="{FF2B5EF4-FFF2-40B4-BE49-F238E27FC236}">
                <a16:creationId xmlns:a16="http://schemas.microsoft.com/office/drawing/2014/main" id="{803B7AEC-2237-47E2-B523-13037587E819}"/>
              </a:ext>
            </a:extLst>
          </p:cNvPr>
          <p:cNvSpPr>
            <a:spLocks noGrp="1"/>
          </p:cNvSpPr>
          <p:nvPr>
            <p:ph type="body" sz="quarter" idx="17" hasCustomPrompt="1"/>
          </p:nvPr>
        </p:nvSpPr>
        <p:spPr>
          <a:xfrm>
            <a:off x="5568361" y="1801533"/>
            <a:ext cx="5785439" cy="760914"/>
          </a:xfrm>
        </p:spPr>
        <p:txBody>
          <a:bodyPr>
            <a:norm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a:solidFill>
                  <a:schemeClr val="accent1"/>
                </a:solidFill>
                <a:latin typeface="+mn-lt"/>
              </a:defRPr>
            </a:lvl1pPr>
            <a:lvl2pPr marL="457200" indent="0">
              <a:buNone/>
              <a:defRPr/>
            </a:lvl2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latin typeface="Avenir Next LT Pro" panose="020B0504020202020204" pitchFamily="34" charset="77"/>
                <a:ea typeface="Roboto Light"/>
                <a:cs typeface="Arial"/>
              </a:rPr>
              <a:t>Sub-title</a:t>
            </a:r>
          </a:p>
        </p:txBody>
      </p:sp>
      <p:sp>
        <p:nvSpPr>
          <p:cNvPr id="12" name="Rectangle 11">
            <a:extLst>
              <a:ext uri="{FF2B5EF4-FFF2-40B4-BE49-F238E27FC236}">
                <a16:creationId xmlns:a16="http://schemas.microsoft.com/office/drawing/2014/main" id="{69CEBB28-1653-950D-B145-214DA5AF57C2}"/>
              </a:ext>
            </a:extLst>
          </p:cNvPr>
          <p:cNvSpPr/>
          <p:nvPr userDrawn="1"/>
        </p:nvSpPr>
        <p:spPr>
          <a:xfrm>
            <a:off x="1290638" y="0"/>
            <a:ext cx="1979721" cy="1065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076332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7CF9320-E811-437A-8263-78EB8EDCFAC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50F30B7-8780-4CCE-B39D-7EB1A1AF09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ustDataLst>
      <p:tags r:id="rId62"/>
    </p:custDataLst>
    <p:extLst>
      <p:ext uri="{BB962C8B-B14F-4D97-AF65-F5344CB8AC3E}">
        <p14:creationId xmlns:p14="http://schemas.microsoft.com/office/powerpoint/2010/main" val="447424585"/>
      </p:ext>
    </p:extLst>
  </p:cSld>
  <p:clrMap bg1="lt1" tx1="dk1" bg2="lt2" tx2="dk2" accent1="accent1" accent2="accent2" accent3="accent3" accent4="accent4" accent5="accent5" accent6="accent6" hlink="hlink" folHlink="folHlink"/>
  <p:sldLayoutIdLst>
    <p:sldLayoutId id="2147483715" r:id="rId1"/>
    <p:sldLayoutId id="2147483705" r:id="rId2"/>
    <p:sldLayoutId id="2147483756" r:id="rId3"/>
    <p:sldLayoutId id="2147483713" r:id="rId4"/>
    <p:sldLayoutId id="2147483710" r:id="rId5"/>
    <p:sldLayoutId id="2147483711" r:id="rId6"/>
    <p:sldLayoutId id="2147483714" r:id="rId7"/>
    <p:sldLayoutId id="2147483712" r:id="rId8"/>
    <p:sldLayoutId id="2147483723" r:id="rId9"/>
    <p:sldLayoutId id="2147483729" r:id="rId10"/>
    <p:sldLayoutId id="2147483735" r:id="rId11"/>
    <p:sldLayoutId id="2147483716" r:id="rId12"/>
    <p:sldLayoutId id="2147483740" r:id="rId13"/>
    <p:sldLayoutId id="2147483718" r:id="rId14"/>
    <p:sldLayoutId id="2147483741" r:id="rId15"/>
    <p:sldLayoutId id="2147483742" r:id="rId16"/>
    <p:sldLayoutId id="2147483748" r:id="rId17"/>
    <p:sldLayoutId id="2147483765" r:id="rId18"/>
    <p:sldLayoutId id="2147483764" r:id="rId19"/>
    <p:sldLayoutId id="2147483752" r:id="rId20"/>
    <p:sldLayoutId id="2147483745" r:id="rId21"/>
    <p:sldLayoutId id="2147483751" r:id="rId22"/>
    <p:sldLayoutId id="2147483750" r:id="rId23"/>
    <p:sldLayoutId id="2147483781" r:id="rId24"/>
    <p:sldLayoutId id="2147483782" r:id="rId25"/>
    <p:sldLayoutId id="2147483753" r:id="rId26"/>
    <p:sldLayoutId id="2147483749" r:id="rId27"/>
    <p:sldLayoutId id="2147483746" r:id="rId28"/>
    <p:sldLayoutId id="2147483763" r:id="rId29"/>
    <p:sldLayoutId id="2147483766" r:id="rId30"/>
    <p:sldLayoutId id="2147483767" r:id="rId31"/>
    <p:sldLayoutId id="2147483768" r:id="rId32"/>
    <p:sldLayoutId id="2147483769" r:id="rId33"/>
    <p:sldLayoutId id="2147483770" r:id="rId34"/>
    <p:sldLayoutId id="2147483771" r:id="rId35"/>
    <p:sldLayoutId id="2147483772" r:id="rId36"/>
    <p:sldLayoutId id="2147483773" r:id="rId37"/>
    <p:sldLayoutId id="2147483774" r:id="rId38"/>
    <p:sldLayoutId id="2147483775" r:id="rId39"/>
    <p:sldLayoutId id="2147483776" r:id="rId40"/>
    <p:sldLayoutId id="2147483777" r:id="rId41"/>
    <p:sldLayoutId id="2147483778" r:id="rId42"/>
    <p:sldLayoutId id="2147483779" r:id="rId43"/>
    <p:sldLayoutId id="2147483873" r:id="rId44"/>
    <p:sldLayoutId id="2147483747" r:id="rId45"/>
    <p:sldLayoutId id="2147483757" r:id="rId46"/>
    <p:sldLayoutId id="2147483743" r:id="rId47"/>
    <p:sldLayoutId id="2147483796" r:id="rId48"/>
    <p:sldLayoutId id="2147483759" r:id="rId49"/>
    <p:sldLayoutId id="2147483761" r:id="rId50"/>
    <p:sldLayoutId id="2147483762" r:id="rId51"/>
    <p:sldLayoutId id="2147483870" r:id="rId52"/>
    <p:sldLayoutId id="2147483871" r:id="rId53"/>
    <p:sldLayoutId id="2147483655" r:id="rId54"/>
    <p:sldLayoutId id="2147483701" r:id="rId55"/>
    <p:sldLayoutId id="2147483654" r:id="rId56"/>
    <p:sldLayoutId id="2147483699" r:id="rId57"/>
    <p:sldLayoutId id="2147483675" r:id="rId58"/>
    <p:sldLayoutId id="2147483676" r:id="rId59"/>
    <p:sldLayoutId id="2147483842"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b="0" i="0" kern="1200">
          <a:solidFill>
            <a:schemeClr val="tx1"/>
          </a:solidFill>
          <a:latin typeface="Avenir Next LT Pro" panose="020B0504020202020204" pitchFamily="34" charset="77"/>
          <a:ea typeface="+mj-ea"/>
          <a:cs typeface="+mj-cs"/>
        </a:defRPr>
      </a:lvl1pPr>
    </p:titleStyle>
    <p:bodyStyle>
      <a:lvl1pPr marL="457200" indent="-4572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800100" indent="-3429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257300" indent="-3429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573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1145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slideLayout" Target="../slideLayouts/slideLayout6.xml"/><Relationship Id="rId1" Type="http://schemas.openxmlformats.org/officeDocument/2006/relationships/tags" Target="../tags/tag47.xml"/><Relationship Id="rId4" Type="http://schemas.openxmlformats.org/officeDocument/2006/relationships/image" Target="../media/image70.emf"/></Relationships>
</file>

<file path=ppt/slides/_rels/slide1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slideLayout" Target="../slideLayouts/slideLayout7.xml"/><Relationship Id="rId1" Type="http://schemas.openxmlformats.org/officeDocument/2006/relationships/tags" Target="../tags/tag56.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7.xml"/></Relationships>
</file>

<file path=ppt/slides/_rels/slide1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58.xml"/><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9.xml"/></Relationships>
</file>

<file path=ppt/slides/_rels/slide1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60.xml"/><Relationship Id="rId4" Type="http://schemas.openxmlformats.org/officeDocument/2006/relationships/image" Target="../media/image79.png"/></Relationships>
</file>

<file path=ppt/slides/_rels/slide1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slideLayout" Target="../slideLayouts/slideLayout7.xml"/><Relationship Id="rId1" Type="http://schemas.openxmlformats.org/officeDocument/2006/relationships/tags" Target="../tags/tag61.xml"/><Relationship Id="rId5" Type="http://schemas.openxmlformats.org/officeDocument/2006/relationships/image" Target="../media/image79.png"/><Relationship Id="rId4" Type="http://schemas.openxmlformats.org/officeDocument/2006/relationships/image" Target="../media/image78.png"/></Relationships>
</file>

<file path=ppt/slides/_rels/slide16.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slideLayout" Target="../slideLayouts/slideLayout7.xml"/><Relationship Id="rId1" Type="http://schemas.openxmlformats.org/officeDocument/2006/relationships/tags" Target="../tags/tag62.xml"/><Relationship Id="rId5" Type="http://schemas.openxmlformats.org/officeDocument/2006/relationships/image" Target="../media/image79.png"/><Relationship Id="rId4" Type="http://schemas.openxmlformats.org/officeDocument/2006/relationships/image" Target="../media/image78.png"/></Relationships>
</file>

<file path=ppt/slides/_rels/slide1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63.xml"/><Relationship Id="rId4" Type="http://schemas.openxmlformats.org/officeDocument/2006/relationships/image" Target="../media/image79.png"/></Relationships>
</file>

<file path=ppt/slides/_rels/slide1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slideLayout" Target="../slideLayouts/slideLayout7.xml"/><Relationship Id="rId1" Type="http://schemas.openxmlformats.org/officeDocument/2006/relationships/tags" Target="../tags/tag64.xml"/><Relationship Id="rId4" Type="http://schemas.openxmlformats.org/officeDocument/2006/relationships/image" Target="../media/image79.png"/></Relationships>
</file>

<file path=ppt/slides/_rels/slide19.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slideLayout" Target="../slideLayouts/slideLayout7.xml"/><Relationship Id="rId1" Type="http://schemas.openxmlformats.org/officeDocument/2006/relationships/tags" Target="../tags/tag65.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8.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0.xml"/></Relationships>
</file>

<file path=ppt/slides/_rels/slide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7.xml"/><Relationship Id="rId1" Type="http://schemas.openxmlformats.org/officeDocument/2006/relationships/tags" Target="../tags/tag51.xml"/></Relationships>
</file>

<file path=ppt/slides/_rels/slide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7.xml"/><Relationship Id="rId1" Type="http://schemas.openxmlformats.org/officeDocument/2006/relationships/tags" Target="../tags/tag52.xml"/><Relationship Id="rId4" Type="http://schemas.openxmlformats.org/officeDocument/2006/relationships/image" Target="../media/image73.png"/></Relationships>
</file>

<file path=ppt/slides/_rels/slide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Layout" Target="../slideLayouts/slideLayout7.xml"/><Relationship Id="rId1" Type="http://schemas.openxmlformats.org/officeDocument/2006/relationships/tags" Target="../tags/tag53.xml"/></Relationships>
</file>

<file path=ppt/slides/_rels/slide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slideLayout" Target="../slideLayouts/slideLayout7.xml"/><Relationship Id="rId1" Type="http://schemas.openxmlformats.org/officeDocument/2006/relationships/tags" Target="../tags/tag54.xml"/><Relationship Id="rId4" Type="http://schemas.openxmlformats.org/officeDocument/2006/relationships/image" Target="../media/image76.png"/></Relationships>
</file>

<file path=ppt/slides/_rels/slide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7.xml"/><Relationship Id="rId1" Type="http://schemas.openxmlformats.org/officeDocument/2006/relationships/tags" Target="../tags/tag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D95FAE2-5F3A-3F3C-DAE1-52BC7AD12954}"/>
              </a:ext>
            </a:extLst>
          </p:cNvPr>
          <p:cNvSpPr>
            <a:spLocks noGrp="1"/>
          </p:cNvSpPr>
          <p:nvPr>
            <p:ph type="title"/>
          </p:nvPr>
        </p:nvSpPr>
        <p:spPr/>
        <p:txBody>
          <a:bodyPr>
            <a:noAutofit/>
          </a:bodyPr>
          <a:lstStyle/>
          <a:p>
            <a:pPr algn="ctr"/>
            <a:r>
              <a:rPr lang="en-US" sz="3600" b="1" dirty="0">
                <a:solidFill>
                  <a:prstClr val="black"/>
                </a:solidFill>
                <a:latin typeface="+mj-lt"/>
                <a:cs typeface="Arial" panose="020B0604020202020204" pitchFamily="34" charset="0"/>
              </a:rPr>
              <a:t>What To Look For in LED Horticulture Fixtures</a:t>
            </a:r>
            <a:br>
              <a:rPr lang="en-US" sz="3600" b="1" dirty="0">
                <a:solidFill>
                  <a:prstClr val="black"/>
                </a:solidFill>
                <a:latin typeface="+mj-lt"/>
                <a:cs typeface="Arial" panose="020B0604020202020204" pitchFamily="34" charset="0"/>
              </a:rPr>
            </a:br>
            <a:endParaRPr lang="en-US" sz="3600" dirty="0">
              <a:latin typeface="+mj-lt"/>
            </a:endParaRPr>
          </a:p>
        </p:txBody>
      </p:sp>
      <p:pic>
        <p:nvPicPr>
          <p:cNvPr id="8" name="Picture 7">
            <a:extLst>
              <a:ext uri="{FF2B5EF4-FFF2-40B4-BE49-F238E27FC236}">
                <a16:creationId xmlns:a16="http://schemas.microsoft.com/office/drawing/2014/main" id="{7502BE3E-47F8-A3AC-8401-AC0234E6E313}"/>
              </a:ext>
            </a:extLst>
          </p:cNvPr>
          <p:cNvPicPr>
            <a:picLocks noChangeAspect="1"/>
          </p:cNvPicPr>
          <p:nvPr/>
        </p:nvPicPr>
        <p:blipFill>
          <a:blip r:embed="rId3"/>
          <a:stretch>
            <a:fillRect/>
          </a:stretch>
        </p:blipFill>
        <p:spPr>
          <a:xfrm>
            <a:off x="2068975" y="1757789"/>
            <a:ext cx="7466912" cy="363746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0" name="Rectangle 9">
            <a:extLst>
              <a:ext uri="{FF2B5EF4-FFF2-40B4-BE49-F238E27FC236}">
                <a16:creationId xmlns:a16="http://schemas.microsoft.com/office/drawing/2014/main" id="{BC3863C0-22BE-6B06-79BB-DA9E61C44735}"/>
              </a:ext>
            </a:extLst>
          </p:cNvPr>
          <p:cNvSpPr/>
          <p:nvPr/>
        </p:nvSpPr>
        <p:spPr>
          <a:xfrm>
            <a:off x="5048921" y="2123618"/>
            <a:ext cx="1367682" cy="3154710"/>
          </a:xfrm>
          <a:prstGeom prst="rect">
            <a:avLst/>
          </a:prstGeom>
          <a:noFill/>
        </p:spPr>
        <p:txBody>
          <a:bodyPr wrap="none" lIns="91440" tIns="45720" rIns="91440" bIns="45720">
            <a:spAutoFit/>
          </a:bodyPr>
          <a:lstStyle/>
          <a:p>
            <a:pPr algn="ctr"/>
            <a:r>
              <a:rPr lang="en-US" sz="19900" dirty="0">
                <a:ln w="0"/>
                <a:solidFill>
                  <a:srgbClr val="FF0000"/>
                </a:solidFill>
                <a:effectLst>
                  <a:outerShdw blurRad="38100" dist="19050" dir="2700000" algn="tl" rotWithShape="0">
                    <a:schemeClr val="dk1">
                      <a:alpha val="40000"/>
                    </a:schemeClr>
                  </a:outerShdw>
                </a:effectLst>
              </a:rPr>
              <a:t>?</a:t>
            </a:r>
            <a:endParaRPr lang="en-US" sz="19900" b="0" cap="none" spc="0" dirty="0">
              <a:ln w="0"/>
              <a:solidFill>
                <a:srgbClr val="FF0000"/>
              </a:solidFill>
              <a:effectLst>
                <a:outerShdw blurRad="38100" dist="19050" dir="2700000" algn="tl" rotWithShape="0">
                  <a:schemeClr val="dk1">
                    <a:alpha val="40000"/>
                  </a:schemeClr>
                </a:outerShdw>
              </a:effectLst>
            </a:endParaRPr>
          </a:p>
        </p:txBody>
      </p:sp>
      <p:pic>
        <p:nvPicPr>
          <p:cNvPr id="11" name="Picture 10">
            <a:extLst>
              <a:ext uri="{FF2B5EF4-FFF2-40B4-BE49-F238E27FC236}">
                <a16:creationId xmlns:a16="http://schemas.microsoft.com/office/drawing/2014/main" id="{72DEA6CA-F84A-8BF7-0C49-42BE357079D5}"/>
              </a:ext>
            </a:extLst>
          </p:cNvPr>
          <p:cNvPicPr>
            <a:picLocks noChangeAspect="1"/>
          </p:cNvPicPr>
          <p:nvPr/>
        </p:nvPicPr>
        <p:blipFill>
          <a:blip r:embed="rId4"/>
          <a:stretch>
            <a:fillRect/>
          </a:stretch>
        </p:blipFill>
        <p:spPr>
          <a:xfrm>
            <a:off x="10249885" y="6323160"/>
            <a:ext cx="1626430" cy="339429"/>
          </a:xfrm>
          <a:prstGeom prst="rect">
            <a:avLst/>
          </a:prstGeom>
        </p:spPr>
      </p:pic>
    </p:spTree>
    <p:custDataLst>
      <p:tags r:id="rId1"/>
    </p:custDataLst>
    <p:extLst>
      <p:ext uri="{BB962C8B-B14F-4D97-AF65-F5344CB8AC3E}">
        <p14:creationId xmlns:p14="http://schemas.microsoft.com/office/powerpoint/2010/main" val="232255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96983" y="1105989"/>
            <a:ext cx="4624251" cy="4641667"/>
          </a:xfrm>
        </p:spPr>
        <p:txBody>
          <a:bodyPr>
            <a:normAutofit fontScale="92500" lnSpcReduction="20000"/>
          </a:bodyPr>
          <a:lstStyle/>
          <a:p>
            <a:r>
              <a:rPr lang="en-US" sz="2000" dirty="0">
                <a:latin typeface="+mj-lt"/>
              </a:rPr>
              <a:t>UL temp listings are driven by internal operating temperature of components (LEDs, drivers, etc.)</a:t>
            </a:r>
          </a:p>
          <a:p>
            <a:r>
              <a:rPr lang="en-US" sz="2000" dirty="0">
                <a:latin typeface="+mj-lt"/>
              </a:rPr>
              <a:t>Look for a UL listing of 35C to 40C+ (95F to 104F)</a:t>
            </a:r>
          </a:p>
          <a:p>
            <a:r>
              <a:rPr lang="en-US" sz="2000" dirty="0">
                <a:latin typeface="+mj-lt"/>
              </a:rPr>
              <a:t>Basic concepts that drive higher ambient listing:</a:t>
            </a:r>
          </a:p>
          <a:p>
            <a:pPr lvl="1"/>
            <a:r>
              <a:rPr lang="en-US" sz="1600" dirty="0">
                <a:latin typeface="+mj-lt"/>
              </a:rPr>
              <a:t>Larger qty of LEDs driven at a lower current</a:t>
            </a:r>
          </a:p>
          <a:p>
            <a:pPr lvl="1"/>
            <a:r>
              <a:rPr lang="en-US" sz="1600" dirty="0">
                <a:latin typeface="+mj-lt"/>
              </a:rPr>
              <a:t>Isolated Driver</a:t>
            </a:r>
          </a:p>
          <a:p>
            <a:pPr lvl="1"/>
            <a:r>
              <a:rPr lang="en-US" sz="1600" dirty="0">
                <a:latin typeface="+mj-lt"/>
              </a:rPr>
              <a:t>Isolated Light Bars</a:t>
            </a:r>
          </a:p>
          <a:p>
            <a:pPr lvl="1"/>
            <a:r>
              <a:rPr lang="en-US" sz="1600" dirty="0">
                <a:latin typeface="+mj-lt"/>
              </a:rPr>
              <a:t>Heatsinking method of PCBA to extrusion</a:t>
            </a:r>
          </a:p>
          <a:p>
            <a:r>
              <a:rPr lang="en-US" sz="2000" dirty="0">
                <a:latin typeface="+mj-lt"/>
              </a:rPr>
              <a:t>The higher the wattage, the more heat produced</a:t>
            </a:r>
          </a:p>
          <a:p>
            <a:pPr lvl="1"/>
            <a:r>
              <a:rPr lang="en-US" sz="1600" dirty="0">
                <a:latin typeface="+mj-lt"/>
              </a:rPr>
              <a:t>3.41 BTU’s / watt</a:t>
            </a:r>
          </a:p>
          <a:p>
            <a:r>
              <a:rPr lang="en-US" sz="2000" dirty="0">
                <a:latin typeface="+mj-lt"/>
              </a:rPr>
              <a:t>The lower the efficacy of the fixture, the higher the heat generated at a given light output</a:t>
            </a:r>
          </a:p>
          <a:p>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896983" y="566057"/>
            <a:ext cx="7341326" cy="738664"/>
          </a:xfrm>
          <a:prstGeom prst="rect">
            <a:avLst/>
          </a:prstGeom>
          <a:noFill/>
        </p:spPr>
        <p:txBody>
          <a:bodyPr wrap="square" rtlCol="0">
            <a:spAutoFit/>
          </a:bodyPr>
          <a:lstStyle/>
          <a:p>
            <a:r>
              <a:rPr lang="en-US" sz="2400" b="1" dirty="0">
                <a:latin typeface="+mj-lt"/>
                <a:cs typeface="Times New Roman" panose="02020603050405020304" pitchFamily="18" charset="0"/>
              </a:rPr>
              <a:t>Fixture Ambient Temperature Listing</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Diagram, text, whiteboard&#10;&#10;Description automatically generated">
            <a:extLst>
              <a:ext uri="{FF2B5EF4-FFF2-40B4-BE49-F238E27FC236}">
                <a16:creationId xmlns:a16="http://schemas.microsoft.com/office/drawing/2014/main" id="{C4DFC16A-8250-3B69-6080-347B6928A433}"/>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096000" y="2961680"/>
            <a:ext cx="5128562" cy="2202503"/>
          </a:xfrm>
          <a:prstGeom prst="rect">
            <a:avLst/>
          </a:prstGeom>
        </p:spPr>
      </p:pic>
    </p:spTree>
    <p:custDataLst>
      <p:tags r:id="rId1"/>
    </p:custDataLst>
    <p:extLst>
      <p:ext uri="{BB962C8B-B14F-4D97-AF65-F5344CB8AC3E}">
        <p14:creationId xmlns:p14="http://schemas.microsoft.com/office/powerpoint/2010/main" val="159817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96983" y="1105990"/>
            <a:ext cx="8186057" cy="4641667"/>
          </a:xfrm>
        </p:spPr>
        <p:txBody>
          <a:bodyPr>
            <a:normAutofit/>
          </a:bodyPr>
          <a:lstStyle/>
          <a:p>
            <a:pPr marL="0" indent="0">
              <a:buNone/>
            </a:pPr>
            <a:r>
              <a:rPr lang="en-US" sz="2000" dirty="0">
                <a:latin typeface="Avenir Next LT Pro" panose="020B0504020202020204" pitchFamily="34" charset="0"/>
              </a:rPr>
              <a:t>Many fixtures may look alike but there are some design features that could be very important to you and how it performs in your space</a:t>
            </a:r>
          </a:p>
          <a:p>
            <a:r>
              <a:rPr lang="en-US" sz="2000" b="1" dirty="0">
                <a:latin typeface="Avenir Next LT Pro" panose="020B0504020202020204" pitchFamily="34" charset="0"/>
              </a:rPr>
              <a:t>Passive heat management </a:t>
            </a:r>
            <a:r>
              <a:rPr lang="en-US" sz="2000" dirty="0">
                <a:latin typeface="Avenir Next LT Pro" panose="020B0504020202020204" pitchFamily="34" charset="0"/>
              </a:rPr>
              <a:t>(no fans). Fans signal old-school technology, and should be avoided</a:t>
            </a:r>
          </a:p>
          <a:p>
            <a:r>
              <a:rPr lang="en-US" sz="2000" b="1" dirty="0">
                <a:latin typeface="Avenir Next LT Pro" panose="020B0504020202020204" pitchFamily="34" charset="0"/>
              </a:rPr>
              <a:t>IP rating </a:t>
            </a:r>
            <a:r>
              <a:rPr lang="en-US" sz="2000" dirty="0">
                <a:latin typeface="Avenir Next LT Pro" panose="020B0504020202020204" pitchFamily="34" charset="0"/>
              </a:rPr>
              <a:t>– Seek IP66 rated or better. </a:t>
            </a:r>
          </a:p>
          <a:p>
            <a:r>
              <a:rPr lang="en-US" sz="2000" b="1" dirty="0">
                <a:latin typeface="Avenir Next LT Pro" panose="020B0504020202020204" pitchFamily="34" charset="0"/>
              </a:rPr>
              <a:t>Fixture serviceability </a:t>
            </a:r>
            <a:r>
              <a:rPr lang="en-US" sz="2000" dirty="0">
                <a:latin typeface="Avenir Next LT Pro" panose="020B0504020202020204" pitchFamily="34" charset="0"/>
              </a:rPr>
              <a:t>– Know if the fixture is designed to allow the boards and drivers to be changed and serviced</a:t>
            </a:r>
          </a:p>
          <a:p>
            <a:r>
              <a:rPr lang="en-US" sz="2000" b="1" dirty="0">
                <a:latin typeface="Avenir Next LT Pro" panose="020B0504020202020204" pitchFamily="34" charset="0"/>
              </a:rPr>
              <a:t>Cleanable Lenses </a:t>
            </a:r>
            <a:r>
              <a:rPr lang="en-US" sz="2000" dirty="0">
                <a:latin typeface="Avenir Next LT Pro" panose="020B0504020202020204" pitchFamily="34" charset="0"/>
              </a:rPr>
              <a:t>– Lenses protect the LEDs and can easily be wiped down to help maintain maximum light output</a:t>
            </a:r>
          </a:p>
          <a:p>
            <a:r>
              <a:rPr lang="en-US" sz="2000" b="1" dirty="0">
                <a:latin typeface="Avenir Next LT Pro" panose="020B0504020202020204" pitchFamily="34" charset="0"/>
              </a:rPr>
              <a:t>Fixture Size/Dimensions </a:t>
            </a:r>
            <a:r>
              <a:rPr lang="en-US" sz="2000" dirty="0">
                <a:latin typeface="Avenir Next LT Pro" panose="020B0504020202020204" pitchFamily="34" charset="0"/>
              </a:rPr>
              <a:t>– May contribute to uniformity on the canopy</a:t>
            </a:r>
          </a:p>
          <a:p>
            <a:r>
              <a:rPr lang="en-US" sz="2000" b="1" dirty="0">
                <a:latin typeface="Avenir Next LT Pro" panose="020B0504020202020204" pitchFamily="34" charset="0"/>
              </a:rPr>
              <a:t>LED count </a:t>
            </a:r>
            <a:r>
              <a:rPr lang="en-US" sz="2000" dirty="0">
                <a:latin typeface="Avenir Next LT Pro" panose="020B0504020202020204" pitchFamily="34" charset="0"/>
              </a:rPr>
              <a:t>– More LED’s on the board could mean lower temps for each LED, leading to longer life. </a:t>
            </a:r>
          </a:p>
          <a:p>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896983" y="566057"/>
            <a:ext cx="7341326" cy="738664"/>
          </a:xfrm>
          <a:prstGeom prst="rect">
            <a:avLst/>
          </a:prstGeom>
          <a:noFill/>
        </p:spPr>
        <p:txBody>
          <a:bodyPr wrap="square" rtlCol="0">
            <a:spAutoFit/>
          </a:bodyPr>
          <a:lstStyle/>
          <a:p>
            <a:r>
              <a:rPr lang="en-US" sz="2400" b="1" dirty="0">
                <a:latin typeface="+mj-lt"/>
                <a:cs typeface="Times New Roman" panose="02020603050405020304" pitchFamily="18" charset="0"/>
              </a:rPr>
              <a:t>Other Fixture Design Considerations</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91395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27314" y="1047207"/>
            <a:ext cx="8133806" cy="4883330"/>
          </a:xfrm>
        </p:spPr>
        <p:txBody>
          <a:bodyPr>
            <a:normAutofit/>
          </a:bodyPr>
          <a:lstStyle/>
          <a:p>
            <a:r>
              <a:rPr lang="en-US" sz="2000" dirty="0">
                <a:latin typeface="Avenir Next LT Pro" panose="020B0504020202020204" pitchFamily="34" charset="0"/>
              </a:rPr>
              <a:t>Look for products listed on Horticulture DLC Qualified Product List</a:t>
            </a:r>
          </a:p>
          <a:p>
            <a:r>
              <a:rPr lang="en-US" sz="2000" dirty="0">
                <a:latin typeface="Avenir Next LT Pro" panose="020B0504020202020204" pitchFamily="34" charset="0"/>
              </a:rPr>
              <a:t>This is your best bet to ensure the product you are buying performs (output/efficacy/life/</a:t>
            </a:r>
            <a:r>
              <a:rPr lang="en-US" sz="2000" dirty="0" err="1">
                <a:latin typeface="Avenir Next LT Pro" panose="020B0504020202020204" pitchFamily="34" charset="0"/>
              </a:rPr>
              <a:t>etc</a:t>
            </a:r>
            <a:r>
              <a:rPr lang="en-US" sz="2000" dirty="0">
                <a:latin typeface="Avenir Next LT Pro" panose="020B0504020202020204" pitchFamily="34" charset="0"/>
              </a:rPr>
              <a:t>) as advertised on the marketing brochure or spec sheet</a:t>
            </a:r>
          </a:p>
          <a:p>
            <a:r>
              <a:rPr lang="en-US" sz="2000" dirty="0">
                <a:latin typeface="Avenir Next LT Pro" panose="020B0504020202020204" pitchFamily="34" charset="0"/>
              </a:rPr>
              <a:t>DLC reviews and validates testing of samples by 3rd party labs</a:t>
            </a:r>
          </a:p>
          <a:p>
            <a:r>
              <a:rPr lang="en-US" sz="2000" dirty="0">
                <a:latin typeface="Avenir Next LT Pro" panose="020B0504020202020204" pitchFamily="34" charset="0"/>
              </a:rPr>
              <a:t>DLC requires minimum efficacies, driver life, LED life, </a:t>
            </a:r>
            <a:r>
              <a:rPr lang="en-US" sz="2000" dirty="0" err="1">
                <a:latin typeface="Avenir Next LT Pro" panose="020B0504020202020204" pitchFamily="34" charset="0"/>
              </a:rPr>
              <a:t>etc</a:t>
            </a:r>
            <a:endParaRPr lang="en-US" sz="2000" dirty="0">
              <a:latin typeface="Avenir Next LT Pro" panose="020B0504020202020204" pitchFamily="34" charset="0"/>
            </a:endParaRPr>
          </a:p>
          <a:p>
            <a:r>
              <a:rPr lang="en-US" sz="2000" dirty="0">
                <a:solidFill>
                  <a:srgbClr val="FF0000"/>
                </a:solidFill>
                <a:latin typeface="Avenir Next LT Pro" panose="020B0504020202020204" pitchFamily="34" charset="0"/>
              </a:rPr>
              <a:t>Be aware of products that claim DLC on their spec sheet, but are not listed on the DLC. This is not uncommon!</a:t>
            </a:r>
          </a:p>
          <a:p>
            <a:r>
              <a:rPr lang="en-US" sz="2000" dirty="0">
                <a:solidFill>
                  <a:srgbClr val="FF0000"/>
                </a:solidFill>
                <a:latin typeface="Avenir Next LT Pro" panose="020B0504020202020204" pitchFamily="34" charset="0"/>
              </a:rPr>
              <a:t>Be aware of products that claim higher performance than what is listed on DLC. This is not uncommon!</a:t>
            </a:r>
          </a:p>
          <a:p>
            <a:r>
              <a:rPr lang="en-US" sz="2000" dirty="0">
                <a:latin typeface="Avenir Next LT Pro" panose="020B0504020202020204" pitchFamily="34" charset="0"/>
              </a:rPr>
              <a:t>DLC is updating their technical </a:t>
            </a:r>
            <a:r>
              <a:rPr lang="en-US" sz="2000" dirty="0" err="1">
                <a:latin typeface="Avenir Next LT Pro" panose="020B0504020202020204" pitchFamily="34" charset="0"/>
              </a:rPr>
              <a:t>reqts</a:t>
            </a:r>
            <a:r>
              <a:rPr lang="en-US" sz="2000" dirty="0">
                <a:latin typeface="Avenir Next LT Pro" panose="020B0504020202020204" pitchFamily="34" charset="0"/>
              </a:rPr>
              <a:t> to V3.0 in 2023</a:t>
            </a:r>
          </a:p>
          <a:p>
            <a:pPr lvl="1"/>
            <a:r>
              <a:rPr lang="en-US" sz="1600" dirty="0">
                <a:latin typeface="Avenir Next LT Pro" panose="020B0504020202020204" pitchFamily="34" charset="0"/>
              </a:rPr>
              <a:t>Higher efficacy </a:t>
            </a:r>
            <a:r>
              <a:rPr lang="en-US" sz="1600" dirty="0" err="1">
                <a:latin typeface="Avenir Next LT Pro" panose="020B0504020202020204" pitchFamily="34" charset="0"/>
              </a:rPr>
              <a:t>reqts</a:t>
            </a:r>
            <a:r>
              <a:rPr lang="en-US" sz="1600" dirty="0">
                <a:latin typeface="Avenir Next LT Pro" panose="020B0504020202020204" pitchFamily="34" charset="0"/>
              </a:rPr>
              <a:t> &gt; 2.3 </a:t>
            </a:r>
            <a:r>
              <a:rPr lang="en-US" sz="1600" dirty="0" err="1">
                <a:latin typeface="Avenir Next LT Pro" panose="020B0504020202020204" pitchFamily="34" charset="0"/>
              </a:rPr>
              <a:t>μmol</a:t>
            </a:r>
            <a:r>
              <a:rPr lang="en-US" sz="1600" dirty="0">
                <a:latin typeface="Avenir Next LT Pro" panose="020B0504020202020204" pitchFamily="34" charset="0"/>
              </a:rPr>
              <a:t>/j</a:t>
            </a:r>
          </a:p>
          <a:p>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827314" y="583474"/>
            <a:ext cx="4188823"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Design Light Consortium</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7F2A9D20-A4D6-5208-313B-7026E079B4E7}"/>
              </a:ext>
            </a:extLst>
          </p:cNvPr>
          <p:cNvPicPr>
            <a:picLocks noChangeAspect="1"/>
          </p:cNvPicPr>
          <p:nvPr/>
        </p:nvPicPr>
        <p:blipFill>
          <a:blip r:embed="rId3"/>
          <a:stretch>
            <a:fillRect/>
          </a:stretch>
        </p:blipFill>
        <p:spPr>
          <a:xfrm>
            <a:off x="9217083" y="6331129"/>
            <a:ext cx="1005239" cy="457628"/>
          </a:xfrm>
          <a:prstGeom prst="rect">
            <a:avLst/>
          </a:prstGeom>
        </p:spPr>
      </p:pic>
      <p:pic>
        <p:nvPicPr>
          <p:cNvPr id="10" name="Picture 9">
            <a:extLst>
              <a:ext uri="{FF2B5EF4-FFF2-40B4-BE49-F238E27FC236}">
                <a16:creationId xmlns:a16="http://schemas.microsoft.com/office/drawing/2014/main" id="{1F0C1E54-18C8-2FF1-380C-55155E0E458D}"/>
              </a:ext>
            </a:extLst>
          </p:cNvPr>
          <p:cNvPicPr>
            <a:picLocks noChangeAspect="1"/>
          </p:cNvPicPr>
          <p:nvPr/>
        </p:nvPicPr>
        <p:blipFill>
          <a:blip r:embed="rId4"/>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266872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696685" y="1471939"/>
            <a:ext cx="7733212" cy="4883330"/>
          </a:xfrm>
        </p:spPr>
        <p:txBody>
          <a:bodyPr>
            <a:normAutofit/>
          </a:bodyPr>
          <a:lstStyle/>
          <a:p>
            <a:r>
              <a:rPr lang="en-US" sz="2000" dirty="0">
                <a:latin typeface="Avenir Next LT Pro" panose="020B0504020202020204" pitchFamily="34" charset="0"/>
              </a:rPr>
              <a:t>1000W DE HPS roughly delivers 1800 </a:t>
            </a:r>
            <a:r>
              <a:rPr lang="en-US" sz="2000" dirty="0" err="1">
                <a:latin typeface="Avenir Next LT Pro" panose="020B0504020202020204" pitchFamily="34" charset="0"/>
              </a:rPr>
              <a:t>μmol</a:t>
            </a:r>
            <a:r>
              <a:rPr lang="en-US" sz="2000" dirty="0">
                <a:latin typeface="Avenir Next LT Pro" panose="020B0504020202020204" pitchFamily="34" charset="0"/>
              </a:rPr>
              <a:t>/s (initially)</a:t>
            </a:r>
          </a:p>
          <a:p>
            <a:r>
              <a:rPr lang="en-US" sz="2000" dirty="0">
                <a:latin typeface="Avenir Next LT Pro" panose="020B0504020202020204" pitchFamily="34" charset="0"/>
              </a:rPr>
              <a:t>LED fixtures with lower output that claim to replace 1000W DE HPS are relying on claimed “spectral” improvements to make up the difference, or moving the light closer to the plants</a:t>
            </a:r>
          </a:p>
          <a:p>
            <a:r>
              <a:rPr lang="en-US" sz="2000" dirty="0">
                <a:latin typeface="Avenir Next LT Pro" panose="020B0504020202020204" pitchFamily="34" charset="0"/>
              </a:rPr>
              <a:t>Fixture output on spec sheet should match what is listed on DLC Horticulture QPL</a:t>
            </a:r>
          </a:p>
          <a:p>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696685" y="851074"/>
            <a:ext cx="8177348"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Output PPF (Photosynthetic Photon Flux)</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39479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27314" y="1047207"/>
            <a:ext cx="8551817" cy="4883330"/>
          </a:xfrm>
        </p:spPr>
        <p:txBody>
          <a:bodyPr>
            <a:normAutofit/>
          </a:bodyPr>
          <a:lstStyle/>
          <a:p>
            <a:r>
              <a:rPr lang="en-US" sz="2000" dirty="0">
                <a:latin typeface="Avenir Next LT Pro" panose="020B0504020202020204" pitchFamily="34" charset="0"/>
              </a:rPr>
              <a:t>Look for efficacies &gt; 2.5 </a:t>
            </a:r>
            <a:r>
              <a:rPr lang="en-US" sz="2000" dirty="0" err="1">
                <a:latin typeface="Avenir Next LT Pro" panose="020B0504020202020204" pitchFamily="34" charset="0"/>
              </a:rPr>
              <a:t>μmol</a:t>
            </a:r>
            <a:r>
              <a:rPr lang="en-US" sz="2000" dirty="0">
                <a:latin typeface="Avenir Next LT Pro" panose="020B0504020202020204" pitchFamily="34" charset="0"/>
              </a:rPr>
              <a:t>/j for broad full spectrum</a:t>
            </a:r>
          </a:p>
          <a:p>
            <a:r>
              <a:rPr lang="en-US" sz="2000" dirty="0">
                <a:latin typeface="Avenir Next LT Pro" panose="020B0504020202020204" pitchFamily="34" charset="0"/>
              </a:rPr>
              <a:t>Make sure you know the efficacy of the spectrum you are interested in</a:t>
            </a:r>
          </a:p>
          <a:p>
            <a:r>
              <a:rPr lang="en-US" sz="2000" dirty="0">
                <a:latin typeface="Avenir Next LT Pro" panose="020B0504020202020204" pitchFamily="34" charset="0"/>
              </a:rPr>
              <a:t>Some fixtures advertise ultra-high efficacies, but note that these may be only available on all red LED spectral options, not full spectrum</a:t>
            </a:r>
          </a:p>
          <a:p>
            <a:r>
              <a:rPr lang="en-US" sz="2000" dirty="0">
                <a:latin typeface="Avenir Next LT Pro" panose="020B0504020202020204" pitchFamily="34" charset="0"/>
              </a:rPr>
              <a:t>Efficacy on spec sheet should match DLC (in most cases)</a:t>
            </a:r>
          </a:p>
          <a:p>
            <a:pPr marL="0" indent="0">
              <a:buNone/>
            </a:pPr>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1071154" y="502731"/>
            <a:ext cx="4354286"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Efficacy (</a:t>
            </a:r>
            <a:r>
              <a:rPr lang="el-GR" sz="2400" b="1" dirty="0">
                <a:latin typeface="Proxima Nova Light" panose="02000506030000020004"/>
                <a:cs typeface="Times New Roman" panose="02020603050405020304" pitchFamily="18" charset="0"/>
              </a:rPr>
              <a:t>μ</a:t>
            </a:r>
            <a:r>
              <a:rPr lang="en-US" sz="2400" b="1" dirty="0">
                <a:latin typeface="Proxima Nova Light" panose="02000506030000020004"/>
                <a:cs typeface="Times New Roman" panose="02020603050405020304" pitchFamily="18" charset="0"/>
              </a:rPr>
              <a:t>mol/j)</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6169BED0-93E4-F7C3-8F0A-D605C7A48C36}"/>
              </a:ext>
            </a:extLst>
          </p:cNvPr>
          <p:cNvPicPr>
            <a:picLocks noChangeAspect="1"/>
          </p:cNvPicPr>
          <p:nvPr/>
        </p:nvPicPr>
        <p:blipFill>
          <a:blip r:embed="rId3"/>
          <a:stretch>
            <a:fillRect/>
          </a:stretch>
        </p:blipFill>
        <p:spPr>
          <a:xfrm>
            <a:off x="9217083" y="6331129"/>
            <a:ext cx="1005239" cy="457628"/>
          </a:xfrm>
          <a:prstGeom prst="rect">
            <a:avLst/>
          </a:prstGeom>
        </p:spPr>
      </p:pic>
      <p:pic>
        <p:nvPicPr>
          <p:cNvPr id="8" name="Picture 7">
            <a:extLst>
              <a:ext uri="{FF2B5EF4-FFF2-40B4-BE49-F238E27FC236}">
                <a16:creationId xmlns:a16="http://schemas.microsoft.com/office/drawing/2014/main" id="{142D7C71-14B4-D549-F07F-EF4D83E5CFAA}"/>
              </a:ext>
            </a:extLst>
          </p:cNvPr>
          <p:cNvPicPr>
            <a:picLocks noChangeAspect="1"/>
          </p:cNvPicPr>
          <p:nvPr/>
        </p:nvPicPr>
        <p:blipFill>
          <a:blip r:embed="rId4"/>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95510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27314" y="1047207"/>
            <a:ext cx="8389769" cy="4883330"/>
          </a:xfrm>
        </p:spPr>
        <p:txBody>
          <a:bodyPr>
            <a:normAutofit/>
          </a:bodyPr>
          <a:lstStyle/>
          <a:p>
            <a:r>
              <a:rPr lang="en-US" sz="2000" dirty="0">
                <a:latin typeface="Avenir Next LT Pro" panose="020B0504020202020204" pitchFamily="34" charset="0"/>
              </a:rPr>
              <a:t>Photon Flux Maintenance (Q90) tells you how many hours the fixture will deliver &gt; 90% of its initial photon output per LM80/TM21 methodologies </a:t>
            </a:r>
          </a:p>
          <a:p>
            <a:r>
              <a:rPr lang="en-US" sz="2000" dirty="0">
                <a:latin typeface="Avenir Next LT Pro" panose="020B0504020202020204" pitchFamily="34" charset="0"/>
              </a:rPr>
              <a:t>DLC min Q90 &gt; 36,000 Hours</a:t>
            </a:r>
          </a:p>
          <a:p>
            <a:r>
              <a:rPr lang="en-US" sz="2000" dirty="0">
                <a:latin typeface="Avenir Next LT Pro" panose="020B0504020202020204" pitchFamily="34" charset="0"/>
              </a:rPr>
              <a:t>Top tier Fixtures will deliver Q90&gt; 50,000 Hours, documented per TM21/LM80 methodologies</a:t>
            </a:r>
          </a:p>
          <a:p>
            <a:r>
              <a:rPr lang="en-US" sz="2000" dirty="0">
                <a:latin typeface="Avenir Next LT Pro" panose="020B0504020202020204" pitchFamily="34" charset="0"/>
              </a:rPr>
              <a:t>Q90 50,000 vs 36,000 could be 3+ years more of light at 90%+ of initial output</a:t>
            </a:r>
          </a:p>
          <a:p>
            <a:r>
              <a:rPr lang="en-US" sz="2000" dirty="0">
                <a:latin typeface="Avenir Next LT Pro" panose="020B0504020202020204" pitchFamily="34" charset="0"/>
              </a:rPr>
              <a:t>Look out for fixtures that claim ultra long hours without providing documented photon flux maintenance</a:t>
            </a:r>
          </a:p>
          <a:p>
            <a:r>
              <a:rPr lang="en-US" sz="2000" dirty="0">
                <a:latin typeface="Avenir Next LT Pro" panose="020B0504020202020204" pitchFamily="34" charset="0"/>
              </a:rPr>
              <a:t>For example – take the vague lifetime claim below. Is this 90% of initial photon output? 70%?</a:t>
            </a:r>
          </a:p>
          <a:p>
            <a:endParaRPr lang="en-US" sz="2000" dirty="0">
              <a:latin typeface="Avenir Next LT Pro" panose="020B0504020202020204" pitchFamily="34" charset="0"/>
            </a:endParaRPr>
          </a:p>
          <a:p>
            <a:pPr marL="0" indent="0">
              <a:buNone/>
            </a:pPr>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1001486" y="502731"/>
            <a:ext cx="3048000"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Longevity</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9466E9A1-6366-788F-08DC-87939E74F8CB}"/>
              </a:ext>
            </a:extLst>
          </p:cNvPr>
          <p:cNvPicPr>
            <a:picLocks noChangeAspect="1"/>
          </p:cNvPicPr>
          <p:nvPr/>
        </p:nvPicPr>
        <p:blipFill>
          <a:blip r:embed="rId3"/>
          <a:stretch>
            <a:fillRect/>
          </a:stretch>
        </p:blipFill>
        <p:spPr>
          <a:xfrm>
            <a:off x="2591344" y="5447676"/>
            <a:ext cx="6047014" cy="363117"/>
          </a:xfrm>
          <a:prstGeom prst="rect">
            <a:avLst/>
          </a:prstGeom>
        </p:spPr>
      </p:pic>
      <p:pic>
        <p:nvPicPr>
          <p:cNvPr id="10" name="Picture 9">
            <a:extLst>
              <a:ext uri="{FF2B5EF4-FFF2-40B4-BE49-F238E27FC236}">
                <a16:creationId xmlns:a16="http://schemas.microsoft.com/office/drawing/2014/main" id="{7709C467-0CFF-B8CC-F2FE-73BA01188E42}"/>
              </a:ext>
            </a:extLst>
          </p:cNvPr>
          <p:cNvPicPr>
            <a:picLocks noChangeAspect="1"/>
          </p:cNvPicPr>
          <p:nvPr/>
        </p:nvPicPr>
        <p:blipFill>
          <a:blip r:embed="rId4"/>
          <a:stretch>
            <a:fillRect/>
          </a:stretch>
        </p:blipFill>
        <p:spPr>
          <a:xfrm>
            <a:off x="9217083" y="6331129"/>
            <a:ext cx="1005239" cy="457628"/>
          </a:xfrm>
          <a:prstGeom prst="rect">
            <a:avLst/>
          </a:prstGeom>
        </p:spPr>
      </p:pic>
      <p:pic>
        <p:nvPicPr>
          <p:cNvPr id="11" name="Picture 10">
            <a:extLst>
              <a:ext uri="{FF2B5EF4-FFF2-40B4-BE49-F238E27FC236}">
                <a16:creationId xmlns:a16="http://schemas.microsoft.com/office/drawing/2014/main" id="{66F674BC-FFE4-1756-BAC3-CADEC3D281BF}"/>
              </a:ext>
            </a:extLst>
          </p:cNvPr>
          <p:cNvPicPr>
            <a:picLocks noChangeAspect="1"/>
          </p:cNvPicPr>
          <p:nvPr/>
        </p:nvPicPr>
        <p:blipFill>
          <a:blip r:embed="rId5"/>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2147310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44731" y="1041394"/>
            <a:ext cx="8372352" cy="3681547"/>
          </a:xfrm>
        </p:spPr>
        <p:txBody>
          <a:bodyPr>
            <a:normAutofit/>
          </a:bodyPr>
          <a:lstStyle/>
          <a:p>
            <a:r>
              <a:rPr lang="en-US" sz="2000" dirty="0">
                <a:latin typeface="Avenir Next LT Pro" panose="020B0504020202020204" pitchFamily="34" charset="0"/>
              </a:rPr>
              <a:t>LED protection via cleanable lenses may help maintain output </a:t>
            </a:r>
          </a:p>
          <a:p>
            <a:r>
              <a:rPr lang="en-US" sz="2000" dirty="0">
                <a:latin typeface="Avenir Next LT Pro" panose="020B0504020202020204" pitchFamily="34" charset="0"/>
              </a:rPr>
              <a:t>It is never recommended to wipe down bare LEDs with a rag or cloth</a:t>
            </a:r>
          </a:p>
          <a:p>
            <a:r>
              <a:rPr lang="en-US" sz="2000" dirty="0">
                <a:latin typeface="Avenir Next LT Pro" panose="020B0504020202020204" pitchFamily="34" charset="0"/>
              </a:rPr>
              <a:t>A cleanable, replaceable lens will help protect the LEDs during staging and installation, and keep the LEDs cleaner over time, delivering higher output to your canopy</a:t>
            </a:r>
          </a:p>
          <a:p>
            <a:r>
              <a:rPr lang="en-US" sz="2000" dirty="0">
                <a:latin typeface="Avenir Next LT Pro" panose="020B0504020202020204" pitchFamily="34" charset="0"/>
              </a:rPr>
              <a:t>Most LED PCBAs are conformal coated, which can be tacky</a:t>
            </a:r>
          </a:p>
          <a:p>
            <a:r>
              <a:rPr lang="en-US" sz="2000" dirty="0">
                <a:latin typeface="Avenir Next LT Pro" panose="020B0504020202020204" pitchFamily="34" charset="0"/>
              </a:rPr>
              <a:t>This can reduce LED efficacy and output over time</a:t>
            </a:r>
          </a:p>
          <a:p>
            <a:r>
              <a:rPr lang="en-US" sz="2000" dirty="0">
                <a:latin typeface="Avenir Next LT Pro" panose="020B0504020202020204" pitchFamily="34" charset="0"/>
              </a:rPr>
              <a:t>Below shows how dirt can stick to the conformal coating of a bare LED, even after wiping down the board</a:t>
            </a:r>
          </a:p>
          <a:p>
            <a:endParaRPr lang="en-US" sz="2000" dirty="0">
              <a:latin typeface="Avenir Next LT Pro" panose="020B0504020202020204" pitchFamily="34" charset="0"/>
            </a:endParaRPr>
          </a:p>
          <a:p>
            <a:pPr marL="0" indent="0">
              <a:buNone/>
            </a:pPr>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1001485" y="502731"/>
            <a:ext cx="7280365" cy="885371"/>
          </a:xfrm>
          <a:prstGeom prst="rect">
            <a:avLst/>
          </a:prstGeom>
          <a:noFill/>
        </p:spPr>
        <p:txBody>
          <a:bodyPr wrap="square" rtlCol="0">
            <a:spAutoFit/>
          </a:bodyPr>
          <a:lstStyle/>
          <a:p>
            <a:pPr algn="ctr">
              <a:lnSpc>
                <a:spcPct val="90000"/>
              </a:lnSpc>
              <a:spcBef>
                <a:spcPts val="1000"/>
              </a:spcBef>
              <a:defRPr/>
            </a:pPr>
            <a:r>
              <a:rPr lang="en-US" sz="2400" b="1" dirty="0">
                <a:latin typeface="Proxima Nova Light" panose="02000506030000020004"/>
                <a:cs typeface="Times New Roman" panose="02020603050405020304" pitchFamily="18" charset="0"/>
              </a:rPr>
              <a:t>Fixture Longevity - LED Protection/Lensing</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400" b="1" dirty="0">
              <a:latin typeface="Proxima Nova Light" panose="02000506030000020004"/>
              <a:cs typeface="Times New Roman" panose="02020603050405020304" pitchFamily="18" charset="0"/>
            </a:endParaRP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screenshot of a computer&#10;&#10;Description automatically generated with low confidence">
            <a:extLst>
              <a:ext uri="{FF2B5EF4-FFF2-40B4-BE49-F238E27FC236}">
                <a16:creationId xmlns:a16="http://schemas.microsoft.com/office/drawing/2014/main" id="{0E3CBB0D-EF56-D0E9-E053-B9AF7FE60E84}"/>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744389" y="4722941"/>
            <a:ext cx="8057148" cy="1395547"/>
          </a:xfrm>
          <a:prstGeom prst="rect">
            <a:avLst/>
          </a:prstGeom>
        </p:spPr>
      </p:pic>
      <p:pic>
        <p:nvPicPr>
          <p:cNvPr id="9" name="Picture 8">
            <a:extLst>
              <a:ext uri="{FF2B5EF4-FFF2-40B4-BE49-F238E27FC236}">
                <a16:creationId xmlns:a16="http://schemas.microsoft.com/office/drawing/2014/main" id="{750531AF-2F40-2240-37F7-4FD9BBCD2186}"/>
              </a:ext>
            </a:extLst>
          </p:cNvPr>
          <p:cNvPicPr>
            <a:picLocks noChangeAspect="1"/>
          </p:cNvPicPr>
          <p:nvPr/>
        </p:nvPicPr>
        <p:blipFill>
          <a:blip r:embed="rId4"/>
          <a:stretch>
            <a:fillRect/>
          </a:stretch>
        </p:blipFill>
        <p:spPr>
          <a:xfrm>
            <a:off x="9217083" y="6331129"/>
            <a:ext cx="1005239" cy="457628"/>
          </a:xfrm>
          <a:prstGeom prst="rect">
            <a:avLst/>
          </a:prstGeom>
        </p:spPr>
      </p:pic>
      <p:pic>
        <p:nvPicPr>
          <p:cNvPr id="10" name="Picture 9">
            <a:extLst>
              <a:ext uri="{FF2B5EF4-FFF2-40B4-BE49-F238E27FC236}">
                <a16:creationId xmlns:a16="http://schemas.microsoft.com/office/drawing/2014/main" id="{B798E7EB-067B-DFF6-67E0-D86A76151914}"/>
              </a:ext>
            </a:extLst>
          </p:cNvPr>
          <p:cNvPicPr>
            <a:picLocks noChangeAspect="1"/>
          </p:cNvPicPr>
          <p:nvPr/>
        </p:nvPicPr>
        <p:blipFill>
          <a:blip r:embed="rId5"/>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2816519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778091" y="1099459"/>
            <a:ext cx="8438992" cy="4883330"/>
          </a:xfrm>
        </p:spPr>
        <p:txBody>
          <a:bodyPr>
            <a:normAutofit/>
          </a:bodyPr>
          <a:lstStyle/>
          <a:p>
            <a:r>
              <a:rPr lang="en-US" sz="2000" dirty="0">
                <a:latin typeface="Avenir Next LT Pro" panose="020B0504020202020204" pitchFamily="34" charset="0"/>
              </a:rPr>
              <a:t>The latest LED controls technology allows for the fixtures to be wirelessly controlled and individually addressable, without the need to run any additional wiring to the fixture</a:t>
            </a:r>
          </a:p>
          <a:p>
            <a:r>
              <a:rPr lang="en-US" sz="2000" dirty="0">
                <a:latin typeface="Avenir Next LT Pro" panose="020B0504020202020204" pitchFamily="34" charset="0"/>
              </a:rPr>
              <a:t>The latest wireless controls are robust, reliable, and may offer significant advantages such as</a:t>
            </a:r>
          </a:p>
          <a:p>
            <a:r>
              <a:rPr lang="en-US" sz="2000" dirty="0">
                <a:latin typeface="Avenir Next LT Pro" panose="020B0504020202020204" pitchFamily="34" charset="0"/>
              </a:rPr>
              <a:t>Reduced installation time</a:t>
            </a:r>
          </a:p>
          <a:p>
            <a:r>
              <a:rPr lang="en-US" sz="2000" dirty="0">
                <a:latin typeface="Avenir Next LT Pro" panose="020B0504020202020204" pitchFamily="34" charset="0"/>
              </a:rPr>
              <a:t>Reliable, secure communication</a:t>
            </a:r>
          </a:p>
          <a:p>
            <a:r>
              <a:rPr lang="en-US" sz="2000" dirty="0">
                <a:latin typeface="Avenir Next LT Pro" panose="020B0504020202020204" pitchFamily="34" charset="0"/>
              </a:rPr>
              <a:t>Flexibility to group/zone/recommission your space</a:t>
            </a:r>
          </a:p>
          <a:p>
            <a:r>
              <a:rPr lang="en-US" sz="2000" dirty="0">
                <a:latin typeface="Avenir Next LT Pro" panose="020B0504020202020204" pitchFamily="34" charset="0"/>
              </a:rPr>
              <a:t>Scalable</a:t>
            </a:r>
          </a:p>
          <a:p>
            <a:r>
              <a:rPr lang="en-US" sz="2000" dirty="0">
                <a:latin typeface="Avenir Next LT Pro" panose="020B0504020202020204" pitchFamily="34" charset="0"/>
              </a:rPr>
              <a:t>Compatible with other environmental controls systems</a:t>
            </a:r>
          </a:p>
          <a:p>
            <a:r>
              <a:rPr lang="en-US" sz="2000" dirty="0">
                <a:latin typeface="Avenir Next LT Pro" panose="020B0504020202020204" pitchFamily="34" charset="0"/>
              </a:rPr>
              <a:t>Data analysis, power metering </a:t>
            </a:r>
            <a:r>
              <a:rPr lang="en-US" sz="2000" dirty="0" err="1">
                <a:latin typeface="Avenir Next LT Pro" panose="020B0504020202020204" pitchFamily="34" charset="0"/>
              </a:rPr>
              <a:t>etc</a:t>
            </a:r>
            <a:endParaRPr lang="en-US" sz="2000" dirty="0">
              <a:latin typeface="Avenir Next LT Pro" panose="020B0504020202020204" pitchFamily="34" charset="0"/>
            </a:endParaRPr>
          </a:p>
          <a:p>
            <a:r>
              <a:rPr lang="en-US" sz="2000" dirty="0">
                <a:latin typeface="Avenir Next LT Pro" panose="020B0504020202020204" pitchFamily="34" charset="0"/>
              </a:rPr>
              <a:t>Remote-based control capabilities</a:t>
            </a:r>
          </a:p>
          <a:p>
            <a:endParaRPr lang="en-US" sz="2000" dirty="0">
              <a:latin typeface="Avenir Next LT Pro" panose="020B0504020202020204" pitchFamily="34" charset="0"/>
            </a:endParaRPr>
          </a:p>
          <a:p>
            <a:pPr marL="0" indent="0">
              <a:buNone/>
            </a:pPr>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1158240" y="502731"/>
            <a:ext cx="3718560"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Controllability</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C7A29BC2-9F19-C029-73DB-8E0753648D54}"/>
              </a:ext>
            </a:extLst>
          </p:cNvPr>
          <p:cNvPicPr>
            <a:picLocks noChangeAspect="1"/>
          </p:cNvPicPr>
          <p:nvPr/>
        </p:nvPicPr>
        <p:blipFill>
          <a:blip r:embed="rId3"/>
          <a:stretch>
            <a:fillRect/>
          </a:stretch>
        </p:blipFill>
        <p:spPr>
          <a:xfrm>
            <a:off x="9217083" y="6331129"/>
            <a:ext cx="1005239" cy="457628"/>
          </a:xfrm>
          <a:prstGeom prst="rect">
            <a:avLst/>
          </a:prstGeom>
        </p:spPr>
      </p:pic>
      <p:pic>
        <p:nvPicPr>
          <p:cNvPr id="10" name="Picture 9">
            <a:extLst>
              <a:ext uri="{FF2B5EF4-FFF2-40B4-BE49-F238E27FC236}">
                <a16:creationId xmlns:a16="http://schemas.microsoft.com/office/drawing/2014/main" id="{D6BE2271-2B13-847E-2CEA-14643BF612A3}"/>
              </a:ext>
            </a:extLst>
          </p:cNvPr>
          <p:cNvPicPr>
            <a:picLocks noChangeAspect="1"/>
          </p:cNvPicPr>
          <p:nvPr/>
        </p:nvPicPr>
        <p:blipFill>
          <a:blip r:embed="rId4"/>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138708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751966" y="1116875"/>
            <a:ext cx="8975508" cy="5371012"/>
          </a:xfrm>
        </p:spPr>
        <p:txBody>
          <a:bodyPr>
            <a:normAutofit fontScale="92500" lnSpcReduction="20000"/>
          </a:bodyPr>
          <a:lstStyle/>
          <a:p>
            <a:r>
              <a:rPr lang="en-US" sz="2600" dirty="0">
                <a:latin typeface="Avenir Next LT Pro" panose="020B0504020202020204" pitchFamily="34" charset="0"/>
              </a:rPr>
              <a:t>For many fixtures on the market, cost and imitation drives the spectral makeup, not plant research or science</a:t>
            </a:r>
          </a:p>
          <a:p>
            <a:r>
              <a:rPr lang="en-US" sz="2600" dirty="0">
                <a:latin typeface="Avenir Next LT Pro" panose="020B0504020202020204" pitchFamily="34" charset="0"/>
              </a:rPr>
              <a:t>There is no such thing as the “perfect spectrum” for all plants </a:t>
            </a:r>
          </a:p>
          <a:p>
            <a:r>
              <a:rPr lang="en-US" sz="2600" dirty="0">
                <a:latin typeface="Avenir Next LT Pro" panose="020B0504020202020204" pitchFamily="34" charset="0"/>
              </a:rPr>
              <a:t>More research is needed to understand full impacts of all spectra on plants (UV/Far Red/Tunable/etc.).</a:t>
            </a:r>
          </a:p>
          <a:p>
            <a:r>
              <a:rPr lang="en-US" sz="2600" dirty="0">
                <a:latin typeface="Avenir Next LT Pro" panose="020B0504020202020204" pitchFamily="34" charset="0"/>
              </a:rPr>
              <a:t>Which Plants? Which spectrum? At what intensity? At what growth stage? For How Long? What environment?</a:t>
            </a:r>
          </a:p>
          <a:p>
            <a:r>
              <a:rPr lang="en-US" sz="2600" dirty="0">
                <a:latin typeface="Avenir Next LT Pro" panose="020B0504020202020204" pitchFamily="34" charset="0"/>
              </a:rPr>
              <a:t>Be weary of claims of the perfect or magic spectrum that supposedly delivers vastly increased yields or quality</a:t>
            </a:r>
          </a:p>
          <a:p>
            <a:r>
              <a:rPr lang="en-US" sz="2600" dirty="0">
                <a:latin typeface="Avenir Next LT Pro" panose="020B0504020202020204" pitchFamily="34" charset="0"/>
              </a:rPr>
              <a:t>These types of results are often from optimizing an entire grow operation along with new higher intensity lighting, which can cloud the data. Much data showing light intensity has larger impact than spectrum</a:t>
            </a:r>
          </a:p>
          <a:p>
            <a:r>
              <a:rPr lang="en-US" sz="2600" dirty="0">
                <a:latin typeface="Avenir Next LT Pro" panose="020B0504020202020204" pitchFamily="34" charset="0"/>
              </a:rPr>
              <a:t>Look to available academic and science research for the plant you are growing, not marketing claims</a:t>
            </a:r>
          </a:p>
          <a:p>
            <a:pPr lvl="1"/>
            <a:r>
              <a:rPr lang="en-US" sz="2200" dirty="0">
                <a:latin typeface="Avenir Next LT Pro" panose="020B0504020202020204" pitchFamily="34" charset="0"/>
              </a:rPr>
              <a:t>https://www.acuitybrands.com/verjure-horticulture-lighting/research</a:t>
            </a:r>
          </a:p>
          <a:p>
            <a:pPr marL="457200" lvl="1" indent="0">
              <a:buNone/>
            </a:pPr>
            <a:endParaRPr lang="en-US" sz="2200" dirty="0">
              <a:latin typeface="Avenir Next LT Pro" panose="020B0504020202020204" pitchFamily="34" charset="0"/>
            </a:endParaRPr>
          </a:p>
          <a:p>
            <a:endParaRPr lang="en-US" sz="2600" dirty="0">
              <a:latin typeface="Avenir Next LT Pro" panose="020B0504020202020204" pitchFamily="34" charset="0"/>
            </a:endParaRPr>
          </a:p>
          <a:p>
            <a:endParaRPr lang="en-US" sz="2000" dirty="0">
              <a:latin typeface="Avenir Next LT Pro" panose="020B0504020202020204" pitchFamily="34" charset="0"/>
            </a:endParaRPr>
          </a:p>
          <a:p>
            <a:pPr marL="0" indent="0">
              <a:buNone/>
            </a:pPr>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1158240" y="502731"/>
            <a:ext cx="3718560"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Spectral Distribution</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B9695A31-F2E5-378E-2F84-EB94D77B032B}"/>
              </a:ext>
            </a:extLst>
          </p:cNvPr>
          <p:cNvPicPr>
            <a:picLocks noChangeAspect="1"/>
          </p:cNvPicPr>
          <p:nvPr/>
        </p:nvPicPr>
        <p:blipFill>
          <a:blip r:embed="rId3"/>
          <a:stretch>
            <a:fillRect/>
          </a:stretch>
        </p:blipFill>
        <p:spPr>
          <a:xfrm>
            <a:off x="9217083" y="6331129"/>
            <a:ext cx="1005239" cy="457628"/>
          </a:xfrm>
          <a:prstGeom prst="rect">
            <a:avLst/>
          </a:prstGeom>
        </p:spPr>
      </p:pic>
      <p:pic>
        <p:nvPicPr>
          <p:cNvPr id="10" name="Picture 9">
            <a:extLst>
              <a:ext uri="{FF2B5EF4-FFF2-40B4-BE49-F238E27FC236}">
                <a16:creationId xmlns:a16="http://schemas.microsoft.com/office/drawing/2014/main" id="{7E49F23C-20A9-F810-F4D3-5C062A78FC1D}"/>
              </a:ext>
            </a:extLst>
          </p:cNvPr>
          <p:cNvPicPr>
            <a:picLocks noChangeAspect="1"/>
          </p:cNvPicPr>
          <p:nvPr/>
        </p:nvPicPr>
        <p:blipFill>
          <a:blip r:embed="rId4"/>
          <a:stretch>
            <a:fillRect/>
          </a:stretch>
        </p:blipFill>
        <p:spPr>
          <a:xfrm>
            <a:off x="8515297" y="6331130"/>
            <a:ext cx="534592" cy="457627"/>
          </a:xfrm>
          <a:prstGeom prst="rect">
            <a:avLst/>
          </a:prstGeom>
        </p:spPr>
      </p:pic>
    </p:spTree>
    <p:custDataLst>
      <p:tags r:id="rId1"/>
    </p:custDataLst>
    <p:extLst>
      <p:ext uri="{BB962C8B-B14F-4D97-AF65-F5344CB8AC3E}">
        <p14:creationId xmlns:p14="http://schemas.microsoft.com/office/powerpoint/2010/main" val="2996800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589342" y="787627"/>
            <a:ext cx="5506658" cy="5412876"/>
          </a:xfrm>
        </p:spPr>
        <p:txBody>
          <a:bodyPr>
            <a:normAutofit fontScale="92500" lnSpcReduction="10000"/>
          </a:bodyPr>
          <a:lstStyle/>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Versatile Solution</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err="1">
                <a:ln>
                  <a:noFill/>
                </a:ln>
                <a:solidFill>
                  <a:prstClr val="black"/>
                </a:solidFill>
                <a:effectLst/>
                <a:uLnTx/>
                <a:uFillTx/>
                <a:latin typeface="+mj-lt"/>
                <a:ea typeface="Tahoma"/>
                <a:cs typeface="Tahoma"/>
              </a:rPr>
              <a:t>Verjure</a:t>
            </a:r>
            <a:r>
              <a:rPr kumimoji="0" lang="en-US" sz="1400" b="0" i="0" u="none" strike="noStrike" kern="1200" cap="none" spc="0" normalizeH="0" baseline="0" noProof="0" dirty="0">
                <a:ln>
                  <a:noFill/>
                </a:ln>
                <a:solidFill>
                  <a:prstClr val="black"/>
                </a:solidFill>
                <a:effectLst/>
                <a:uLnTx/>
                <a:uFillTx/>
                <a:latin typeface="+mj-lt"/>
                <a:ea typeface="Tahoma"/>
                <a:cs typeface="Tahoma"/>
              </a:rPr>
              <a:t> Pro Series LED features the </a:t>
            </a:r>
            <a:r>
              <a:rPr kumimoji="0" lang="en-US" sz="1400" b="0" i="0" u="none" strike="noStrike" kern="1200" cap="none" spc="0" normalizeH="0" baseline="0" noProof="0" dirty="0" err="1">
                <a:ln>
                  <a:noFill/>
                </a:ln>
                <a:solidFill>
                  <a:prstClr val="black"/>
                </a:solidFill>
                <a:effectLst/>
                <a:uLnTx/>
                <a:uFillTx/>
                <a:latin typeface="+mj-lt"/>
                <a:ea typeface="Tahoma"/>
                <a:cs typeface="Tahoma"/>
              </a:rPr>
              <a:t>Verjure</a:t>
            </a:r>
            <a:r>
              <a:rPr kumimoji="0" lang="en-US" sz="1400" b="0" i="0" u="none" strike="noStrike" kern="1200" cap="none" spc="0" normalizeH="0" baseline="0" noProof="0" dirty="0">
                <a:ln>
                  <a:noFill/>
                </a:ln>
                <a:solidFill>
                  <a:prstClr val="black"/>
                </a:solidFill>
                <a:effectLst/>
                <a:uLnTx/>
                <a:uFillTx/>
                <a:latin typeface="+mj-lt"/>
                <a:ea typeface="Tahoma"/>
                <a:cs typeface="Tahoma"/>
              </a:rPr>
              <a:t> Full Range Spectrum</a:t>
            </a:r>
            <a:r>
              <a:rPr kumimoji="0" lang="en-US" sz="1400" b="1" i="0" u="none" strike="noStrike" kern="1200" cap="none" spc="0" normalizeH="0" baseline="0" noProof="0" dirty="0">
                <a:ln>
                  <a:noFill/>
                </a:ln>
                <a:solidFill>
                  <a:prstClr val="black"/>
                </a:solidFill>
                <a:effectLst/>
                <a:uLnTx/>
                <a:uFillTx/>
                <a:latin typeface="+mj-lt"/>
                <a:ea typeface="+mn-ea"/>
                <a:cs typeface="+mn-cs"/>
              </a:rPr>
              <a:t>®</a:t>
            </a:r>
            <a:r>
              <a:rPr kumimoji="0" lang="en-US" sz="1400" b="0" i="0" u="none" strike="noStrike" kern="1200" cap="none" spc="0" normalizeH="0" baseline="0" noProof="0" dirty="0">
                <a:ln>
                  <a:noFill/>
                </a:ln>
                <a:solidFill>
                  <a:prstClr val="black"/>
                </a:solidFill>
                <a:effectLst/>
                <a:uLnTx/>
                <a:uFillTx/>
                <a:latin typeface="+mj-lt"/>
                <a:ea typeface="Tahoma"/>
                <a:cs typeface="Tahoma"/>
              </a:rPr>
              <a:t> and can be used for cannabis, floriculture, fruits/veggies, greens, </a:t>
            </a:r>
            <a:r>
              <a:rPr kumimoji="0" lang="en-US" sz="1400" b="0" i="0" u="none" strike="noStrike" kern="1200" cap="none" spc="0" normalizeH="0" baseline="0" noProof="0" dirty="0" err="1">
                <a:ln>
                  <a:noFill/>
                </a:ln>
                <a:solidFill>
                  <a:prstClr val="black"/>
                </a:solidFill>
                <a:effectLst/>
                <a:uLnTx/>
                <a:uFillTx/>
                <a:latin typeface="+mj-lt"/>
                <a:ea typeface="Tahoma"/>
                <a:cs typeface="Tahoma"/>
              </a:rPr>
              <a:t>etc</a:t>
            </a: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Applications: Greenhouse, Indoor Cultivation, Vertical</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Powerful Specs and Options</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Up to 1880 </a:t>
            </a:r>
            <a:r>
              <a:rPr kumimoji="0" lang="el-GR" sz="1400" b="0" i="0" u="none" strike="noStrike" kern="1200" cap="none" spc="0" normalizeH="0" baseline="0" noProof="0" dirty="0">
                <a:ln>
                  <a:noFill/>
                </a:ln>
                <a:solidFill>
                  <a:prstClr val="black"/>
                </a:solidFill>
                <a:effectLst/>
                <a:uLnTx/>
                <a:uFillTx/>
                <a:latin typeface="+mj-lt"/>
                <a:ea typeface="Tahoma"/>
                <a:cs typeface="Tahoma"/>
              </a:rPr>
              <a:t>μ</a:t>
            </a:r>
            <a:r>
              <a:rPr kumimoji="0" lang="en-US" sz="1400" b="0" i="0" u="none" strike="noStrike" kern="1200" cap="none" spc="0" normalizeH="0" baseline="0" noProof="0" dirty="0">
                <a:ln>
                  <a:noFill/>
                </a:ln>
                <a:solidFill>
                  <a:prstClr val="black"/>
                </a:solidFill>
                <a:effectLst/>
                <a:uLnTx/>
                <a:uFillTx/>
                <a:latin typeface="+mj-lt"/>
                <a:ea typeface="Tahoma"/>
                <a:cs typeface="Tahoma"/>
              </a:rPr>
              <a:t>mol/s, 2.8 </a:t>
            </a:r>
            <a:r>
              <a:rPr kumimoji="0" lang="el-GR" sz="1400" b="0" i="0" u="none" strike="noStrike" kern="1200" cap="none" spc="0" normalizeH="0" baseline="0" noProof="0" dirty="0">
                <a:ln>
                  <a:noFill/>
                </a:ln>
                <a:solidFill>
                  <a:prstClr val="black"/>
                </a:solidFill>
                <a:effectLst/>
                <a:uLnTx/>
                <a:uFillTx/>
                <a:latin typeface="+mj-lt"/>
                <a:ea typeface="Tahoma"/>
                <a:cs typeface="Tahoma"/>
              </a:rPr>
              <a:t>μ</a:t>
            </a:r>
            <a:r>
              <a:rPr kumimoji="0" lang="en-US" sz="1400" b="0" i="0" u="none" strike="noStrike" kern="1200" cap="none" spc="0" normalizeH="0" baseline="0" noProof="0" dirty="0">
                <a:ln>
                  <a:noFill/>
                </a:ln>
                <a:solidFill>
                  <a:prstClr val="black"/>
                </a:solidFill>
                <a:effectLst/>
                <a:uLnTx/>
                <a:uFillTx/>
                <a:latin typeface="+mj-lt"/>
                <a:ea typeface="Tahoma"/>
                <a:cs typeface="Tahoma"/>
              </a:rPr>
              <a:t>mol/j performance</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Smart mechanical design – IP66, rotatable optics, easy-clean lenses, 6kV Surge</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nLight Air enabled – wireless controls</a:t>
            </a: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1" i="0" u="sng" strike="noStrike" kern="1200" cap="none" spc="0" normalizeH="0" baseline="0" noProof="0" dirty="0">
              <a:ln>
                <a:noFill/>
              </a:ln>
              <a:solidFill>
                <a:prstClr val="black"/>
              </a:solidFill>
              <a:effectLst/>
              <a:uLnTx/>
              <a:uFillTx/>
              <a:latin typeface="+mj-lt"/>
              <a:ea typeface="Tahoma"/>
              <a:cs typeface="Tahoma"/>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Trusted Performance</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Developed using academic-based cannabis research</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Lighting performance independently tested in 3</a:t>
            </a:r>
            <a:r>
              <a:rPr kumimoji="0" lang="en-US" sz="1400" b="0" i="0" u="none" strike="noStrike" kern="1200" cap="none" spc="0" normalizeH="0" baseline="30000" noProof="0" dirty="0">
                <a:ln>
                  <a:noFill/>
                </a:ln>
                <a:solidFill>
                  <a:prstClr val="black"/>
                </a:solidFill>
                <a:effectLst/>
                <a:uLnTx/>
                <a:uFillTx/>
                <a:latin typeface="+mj-lt"/>
                <a:ea typeface="Tahoma"/>
                <a:cs typeface="Tahoma"/>
              </a:rPr>
              <a:t>rd</a:t>
            </a:r>
            <a:r>
              <a:rPr kumimoji="0" lang="en-US" sz="1400" b="0" i="0" u="none" strike="noStrike" kern="1200" cap="none" spc="0" normalizeH="0" baseline="0" noProof="0" dirty="0">
                <a:ln>
                  <a:noFill/>
                </a:ln>
                <a:solidFill>
                  <a:prstClr val="black"/>
                </a:solidFill>
                <a:effectLst/>
                <a:uLnTx/>
                <a:uFillTx/>
                <a:latin typeface="+mj-lt"/>
                <a:ea typeface="Tahoma"/>
                <a:cs typeface="Tahoma"/>
              </a:rPr>
              <a:t> party labs</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100% end-of line-tested to ensure product quality</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Samsung/Osram Tier 1 Horticulture LEDs</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We Can Deliver</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10-day lead time, Produced in N. America</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Scale to support any opportunity</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Customer Support</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Plant/cultivation experts to assist your customer</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Tahoma"/>
                <a:cs typeface="Tahoma"/>
              </a:rPr>
              <a:t>Horticulture lighting layouts/design support</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342900" marR="0" lvl="0"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1" i="0" u="sng" strike="noStrike" kern="1200" cap="none" spc="0" normalizeH="0" baseline="0" noProof="0" dirty="0">
                <a:ln>
                  <a:noFill/>
                </a:ln>
                <a:solidFill>
                  <a:prstClr val="black"/>
                </a:solidFill>
                <a:effectLst/>
                <a:uLnTx/>
                <a:uFillTx/>
                <a:latin typeface="+mj-lt"/>
                <a:ea typeface="Tahoma"/>
                <a:cs typeface="Tahoma"/>
              </a:rPr>
              <a:t>Trusted Partner</a:t>
            </a: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We’ve been in business for over 75 Years, and you can count on us being here for your customer to support the warranty</a:t>
            </a:r>
            <a:endParaRPr kumimoji="0" lang="en-US" sz="1400" b="0" i="0" u="none" strike="noStrike" kern="1200" cap="none" spc="0" normalizeH="0" baseline="0" noProof="0" dirty="0">
              <a:ln>
                <a:noFill/>
              </a:ln>
              <a:solidFill>
                <a:prstClr val="black"/>
              </a:solidFill>
              <a:effectLst/>
              <a:uLnTx/>
              <a:uFillTx/>
              <a:latin typeface="+mj-lt"/>
              <a:ea typeface="Tahoma"/>
              <a:cs typeface="Tahoma"/>
            </a:endParaRPr>
          </a:p>
          <a:p>
            <a:pPr marL="800100" marR="0" lvl="1" indent="-342900" algn="l" defTabSz="914400" rtl="0" eaLnBrk="1" fontAlgn="auto" latinLnBrk="0" hangingPunct="1">
              <a:lnSpc>
                <a:spcPct val="100000"/>
              </a:lnSpc>
              <a:spcBef>
                <a:spcPts val="0"/>
              </a:spcBef>
              <a:spcAft>
                <a:spcPts val="0"/>
              </a:spcAft>
              <a:buClrTx/>
              <a:buSzTx/>
              <a:buFontTx/>
              <a:buAutoNum type="arabicPeriod"/>
              <a:tabLst/>
              <a:defRPr/>
            </a:pPr>
            <a:endParaRPr kumimoji="0" lang="en-US" sz="1400" b="1" i="0" u="sng" strike="noStrike" kern="1200" cap="none" spc="0" normalizeH="0" baseline="0" noProof="0" dirty="0">
              <a:ln>
                <a:noFill/>
              </a:ln>
              <a:solidFill>
                <a:prstClr val="black"/>
              </a:solidFill>
              <a:effectLst/>
              <a:uLnTx/>
              <a:uFillTx/>
              <a:latin typeface="Tahoma"/>
              <a:ea typeface="Tahoma"/>
              <a:cs typeface="Tahoma"/>
            </a:endParaRPr>
          </a:p>
          <a:p>
            <a:pPr marL="457200" lvl="1" indent="0">
              <a:buNone/>
            </a:pPr>
            <a:endParaRPr lang="en-US" sz="2200" dirty="0">
              <a:latin typeface="Avenir Next LT Pro" panose="020B0504020202020204" pitchFamily="34" charset="0"/>
            </a:endParaRPr>
          </a:p>
          <a:p>
            <a:endParaRPr lang="en-US" sz="2600" dirty="0">
              <a:latin typeface="Avenir Next LT Pro" panose="020B0504020202020204" pitchFamily="34" charset="0"/>
            </a:endParaRPr>
          </a:p>
          <a:p>
            <a:endParaRPr lang="en-US" sz="2000" dirty="0">
              <a:latin typeface="Avenir Next LT Pro" panose="020B0504020202020204" pitchFamily="34" charset="0"/>
            </a:endParaRPr>
          </a:p>
          <a:p>
            <a:pPr marL="0" indent="0">
              <a:buNone/>
            </a:pPr>
            <a:endParaRPr lang="en-US" dirty="0"/>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3E28BF7E-61BB-E281-14DE-ADF07EE7C1B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5351482" y="1857653"/>
            <a:ext cx="6759928" cy="2800766"/>
          </a:xfrm>
          <a:prstGeom prst="rect">
            <a:avLst/>
          </a:prstGeom>
        </p:spPr>
      </p:pic>
    </p:spTree>
    <p:custDataLst>
      <p:tags r:id="rId1"/>
    </p:custDataLst>
    <p:extLst>
      <p:ext uri="{BB962C8B-B14F-4D97-AF65-F5344CB8AC3E}">
        <p14:creationId xmlns:p14="http://schemas.microsoft.com/office/powerpoint/2010/main" val="135684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9A28017-5787-CF81-5C67-79E4E59A83A9}"/>
              </a:ext>
            </a:extLst>
          </p:cNvPr>
          <p:cNvSpPr txBox="1"/>
          <p:nvPr/>
        </p:nvSpPr>
        <p:spPr>
          <a:xfrm>
            <a:off x="766355" y="1546393"/>
            <a:ext cx="10075816" cy="3558923"/>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dirty="0">
                <a:solidFill>
                  <a:schemeClr val="accent6"/>
                </a:solidFill>
                <a:effectLst/>
                <a:latin typeface="+mj-lt"/>
                <a:ea typeface="Calibri" panose="020F0502020204030204" pitchFamily="34" charset="0"/>
                <a:cs typeface="Times New Roman" panose="02020603050405020304" pitchFamily="18" charset="0"/>
              </a:rPr>
              <a:t>As a cultivator, you know that one of the most critical inputs into Controlled Environment Agriculture (CEA) is the lighting. </a:t>
            </a:r>
            <a:endParaRPr kumimoji="0" lang="en-US" sz="2000" b="0" i="0" u="none" strike="noStrike" kern="1200" cap="none" spc="0" normalizeH="0" baseline="0" noProof="0" dirty="0">
              <a:ln>
                <a:noFill/>
              </a:ln>
              <a:solidFill>
                <a:schemeClr val="accent6"/>
              </a:solidFill>
              <a:effectLst/>
              <a:uLnTx/>
              <a:uFillTx/>
              <a:latin typeface="+mj-lt"/>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2000" dirty="0">
              <a:solidFill>
                <a:schemeClr val="accent6"/>
              </a:solidFill>
              <a:latin typeface="+mj-lt"/>
              <a:cs typeface="Arial" panose="020B0604020202020204" pitchFamily="34"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dirty="0">
                <a:solidFill>
                  <a:schemeClr val="accent6"/>
                </a:solidFill>
                <a:effectLst/>
                <a:latin typeface="+mj-lt"/>
                <a:ea typeface="Calibri" panose="020F0502020204030204" pitchFamily="34" charset="0"/>
                <a:cs typeface="Times New Roman" panose="02020603050405020304" pitchFamily="18" charset="0"/>
              </a:rPr>
              <a:t>There are endless choices of LED fixtures available at varying price points, performance levels, and marketing claim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800" dirty="0">
              <a:solidFill>
                <a:schemeClr val="accent6"/>
              </a:solidFill>
              <a:latin typeface="+mj-lt"/>
              <a:cs typeface="Times New Roman" panose="02020603050405020304" pitchFamily="18" charset="0"/>
            </a:endParaRPr>
          </a:p>
          <a:p>
            <a:pPr marL="0" indent="0" algn="ctr">
              <a:buNone/>
              <a:defRPr/>
            </a:pPr>
            <a:r>
              <a:rPr lang="en-US" sz="1800" dirty="0">
                <a:solidFill>
                  <a:schemeClr val="accent6"/>
                </a:solidFill>
                <a:latin typeface="+mj-lt"/>
                <a:ea typeface="Calibri" panose="020F0502020204030204" pitchFamily="34" charset="0"/>
                <a:cs typeface="Times New Roman" panose="02020603050405020304" pitchFamily="18" charset="0"/>
              </a:rPr>
              <a:t>H</a:t>
            </a:r>
            <a:r>
              <a:rPr lang="en-US" sz="1800" dirty="0">
                <a:solidFill>
                  <a:schemeClr val="accent6"/>
                </a:solidFill>
                <a:effectLst/>
                <a:latin typeface="+mj-lt"/>
                <a:ea typeface="Calibri" panose="020F0502020204030204" pitchFamily="34" charset="0"/>
                <a:cs typeface="Times New Roman" panose="02020603050405020304" pitchFamily="18" charset="0"/>
              </a:rPr>
              <a:t>ow do you know what lighting choice is the smart move? </a:t>
            </a:r>
            <a:endParaRPr lang="en-US" sz="1800" dirty="0">
              <a:solidFill>
                <a:schemeClr val="accent6"/>
              </a:solidFill>
              <a:latin typeface="+mj-lt"/>
              <a:cs typeface="Times New Roman" panose="02020603050405020304" pitchFamily="18"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US" sz="1800" dirty="0">
              <a:solidFill>
                <a:schemeClr val="accent6"/>
              </a:solidFill>
              <a:latin typeface="+mj-lt"/>
              <a:cs typeface="Times New Roman" panose="02020603050405020304" pitchFamily="18" charset="0"/>
            </a:endParaRP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1800" dirty="0">
                <a:solidFill>
                  <a:schemeClr val="accent6"/>
                </a:solidFill>
                <a:latin typeface="+mj-lt"/>
                <a:cs typeface="Times New Roman" panose="02020603050405020304" pitchFamily="18" charset="0"/>
              </a:rPr>
              <a:t>This guide will help you </a:t>
            </a:r>
            <a:r>
              <a:rPr lang="en-US" sz="1800" i="1" dirty="0">
                <a:solidFill>
                  <a:schemeClr val="accent6"/>
                </a:solidFill>
                <a:latin typeface="+mj-lt"/>
                <a:cs typeface="Times New Roman" panose="02020603050405020304" pitchFamily="18" charset="0"/>
              </a:rPr>
              <a:t>differentiate</a:t>
            </a:r>
            <a:r>
              <a:rPr lang="en-US" sz="1800" dirty="0">
                <a:solidFill>
                  <a:schemeClr val="accent6"/>
                </a:solidFill>
                <a:latin typeface="+mj-lt"/>
                <a:cs typeface="Times New Roman" panose="02020603050405020304" pitchFamily="18" charset="0"/>
              </a:rPr>
              <a:t> LED horticulture fixtures and break down what is important, so you can choose the right light for you and your business.</a:t>
            </a:r>
          </a:p>
          <a:p>
            <a:endParaRPr lang="en-US" dirty="0"/>
          </a:p>
        </p:txBody>
      </p:sp>
      <p:sp>
        <p:nvSpPr>
          <p:cNvPr id="9" name="Rectangle 8">
            <a:extLst>
              <a:ext uri="{FF2B5EF4-FFF2-40B4-BE49-F238E27FC236}">
                <a16:creationId xmlns:a16="http://schemas.microsoft.com/office/drawing/2014/main" id="{54002657-E99B-6878-F743-B988388A571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1379721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D7734E-24FC-A0FB-A8E2-52FBAF01F0E8}"/>
              </a:ext>
            </a:extLst>
          </p:cNvPr>
          <p:cNvSpPr txBox="1"/>
          <p:nvPr/>
        </p:nvSpPr>
        <p:spPr>
          <a:xfrm>
            <a:off x="1071154" y="502731"/>
            <a:ext cx="4354286" cy="4247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Quick Fixture Checklist</a:t>
            </a:r>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Table 10">
            <a:extLst>
              <a:ext uri="{FF2B5EF4-FFF2-40B4-BE49-F238E27FC236}">
                <a16:creationId xmlns:a16="http://schemas.microsoft.com/office/drawing/2014/main" id="{9C5FB5EA-F47F-C0F8-538F-56CE523B0971}"/>
              </a:ext>
            </a:extLst>
          </p:cNvPr>
          <p:cNvGraphicFramePr>
            <a:graphicFrameLocks noGrp="1"/>
          </p:cNvGraphicFramePr>
          <p:nvPr>
            <p:extLst>
              <p:ext uri="{D42A27DB-BD31-4B8C-83A1-F6EECF244321}">
                <p14:modId xmlns:p14="http://schemas.microsoft.com/office/powerpoint/2010/main" val="1290356578"/>
              </p:ext>
            </p:extLst>
          </p:nvPr>
        </p:nvGraphicFramePr>
        <p:xfrm>
          <a:off x="775064" y="1150180"/>
          <a:ext cx="8281328" cy="4573133"/>
        </p:xfrm>
        <a:graphic>
          <a:graphicData uri="http://schemas.openxmlformats.org/drawingml/2006/table">
            <a:tbl>
              <a:tblPr firstRow="1" firstCol="1" bandRow="1"/>
              <a:tblGrid>
                <a:gridCol w="3008208">
                  <a:extLst>
                    <a:ext uri="{9D8B030D-6E8A-4147-A177-3AD203B41FA5}">
                      <a16:colId xmlns:a16="http://schemas.microsoft.com/office/drawing/2014/main" val="3286502576"/>
                    </a:ext>
                  </a:extLst>
                </a:gridCol>
                <a:gridCol w="5273120">
                  <a:extLst>
                    <a:ext uri="{9D8B030D-6E8A-4147-A177-3AD203B41FA5}">
                      <a16:colId xmlns:a16="http://schemas.microsoft.com/office/drawing/2014/main" val="2264029359"/>
                    </a:ext>
                  </a:extLst>
                </a:gridCol>
              </a:tblGrid>
              <a:tr h="185497">
                <a:tc>
                  <a:txBody>
                    <a:bodyPr/>
                    <a:lstStyle/>
                    <a:p>
                      <a:pPr marL="0" marR="0">
                        <a:lnSpc>
                          <a:spcPct val="107000"/>
                        </a:lnSpc>
                        <a:spcBef>
                          <a:spcPts val="0"/>
                        </a:spcBef>
                        <a:spcAft>
                          <a:spcPts val="0"/>
                        </a:spcAft>
                      </a:pPr>
                      <a:r>
                        <a:rPr lang="en-US" sz="1200" b="1" dirty="0">
                          <a:effectLst/>
                          <a:latin typeface="Calibri" panose="020F0502020204030204" pitchFamily="34" charset="0"/>
                          <a:ea typeface="Calibri" panose="020F0502020204030204" pitchFamily="34" charset="0"/>
                          <a:cs typeface="Times New Roman" panose="02020603050405020304" pitchFamily="18" charset="0"/>
                        </a:rPr>
                        <a:t>Consideration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b="1">
                          <a:effectLst/>
                          <a:latin typeface="Calibri" panose="020F0502020204030204" pitchFamily="34" charset="0"/>
                          <a:ea typeface="Calibri" panose="020F0502020204030204" pitchFamily="34" charset="0"/>
                          <a:cs typeface="Times New Roman" panose="02020603050405020304" pitchFamily="18" charset="0"/>
                        </a:rPr>
                        <a:t>Target</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376158"/>
                  </a:ext>
                </a:extLst>
              </a:tr>
              <a:tr h="185497">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ighting company history:</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Years+ of established track record – Is there a customer service number?</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8820553"/>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ighting company resource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Can they run photometric layouts? Can they assist with cultivation questions/tech support question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5201606"/>
                  </a:ext>
                </a:extLst>
              </a:tr>
              <a:tr h="185497">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Fixture warranty:</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5 years, backed by a reputable company</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94164007"/>
                  </a:ext>
                </a:extLst>
              </a:tr>
              <a:tr h="185497">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What fixture components are used?</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Tier 1 name brand LED and Driver components from reputable supplier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6068512"/>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Fixture performance to match 1000 w DE HPS:</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Min of 1800 </a:t>
                      </a:r>
                      <a:r>
                        <a:rPr lang="en-US" sz="1200">
                          <a:effectLst/>
                          <a:latin typeface="Calibri" panose="020F0502020204030204" pitchFamily="34" charset="0"/>
                          <a:ea typeface="Calibri" panose="020F0502020204030204" pitchFamily="34" charset="0"/>
                          <a:cs typeface="Calibri" panose="020F0502020204030204" pitchFamily="34" charset="0"/>
                        </a:rPr>
                        <a:t>µ</a:t>
                      </a:r>
                      <a:r>
                        <a:rPr lang="en-US" sz="1200">
                          <a:effectLst/>
                          <a:latin typeface="Calibri" panose="020F0502020204030204" pitchFamily="34" charset="0"/>
                          <a:ea typeface="Calibri" panose="020F0502020204030204" pitchFamily="34" charset="0"/>
                          <a:cs typeface="Times New Roman" panose="02020603050405020304" pitchFamily="18" charset="0"/>
                        </a:rPr>
                        <a:t>mol/s for 1-1 replacement of 1000 W DE HP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0895738"/>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Fixture efficacy (in a broad spectrum):</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Min of 2.5 </a:t>
                      </a:r>
                      <a:r>
                        <a:rPr lang="en-US" sz="1200" dirty="0">
                          <a:effectLst/>
                          <a:latin typeface="Calibri" panose="020F0502020204030204" pitchFamily="34" charset="0"/>
                          <a:ea typeface="Calibri" panose="020F0502020204030204" pitchFamily="34" charset="0"/>
                          <a:cs typeface="Calibri" panose="020F0502020204030204" pitchFamily="34" charset="0"/>
                        </a:rPr>
                        <a:t>µ</a:t>
                      </a:r>
                      <a:r>
                        <a:rPr lang="en-US" sz="1200" dirty="0">
                          <a:effectLst/>
                          <a:latin typeface="Calibri" panose="020F0502020204030204" pitchFamily="34" charset="0"/>
                          <a:ea typeface="Calibri" panose="020F0502020204030204" pitchFamily="34" charset="0"/>
                          <a:cs typeface="Times New Roman" panose="02020603050405020304" pitchFamily="18" charset="0"/>
                        </a:rPr>
                        <a:t>mol/j</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561261"/>
                  </a:ext>
                </a:extLst>
              </a:tr>
              <a:tr h="379578">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Does the fixture have validated performance?</a:t>
                      </a:r>
                    </a:p>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Is it on DLC? Do they list 3</a:t>
                      </a:r>
                      <a:r>
                        <a:rPr lang="en-US" sz="1200" baseline="30000">
                          <a:effectLst/>
                          <a:latin typeface="Calibri" panose="020F0502020204030204" pitchFamily="34" charset="0"/>
                          <a:ea typeface="Calibri" panose="020F0502020204030204" pitchFamily="34" charset="0"/>
                          <a:cs typeface="Times New Roman" panose="02020603050405020304" pitchFamily="18" charset="0"/>
                        </a:rPr>
                        <a:t>rd</a:t>
                      </a:r>
                      <a:r>
                        <a:rPr lang="en-US" sz="1200">
                          <a:effectLst/>
                          <a:latin typeface="Calibri" panose="020F0502020204030204" pitchFamily="34" charset="0"/>
                          <a:ea typeface="Calibri" panose="020F0502020204030204" pitchFamily="34" charset="0"/>
                          <a:cs typeface="Times New Roman" panose="02020603050405020304" pitchFamily="18" charset="0"/>
                        </a:rPr>
                        <a:t> party lab testing?</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4357082"/>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re the claims backed up by credible sources?</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Is any research cited? Any credible resource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2987377"/>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Is the fixture serviceable?</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erviceable boards and driver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854630"/>
                  </a:ext>
                </a:extLst>
              </a:tr>
              <a:tr h="185497">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Controllability?</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Are wireless controls available? What is the min dim level of the fixture?</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9433469"/>
                  </a:ext>
                </a:extLst>
              </a:tr>
              <a:tr h="201412">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What is the max ambient temp of the fixture?</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UL listed to a min of 35C to 40C (104F)</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4154493"/>
                  </a:ext>
                </a:extLst>
              </a:tr>
              <a:tr h="185497">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What is the PPF maintenance of the fixture?</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Q90&gt; 50,000 Hours, using LM80/TM2</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8027693"/>
                  </a:ext>
                </a:extLst>
              </a:tr>
              <a:tr h="379578">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Does the fixture offer a lens?</a:t>
                      </a:r>
                    </a:p>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Keeps LEDs clean, maximize light output over time</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097844"/>
                  </a:ext>
                </a:extLst>
              </a:tr>
              <a:tr h="379578">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IP rating of the fixture:</a:t>
                      </a:r>
                    </a:p>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IP66 </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213748"/>
                  </a:ext>
                </a:extLst>
              </a:tr>
              <a:tr h="185497">
                <a:tc>
                  <a:txBody>
                    <a:bodyPr/>
                    <a:lstStyle/>
                    <a:p>
                      <a:pPr marL="0" marR="0">
                        <a:lnSpc>
                          <a:spcPct val="107000"/>
                        </a:lnSpc>
                        <a:spcBef>
                          <a:spcPts val="0"/>
                        </a:spcBef>
                        <a:spcAft>
                          <a:spcPts val="0"/>
                        </a:spcAft>
                      </a:pPr>
                      <a:r>
                        <a:rPr lang="en-US" sz="1200">
                          <a:effectLst/>
                          <a:latin typeface="Calibri" panose="020F0502020204030204" pitchFamily="34" charset="0"/>
                          <a:ea typeface="Calibri" panose="020F0502020204030204" pitchFamily="34" charset="0"/>
                          <a:cs typeface="Times New Roman" panose="02020603050405020304" pitchFamily="18" charset="0"/>
                        </a:rPr>
                        <a:t>Fixture lead time:</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If made overseas, it could be many weeks on volume orders</a:t>
                      </a:r>
                    </a:p>
                  </a:txBody>
                  <a:tcPr marL="53891" marR="5389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5767969"/>
                  </a:ext>
                </a:extLst>
              </a:tr>
            </a:tbl>
          </a:graphicData>
        </a:graphic>
      </p:graphicFrame>
    </p:spTree>
    <p:custDataLst>
      <p:tags r:id="rId1"/>
    </p:custDataLst>
    <p:extLst>
      <p:ext uri="{BB962C8B-B14F-4D97-AF65-F5344CB8AC3E}">
        <p14:creationId xmlns:p14="http://schemas.microsoft.com/office/powerpoint/2010/main" val="47657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96983" y="1182304"/>
            <a:ext cx="5066211" cy="4493391"/>
          </a:xfrm>
        </p:spPr>
        <p:txBody>
          <a:bodyPr>
            <a:normAutofit/>
          </a:bodyPr>
          <a:lstStyle/>
          <a:p>
            <a:r>
              <a:rPr lang="en-US" sz="2000" dirty="0">
                <a:latin typeface="+mj-lt"/>
              </a:rPr>
              <a:t>The Lighting Manufacturer</a:t>
            </a:r>
          </a:p>
          <a:p>
            <a:r>
              <a:rPr lang="en-US" sz="2000" dirty="0">
                <a:latin typeface="+mj-lt"/>
              </a:rPr>
              <a:t>Basic Fixture Design</a:t>
            </a:r>
          </a:p>
          <a:p>
            <a:r>
              <a:rPr lang="en-US" sz="2000" dirty="0">
                <a:latin typeface="+mj-lt"/>
              </a:rPr>
              <a:t>Fixture Components</a:t>
            </a:r>
          </a:p>
          <a:p>
            <a:r>
              <a:rPr lang="en-US" sz="2000" dirty="0">
                <a:latin typeface="+mj-lt"/>
              </a:rPr>
              <a:t>LEDs, Drivers</a:t>
            </a:r>
          </a:p>
          <a:p>
            <a:r>
              <a:rPr lang="en-US" sz="2000" dirty="0">
                <a:latin typeface="+mj-lt"/>
              </a:rPr>
              <a:t>Overall Fixture Design</a:t>
            </a:r>
          </a:p>
          <a:p>
            <a:r>
              <a:rPr lang="en-US" sz="2000" dirty="0">
                <a:latin typeface="+mj-lt"/>
              </a:rPr>
              <a:t>Design Light Consortium Listed</a:t>
            </a:r>
          </a:p>
          <a:p>
            <a:r>
              <a:rPr lang="en-US" sz="2000" dirty="0">
                <a:latin typeface="+mj-lt"/>
              </a:rPr>
              <a:t>Fixture Performance (Output/efficacy)</a:t>
            </a:r>
          </a:p>
          <a:p>
            <a:r>
              <a:rPr lang="en-US" sz="2000" dirty="0">
                <a:latin typeface="+mj-lt"/>
              </a:rPr>
              <a:t>Controls</a:t>
            </a:r>
          </a:p>
          <a:p>
            <a:r>
              <a:rPr lang="en-US" sz="2000" dirty="0">
                <a:latin typeface="+mj-lt"/>
              </a:rPr>
              <a:t>Spectral Distribution</a:t>
            </a:r>
          </a:p>
          <a:p>
            <a:endParaRPr lang="en-US" dirty="0"/>
          </a:p>
          <a:p>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896983" y="566057"/>
            <a:ext cx="7341326" cy="738664"/>
          </a:xfrm>
          <a:prstGeom prst="rect">
            <a:avLst/>
          </a:prstGeom>
          <a:noFill/>
        </p:spPr>
        <p:txBody>
          <a:bodyPr wrap="square" rtlCol="0">
            <a:spAutoFit/>
          </a:bodyPr>
          <a:lstStyle/>
          <a:p>
            <a:r>
              <a:rPr lang="en-US" sz="2400" b="1" dirty="0">
                <a:latin typeface="+mj-lt"/>
                <a:cs typeface="Times New Roman" panose="02020603050405020304" pitchFamily="18" charset="0"/>
              </a:rPr>
              <a:t>LED Horticulture Lighting – Comparison Points</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603023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96983" y="1182304"/>
            <a:ext cx="8621485" cy="3862601"/>
          </a:xfrm>
        </p:spPr>
        <p:txBody>
          <a:bodyPr>
            <a:normAutofit/>
          </a:bodyPr>
          <a:lstStyle/>
          <a:p>
            <a:r>
              <a:rPr lang="en-US" sz="2000" dirty="0">
                <a:latin typeface="+mj-lt"/>
              </a:rPr>
              <a:t>How established/reputable is this lighting company?</a:t>
            </a:r>
          </a:p>
          <a:p>
            <a:r>
              <a:rPr lang="en-US" sz="2000" dirty="0">
                <a:latin typeface="+mj-lt"/>
              </a:rPr>
              <a:t>How long have these companies been making LED fixtures? </a:t>
            </a:r>
          </a:p>
          <a:p>
            <a:r>
              <a:rPr lang="en-US" sz="2000" dirty="0">
                <a:latin typeface="+mj-lt"/>
              </a:rPr>
              <a:t>Will this company be around to honor the product warranty?</a:t>
            </a:r>
          </a:p>
          <a:p>
            <a:r>
              <a:rPr lang="en-US" sz="2000" dirty="0">
                <a:latin typeface="+mj-lt"/>
              </a:rPr>
              <a:t>Are you confident this company will pick up the phone if you have issues?</a:t>
            </a:r>
          </a:p>
          <a:p>
            <a:r>
              <a:rPr lang="en-US" sz="2000" dirty="0">
                <a:latin typeface="+mj-lt"/>
              </a:rPr>
              <a:t>Do the products from this company perform as claimed? How do you know?</a:t>
            </a:r>
          </a:p>
          <a:p>
            <a:r>
              <a:rPr lang="en-US" sz="2000" dirty="0">
                <a:latin typeface="+mj-lt"/>
              </a:rPr>
              <a:t>Where do the products come from? </a:t>
            </a:r>
          </a:p>
          <a:p>
            <a:r>
              <a:rPr lang="en-US" sz="2000" dirty="0">
                <a:latin typeface="+mj-lt"/>
              </a:rPr>
              <a:t>Is there research/grower’s input driving the development of the products? </a:t>
            </a:r>
          </a:p>
          <a:p>
            <a:pPr marL="0" indent="0">
              <a:buNone/>
            </a:pPr>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753291" y="480573"/>
            <a:ext cx="4990012"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ea typeface="Calibri" panose="020F0502020204030204" pitchFamily="34" charset="0"/>
                <a:cs typeface="Times New Roman" panose="02020603050405020304" pitchFamily="18" charset="0"/>
              </a:rPr>
              <a:t>Assess the Lighting Company</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9A8679A-722D-BC01-014D-4F19D7B551C9}"/>
              </a:ext>
            </a:extLst>
          </p:cNvPr>
          <p:cNvSpPr txBox="1"/>
          <p:nvPr/>
        </p:nvSpPr>
        <p:spPr>
          <a:xfrm>
            <a:off x="3248297" y="5246018"/>
            <a:ext cx="4674325" cy="1001236"/>
          </a:xfrm>
          <a:prstGeom prst="rect">
            <a:avLst/>
          </a:prstGeom>
          <a:solidFill>
            <a:srgbClr val="70AD47">
              <a:lumMod val="40000"/>
              <a:lumOff val="60000"/>
            </a:srgbClr>
          </a:solidFill>
        </p:spPr>
        <p:txBody>
          <a:bodyPr wrap="square">
            <a:sp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400" i="0" u="none" strike="noStrike" kern="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rPr>
              <a:t>While a bargain price from a largely unknown entity may be attractive, it may leave you in a serious jam down the road. Especially if they are no longer in business.</a:t>
            </a:r>
          </a:p>
        </p:txBody>
      </p:sp>
    </p:spTree>
    <p:custDataLst>
      <p:tags r:id="rId1"/>
    </p:custDataLst>
    <p:extLst>
      <p:ext uri="{BB962C8B-B14F-4D97-AF65-F5344CB8AC3E}">
        <p14:creationId xmlns:p14="http://schemas.microsoft.com/office/powerpoint/2010/main" val="3434286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D7734E-24FC-A0FB-A8E2-52FBAF01F0E8}"/>
              </a:ext>
            </a:extLst>
          </p:cNvPr>
          <p:cNvSpPr txBox="1"/>
          <p:nvPr/>
        </p:nvSpPr>
        <p:spPr>
          <a:xfrm>
            <a:off x="373880" y="722296"/>
            <a:ext cx="5830389"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Basic Fixture Design Components</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Picture 41" descr="Diagram&#10;&#10;Description automatically generated">
            <a:extLst>
              <a:ext uri="{FF2B5EF4-FFF2-40B4-BE49-F238E27FC236}">
                <a16:creationId xmlns:a16="http://schemas.microsoft.com/office/drawing/2014/main" id="{6740D76F-4874-22E8-F300-8565218D6186}"/>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824445" y="1858941"/>
            <a:ext cx="7362510" cy="3876491"/>
          </a:xfrm>
          <a:prstGeom prst="rect">
            <a:avLst/>
          </a:prstGeom>
        </p:spPr>
      </p:pic>
    </p:spTree>
    <p:custDataLst>
      <p:tags r:id="rId1"/>
    </p:custDataLst>
    <p:extLst>
      <p:ext uri="{BB962C8B-B14F-4D97-AF65-F5344CB8AC3E}">
        <p14:creationId xmlns:p14="http://schemas.microsoft.com/office/powerpoint/2010/main" val="3416523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677092" y="1182304"/>
            <a:ext cx="8580119" cy="3862601"/>
          </a:xfrm>
        </p:spPr>
        <p:txBody>
          <a:bodyPr>
            <a:normAutofit/>
          </a:bodyPr>
          <a:lstStyle/>
          <a:p>
            <a:pPr marL="0" indent="0">
              <a:buNone/>
            </a:pPr>
            <a:r>
              <a:rPr lang="en-US" sz="2000" dirty="0">
                <a:latin typeface="+mj-lt"/>
              </a:rPr>
              <a:t>Many lighting fixtures may look similar from an aesthetic standpoint, there can be a huge variation in the quality of components used in the light that can impact the performance, reliability, and longevity.</a:t>
            </a:r>
          </a:p>
          <a:p>
            <a:endParaRPr lang="en-US" sz="2000" dirty="0">
              <a:latin typeface="+mj-lt"/>
            </a:endParaRPr>
          </a:p>
          <a:p>
            <a:r>
              <a:rPr lang="en-US" sz="2000" dirty="0">
                <a:latin typeface="+mj-lt"/>
              </a:rPr>
              <a:t>LEDs</a:t>
            </a:r>
          </a:p>
          <a:p>
            <a:r>
              <a:rPr lang="en-US" sz="2000" dirty="0">
                <a:latin typeface="+mj-lt"/>
              </a:rPr>
              <a:t>Drivers</a:t>
            </a:r>
          </a:p>
          <a:p>
            <a:pPr marL="0" indent="0">
              <a:buNone/>
            </a:pPr>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753291" y="480573"/>
            <a:ext cx="4990012"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Components</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5D4C77BF-6D2A-134A-3FC0-5DB0E4257EEB}"/>
              </a:ext>
            </a:extLst>
          </p:cNvPr>
          <p:cNvPicPr>
            <a:picLocks noChangeAspect="1"/>
          </p:cNvPicPr>
          <p:nvPr/>
        </p:nvPicPr>
        <p:blipFill>
          <a:blip r:embed="rId3"/>
          <a:stretch>
            <a:fillRect/>
          </a:stretch>
        </p:blipFill>
        <p:spPr>
          <a:xfrm>
            <a:off x="2934789" y="4321258"/>
            <a:ext cx="2872300" cy="1354438"/>
          </a:xfrm>
          <a:prstGeom prst="rect">
            <a:avLst/>
          </a:prstGeom>
        </p:spPr>
      </p:pic>
      <p:pic>
        <p:nvPicPr>
          <p:cNvPr id="9" name="Picture 8">
            <a:extLst>
              <a:ext uri="{FF2B5EF4-FFF2-40B4-BE49-F238E27FC236}">
                <a16:creationId xmlns:a16="http://schemas.microsoft.com/office/drawing/2014/main" id="{B88BFE2D-4E61-E22D-D98B-8A6C69FD8B16}"/>
              </a:ext>
            </a:extLst>
          </p:cNvPr>
          <p:cNvPicPr>
            <a:picLocks noChangeAspect="1"/>
          </p:cNvPicPr>
          <p:nvPr/>
        </p:nvPicPr>
        <p:blipFill>
          <a:blip r:embed="rId4"/>
          <a:stretch>
            <a:fillRect/>
          </a:stretch>
        </p:blipFill>
        <p:spPr>
          <a:xfrm>
            <a:off x="6019691" y="4419352"/>
            <a:ext cx="2280806" cy="1207273"/>
          </a:xfrm>
          <a:prstGeom prst="rect">
            <a:avLst/>
          </a:prstGeom>
        </p:spPr>
      </p:pic>
    </p:spTree>
    <p:custDataLst>
      <p:tags r:id="rId1"/>
    </p:custDataLst>
    <p:extLst>
      <p:ext uri="{BB962C8B-B14F-4D97-AF65-F5344CB8AC3E}">
        <p14:creationId xmlns:p14="http://schemas.microsoft.com/office/powerpoint/2010/main" val="372245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896983" y="1226620"/>
            <a:ext cx="9535886" cy="3862601"/>
          </a:xfrm>
        </p:spPr>
        <p:txBody>
          <a:bodyPr>
            <a:normAutofit/>
          </a:bodyPr>
          <a:lstStyle/>
          <a:p>
            <a:r>
              <a:rPr lang="en-US" sz="2000" dirty="0">
                <a:latin typeface="+mj-lt"/>
              </a:rPr>
              <a:t>There is a huge variation in the quality of horticulture LEDs on the market</a:t>
            </a:r>
          </a:p>
          <a:p>
            <a:r>
              <a:rPr lang="en-US" sz="2000" dirty="0">
                <a:latin typeface="+mj-lt"/>
              </a:rPr>
              <a:t>The design and quality of the LED will impact light output, efficacy, and Photon Flux Maintenance (Q90) </a:t>
            </a:r>
          </a:p>
          <a:p>
            <a:r>
              <a:rPr lang="en-US" sz="2000" dirty="0">
                <a:latin typeface="+mj-lt"/>
              </a:rPr>
              <a:t>Choose a product that uses the latest LEDs from trusted “Tier 1” suppliers with established track records Samsung, Osram, Nichia, etc.</a:t>
            </a:r>
          </a:p>
          <a:p>
            <a:r>
              <a:rPr lang="en-US" sz="2000" dirty="0">
                <a:latin typeface="+mj-lt"/>
              </a:rPr>
              <a:t>Some lighting products are even reported to use “look-alike” generic LEDs – beware!</a:t>
            </a:r>
          </a:p>
          <a:p>
            <a:pPr marL="0" indent="0">
              <a:buNone/>
            </a:pPr>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753291" y="480573"/>
            <a:ext cx="4990012"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ea typeface="Calibri" panose="020F0502020204030204" pitchFamily="34" charset="0"/>
                <a:cs typeface="Times New Roman" panose="02020603050405020304" pitchFamily="18" charset="0"/>
              </a:rPr>
              <a:t>Fixture Components – LED</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C9A8679A-722D-BC01-014D-4F19D7B551C9}"/>
              </a:ext>
            </a:extLst>
          </p:cNvPr>
          <p:cNvSpPr txBox="1"/>
          <p:nvPr/>
        </p:nvSpPr>
        <p:spPr>
          <a:xfrm>
            <a:off x="1915885" y="4860656"/>
            <a:ext cx="8061959" cy="770724"/>
          </a:xfrm>
          <a:prstGeom prst="rect">
            <a:avLst/>
          </a:prstGeom>
          <a:solidFill>
            <a:srgbClr val="70AD47">
              <a:lumMod val="40000"/>
              <a:lumOff val="60000"/>
            </a:srgbClr>
          </a:solidFill>
        </p:spPr>
        <p:txBody>
          <a:bodyPr wrap="square">
            <a:sp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400" i="0" u="none" strike="noStrike" kern="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rPr>
              <a:t>The higher quality LEDs have a higher cost, but can offer superior performance, robustness, lifetime, and thermal resistance. Be weary of products that claim huge performance at a “too good to be true” price!</a:t>
            </a:r>
          </a:p>
        </p:txBody>
      </p:sp>
      <p:pic>
        <p:nvPicPr>
          <p:cNvPr id="7" name="Picture 6">
            <a:extLst>
              <a:ext uri="{FF2B5EF4-FFF2-40B4-BE49-F238E27FC236}">
                <a16:creationId xmlns:a16="http://schemas.microsoft.com/office/drawing/2014/main" id="{DE32770B-AC4A-6200-D98B-7C6BBCB99A5F}"/>
              </a:ext>
            </a:extLst>
          </p:cNvPr>
          <p:cNvPicPr>
            <a:picLocks noChangeAspect="1"/>
          </p:cNvPicPr>
          <p:nvPr/>
        </p:nvPicPr>
        <p:blipFill>
          <a:blip r:embed="rId3"/>
          <a:stretch>
            <a:fillRect/>
          </a:stretch>
        </p:blipFill>
        <p:spPr>
          <a:xfrm>
            <a:off x="5615680" y="193576"/>
            <a:ext cx="1335654" cy="976219"/>
          </a:xfrm>
          <a:prstGeom prst="rect">
            <a:avLst/>
          </a:prstGeom>
        </p:spPr>
      </p:pic>
    </p:spTree>
    <p:custDataLst>
      <p:tags r:id="rId1"/>
    </p:custDataLst>
    <p:extLst>
      <p:ext uri="{BB962C8B-B14F-4D97-AF65-F5344CB8AC3E}">
        <p14:creationId xmlns:p14="http://schemas.microsoft.com/office/powerpoint/2010/main" val="329951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6D7734E-24FC-A0FB-A8E2-52FBAF01F0E8}"/>
              </a:ext>
            </a:extLst>
          </p:cNvPr>
          <p:cNvSpPr txBox="1"/>
          <p:nvPr/>
        </p:nvSpPr>
        <p:spPr>
          <a:xfrm>
            <a:off x="373880" y="722296"/>
            <a:ext cx="5830389"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Components – LED</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3BC3B222-912D-562C-2010-D892DE27C432}"/>
              </a:ext>
            </a:extLst>
          </p:cNvPr>
          <p:cNvGrpSpPr/>
          <p:nvPr/>
        </p:nvGrpSpPr>
        <p:grpSpPr>
          <a:xfrm>
            <a:off x="853627" y="1580781"/>
            <a:ext cx="4870894" cy="4193931"/>
            <a:chOff x="812849" y="1352249"/>
            <a:chExt cx="4870894" cy="4193931"/>
          </a:xfrm>
        </p:grpSpPr>
        <p:pic>
          <p:nvPicPr>
            <p:cNvPr id="2" name="Picture 1" descr="Chart, box and whisker chart&#10;&#10;Description automatically generated">
              <a:extLst>
                <a:ext uri="{FF2B5EF4-FFF2-40B4-BE49-F238E27FC236}">
                  <a16:creationId xmlns:a16="http://schemas.microsoft.com/office/drawing/2014/main" id="{D49E7692-B5ED-F1C2-A6C4-4F1D4018FDDE}"/>
                </a:ext>
              </a:extLst>
            </p:cNvPr>
            <p:cNvPicPr>
              <a:picLocks noChangeAspect="1"/>
            </p:cNvPicPr>
            <p:nvPr/>
          </p:nvPicPr>
          <p:blipFill>
            <a:blip r:embed="rId3"/>
            <a:stretch>
              <a:fillRect/>
            </a:stretch>
          </p:blipFill>
          <p:spPr>
            <a:xfrm>
              <a:off x="812850" y="1352249"/>
              <a:ext cx="4870893" cy="2209557"/>
            </a:xfrm>
            <a:prstGeom prst="rect">
              <a:avLst/>
            </a:prstGeom>
            <a:ln>
              <a:solidFill>
                <a:schemeClr val="tx1"/>
              </a:solidFill>
            </a:ln>
          </p:spPr>
        </p:pic>
        <p:pic>
          <p:nvPicPr>
            <p:cNvPr id="7" name="Picture 6">
              <a:extLst>
                <a:ext uri="{FF2B5EF4-FFF2-40B4-BE49-F238E27FC236}">
                  <a16:creationId xmlns:a16="http://schemas.microsoft.com/office/drawing/2014/main" id="{12321BBB-275E-BAFC-A95D-3E44A0DFD6B3}"/>
                </a:ext>
              </a:extLst>
            </p:cNvPr>
            <p:cNvPicPr>
              <a:picLocks noChangeAspect="1"/>
            </p:cNvPicPr>
            <p:nvPr/>
          </p:nvPicPr>
          <p:blipFill>
            <a:blip r:embed="rId4"/>
            <a:stretch>
              <a:fillRect/>
            </a:stretch>
          </p:blipFill>
          <p:spPr>
            <a:xfrm>
              <a:off x="812849" y="3561806"/>
              <a:ext cx="4870893" cy="1984374"/>
            </a:xfrm>
            <a:prstGeom prst="rect">
              <a:avLst/>
            </a:prstGeom>
            <a:ln>
              <a:solidFill>
                <a:schemeClr val="tx1"/>
              </a:solidFill>
            </a:ln>
          </p:spPr>
        </p:pic>
      </p:grpSp>
      <p:sp>
        <p:nvSpPr>
          <p:cNvPr id="10" name="TextBox 9">
            <a:extLst>
              <a:ext uri="{FF2B5EF4-FFF2-40B4-BE49-F238E27FC236}">
                <a16:creationId xmlns:a16="http://schemas.microsoft.com/office/drawing/2014/main" id="{F58CB9E6-5A7F-E487-8DA9-E97C30C8C123}"/>
              </a:ext>
            </a:extLst>
          </p:cNvPr>
          <p:cNvSpPr txBox="1"/>
          <p:nvPr/>
        </p:nvSpPr>
        <p:spPr>
          <a:xfrm>
            <a:off x="6204268" y="2659471"/>
            <a:ext cx="3784463" cy="1369349"/>
          </a:xfrm>
          <a:prstGeom prst="rect">
            <a:avLst/>
          </a:prstGeom>
          <a:solidFill>
            <a:srgbClr val="70AD47">
              <a:lumMod val="40000"/>
              <a:lumOff val="60000"/>
            </a:srgbClr>
          </a:solidFill>
        </p:spPr>
        <p:txBody>
          <a:bodyPr wrap="square">
            <a:sp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200" i="0" u="none" strike="noStrike" kern="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rPr>
              <a:t>Examples of differences in LED chemical resistance and light output between Samsung and another LED</a:t>
            </a:r>
          </a:p>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1200" i="0" u="none" strike="noStrike" kern="0" cap="none" spc="0" normalizeH="0" baseline="0" noProof="0" dirty="0">
                <a:ln>
                  <a:noFill/>
                </a:ln>
                <a:solidFill>
                  <a:prstClr val="black"/>
                </a:solidFill>
                <a:effectLst/>
                <a:uLnTx/>
                <a:uFillTx/>
                <a:latin typeface="+mj-lt"/>
                <a:ea typeface="Calibri" panose="020F0502020204030204" pitchFamily="34" charset="0"/>
                <a:cs typeface="Times New Roman" panose="02020603050405020304" pitchFamily="18" charset="0"/>
              </a:rPr>
              <a:t>Depending on which LED is used, the light output could very greatly over time in real world conditions</a:t>
            </a:r>
          </a:p>
        </p:txBody>
      </p:sp>
    </p:spTree>
    <p:custDataLst>
      <p:tags r:id="rId1"/>
    </p:custDataLst>
    <p:extLst>
      <p:ext uri="{BB962C8B-B14F-4D97-AF65-F5344CB8AC3E}">
        <p14:creationId xmlns:p14="http://schemas.microsoft.com/office/powerpoint/2010/main" val="178006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90377DB-61B5-58B3-78FB-F115060D4A11}"/>
              </a:ext>
            </a:extLst>
          </p:cNvPr>
          <p:cNvSpPr>
            <a:spLocks noGrp="1"/>
          </p:cNvSpPr>
          <p:nvPr>
            <p:ph idx="1"/>
          </p:nvPr>
        </p:nvSpPr>
        <p:spPr>
          <a:xfrm>
            <a:off x="677091" y="1182304"/>
            <a:ext cx="9764485" cy="4582769"/>
          </a:xfrm>
        </p:spPr>
        <p:txBody>
          <a:bodyPr>
            <a:normAutofit/>
          </a:bodyPr>
          <a:lstStyle/>
          <a:p>
            <a:r>
              <a:rPr lang="en-US" sz="2000" dirty="0">
                <a:latin typeface="+mj-lt"/>
              </a:rPr>
              <a:t>90% of lighting failures are driver-related</a:t>
            </a:r>
          </a:p>
          <a:p>
            <a:r>
              <a:rPr lang="en-US" sz="2000" dirty="0">
                <a:latin typeface="+mj-lt"/>
              </a:rPr>
              <a:t>Common causes of failure can be electrical overstress, surge events, harmonics, etc. (dirty power)</a:t>
            </a:r>
          </a:p>
          <a:p>
            <a:r>
              <a:rPr lang="en-US" sz="2000" dirty="0">
                <a:latin typeface="+mj-lt"/>
              </a:rPr>
              <a:t>Look for a fixture that offers 6kV Surge Protection to ANSI Standards</a:t>
            </a:r>
          </a:p>
          <a:p>
            <a:r>
              <a:rPr lang="en-US" sz="2000" dirty="0">
                <a:latin typeface="+mj-lt"/>
              </a:rPr>
              <a:t>Look for a fixture where the driver is designed to be replaced/serviced! </a:t>
            </a:r>
          </a:p>
          <a:p>
            <a:r>
              <a:rPr lang="en-US" sz="2000" dirty="0">
                <a:latin typeface="+mj-lt"/>
              </a:rPr>
              <a:t>Considering a fixture that is listed on DLC will ensure you are getting minimal acceptable driver life</a:t>
            </a:r>
          </a:p>
          <a:p>
            <a:r>
              <a:rPr lang="en-US" sz="2000" dirty="0">
                <a:latin typeface="+mj-lt"/>
              </a:rPr>
              <a:t>Commodity grade fixtures may use commodity grade drivers</a:t>
            </a:r>
          </a:p>
          <a:p>
            <a:r>
              <a:rPr lang="en-US" sz="2000" dirty="0">
                <a:latin typeface="+mj-lt"/>
              </a:rPr>
              <a:t>Note – some fixtures may have drivers that only allow for min dim levels of 40-50%</a:t>
            </a:r>
          </a:p>
          <a:p>
            <a:pPr marL="0" indent="0">
              <a:buNone/>
            </a:pPr>
            <a:endParaRPr lang="en-US" dirty="0"/>
          </a:p>
        </p:txBody>
      </p:sp>
      <p:sp>
        <p:nvSpPr>
          <p:cNvPr id="4" name="TextBox 3">
            <a:extLst>
              <a:ext uri="{FF2B5EF4-FFF2-40B4-BE49-F238E27FC236}">
                <a16:creationId xmlns:a16="http://schemas.microsoft.com/office/drawing/2014/main" id="{A6D7734E-24FC-A0FB-A8E2-52FBAF01F0E8}"/>
              </a:ext>
            </a:extLst>
          </p:cNvPr>
          <p:cNvSpPr txBox="1"/>
          <p:nvPr/>
        </p:nvSpPr>
        <p:spPr>
          <a:xfrm>
            <a:off x="753291" y="480573"/>
            <a:ext cx="4990012" cy="7017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sz="2400" b="1" dirty="0">
                <a:latin typeface="Proxima Nova Light" panose="02000506030000020004"/>
                <a:cs typeface="Times New Roman" panose="02020603050405020304" pitchFamily="18" charset="0"/>
              </a:rPr>
              <a:t>Fixture Components - Drivers</a:t>
            </a:r>
          </a:p>
          <a:p>
            <a:endParaRPr lang="en-US" dirty="0"/>
          </a:p>
        </p:txBody>
      </p:sp>
      <p:sp>
        <p:nvSpPr>
          <p:cNvPr id="6" name="Rectangle 5">
            <a:extLst>
              <a:ext uri="{FF2B5EF4-FFF2-40B4-BE49-F238E27FC236}">
                <a16:creationId xmlns:a16="http://schemas.microsoft.com/office/drawing/2014/main" id="{4F6964A8-B3BD-47E2-FC29-3E6A3D3F298C}"/>
              </a:ext>
            </a:extLst>
          </p:cNvPr>
          <p:cNvSpPr/>
          <p:nvPr/>
        </p:nvSpPr>
        <p:spPr>
          <a:xfrm>
            <a:off x="1001486" y="0"/>
            <a:ext cx="2246811" cy="1045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16668F0-3E21-1D62-784E-0CC4FA2DC959}"/>
              </a:ext>
            </a:extLst>
          </p:cNvPr>
          <p:cNvPicPr>
            <a:picLocks noChangeAspect="1"/>
          </p:cNvPicPr>
          <p:nvPr/>
        </p:nvPicPr>
        <p:blipFill>
          <a:blip r:embed="rId3"/>
          <a:stretch>
            <a:fillRect/>
          </a:stretch>
        </p:blipFill>
        <p:spPr>
          <a:xfrm>
            <a:off x="4520272" y="4783078"/>
            <a:ext cx="3300026" cy="1746765"/>
          </a:xfrm>
          <a:prstGeom prst="rect">
            <a:avLst/>
          </a:prstGeom>
        </p:spPr>
      </p:pic>
    </p:spTree>
    <p:custDataLst>
      <p:tags r:id="rId1"/>
    </p:custDataLst>
    <p:extLst>
      <p:ext uri="{BB962C8B-B14F-4D97-AF65-F5344CB8AC3E}">
        <p14:creationId xmlns:p14="http://schemas.microsoft.com/office/powerpoint/2010/main" val="378648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THEME 1 - MAIN" val="u8kU9P3J"/>
  <p:tag name="EE4P_STYLE_ID" val="6cd991bf-f022-4378-96e7-2c338aeb3f5a"/>
  <p:tag name="ARTICULATE_DESIGN_ID_THEME 2 - CIRCLES" val="p4kyIC2M"/>
  <p:tag name="ARTICULATE_PROJECT_OPEN" val="0"/>
  <p:tag name="ARTICULATE_SLIDE_COUNT" val="2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eme 2 - Circles">
  <a:themeElements>
    <a:clrScheme name="AB Colors">
      <a:dk1>
        <a:srgbClr val="495965"/>
      </a:dk1>
      <a:lt1>
        <a:srgbClr val="FFFFFF"/>
      </a:lt1>
      <a:dk2>
        <a:srgbClr val="495965"/>
      </a:dk2>
      <a:lt2>
        <a:srgbClr val="FFFFFF"/>
      </a:lt2>
      <a:accent1>
        <a:srgbClr val="007239"/>
      </a:accent1>
      <a:accent2>
        <a:srgbClr val="495965"/>
      </a:accent2>
      <a:accent3>
        <a:srgbClr val="EDF0F0"/>
      </a:accent3>
      <a:accent4>
        <a:srgbClr val="004D32"/>
      </a:accent4>
      <a:accent5>
        <a:srgbClr val="409F68"/>
      </a:accent5>
      <a:accent6>
        <a:srgbClr val="000000"/>
      </a:accent6>
      <a:hlink>
        <a:srgbClr val="0099D8"/>
      </a:hlink>
      <a:folHlink>
        <a:srgbClr val="687370"/>
      </a:folHlink>
    </a:clrScheme>
    <a:fontScheme name="AB Template">
      <a:majorFont>
        <a:latin typeface="Avenir Next LT Pro"/>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cuity Brands Template_2022.pptx" id="{B2DD1A5C-B3BF-4DB0-84B7-A3EB775CDD14}" vid="{B9B5771E-127E-4AE5-9FD3-D54C0A4B631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5B898183FCF004C8EA0DB47FFFA5556" ma:contentTypeVersion="15" ma:contentTypeDescription="Create a new document." ma:contentTypeScope="" ma:versionID="dde9554b42c63d4eca91dee730adb525">
  <xsd:schema xmlns:xsd="http://www.w3.org/2001/XMLSchema" xmlns:xs="http://www.w3.org/2001/XMLSchema" xmlns:p="http://schemas.microsoft.com/office/2006/metadata/properties" xmlns:ns1="http://schemas.microsoft.com/sharepoint/v3" xmlns:ns2="1b8b3b62-5ef1-4d02-aa82-568b3df3ec1f" xmlns:ns3="170c2666-62a3-49d6-91fc-09b41b4914e9" targetNamespace="http://schemas.microsoft.com/office/2006/metadata/properties" ma:root="true" ma:fieldsID="edd2631635f43b1abc5b386221cae085" ns1:_="" ns2:_="" ns3:_="">
    <xsd:import namespace="http://schemas.microsoft.com/sharepoint/v3"/>
    <xsd:import namespace="1b8b3b62-5ef1-4d02-aa82-568b3df3ec1f"/>
    <xsd:import namespace="170c2666-62a3-49d6-91fc-09b41b4914e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1:_ip_UnifiedCompliancePolicyProperties" minOccurs="0"/>
                <xsd:element ref="ns1:_ip_UnifiedCompliancePolicyUIAction"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8b3b62-5ef1-4d02-aa82-568b3df3ec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0c2666-62a3-49d6-91fc-09b41b4914e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8070CE8-5BC9-42A3-B0B8-C69DD3D4AAE6}">
  <ds:schemaRefs>
    <ds:schemaRef ds:uri="http://schemas.microsoft.com/sharepoint/v3/contenttype/forms"/>
  </ds:schemaRefs>
</ds:datastoreItem>
</file>

<file path=customXml/itemProps2.xml><?xml version="1.0" encoding="utf-8"?>
<ds:datastoreItem xmlns:ds="http://schemas.openxmlformats.org/officeDocument/2006/customXml" ds:itemID="{71B8C005-4298-422E-83AE-057F156DF975}">
  <ds:schemaRefs>
    <ds:schemaRef ds:uri="http://schemas.microsoft.com/office/2006/documentManagement/types"/>
    <ds:schemaRef ds:uri="1b8b3b62-5ef1-4d02-aa82-568b3df3ec1f"/>
    <ds:schemaRef ds:uri="http://purl.org/dc/elements/1.1/"/>
    <ds:schemaRef ds:uri="http://schemas.microsoft.com/office/infopath/2007/PartnerControls"/>
    <ds:schemaRef ds:uri="http://www.w3.org/XML/1998/namespace"/>
    <ds:schemaRef ds:uri="http://schemas.openxmlformats.org/package/2006/metadata/core-properties"/>
    <ds:schemaRef ds:uri="http://schemas.microsoft.com/office/2006/metadata/properties"/>
    <ds:schemaRef ds:uri="170c2666-62a3-49d6-91fc-09b41b4914e9"/>
    <ds:schemaRef ds:uri="http://schemas.microsoft.com/sharepoint/v3"/>
    <ds:schemaRef ds:uri="http://purl.org/dc/dcmitype/"/>
    <ds:schemaRef ds:uri="http://purl.org/dc/terms/"/>
  </ds:schemaRefs>
</ds:datastoreItem>
</file>

<file path=customXml/itemProps3.xml><?xml version="1.0" encoding="utf-8"?>
<ds:datastoreItem xmlns:ds="http://schemas.openxmlformats.org/officeDocument/2006/customXml" ds:itemID="{EB867569-6980-4181-ACA3-B4B3C523BA2A}">
  <ds:schemaRefs>
    <ds:schemaRef ds:uri="170c2666-62a3-49d6-91fc-09b41b4914e9"/>
    <ds:schemaRef ds:uri="1b8b3b62-5ef1-4d02-aa82-568b3df3ec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heme 2 - Circles</Template>
  <TotalTime>1445</TotalTime>
  <Words>1911</Words>
  <Application>Microsoft Office PowerPoint</Application>
  <PresentationFormat>Widescreen</PresentationFormat>
  <Paragraphs>196</Paragraphs>
  <Slides>20</Slides>
  <Notes>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0</vt:i4>
      </vt:variant>
    </vt:vector>
  </HeadingPairs>
  <TitlesOfParts>
    <vt:vector size="27" baseType="lpstr">
      <vt:lpstr>Wingdings 2</vt:lpstr>
      <vt:lpstr>Avenir Next LT Pro</vt:lpstr>
      <vt:lpstr>Arial</vt:lpstr>
      <vt:lpstr>Tahoma</vt:lpstr>
      <vt:lpstr>Calibri</vt:lpstr>
      <vt:lpstr>Proxima Nova Light</vt:lpstr>
      <vt:lpstr>Theme 2 - Circles</vt:lpstr>
      <vt:lpstr>What To Look For in LED Horticulture Fixtur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w to use this template</dc:title>
  <dc:creator>Paul, Ryan</dc:creator>
  <cp:lastModifiedBy>Pezzella, Carissa</cp:lastModifiedBy>
  <cp:revision>7</cp:revision>
  <dcterms:created xsi:type="dcterms:W3CDTF">2022-06-15T12:57:59Z</dcterms:created>
  <dcterms:modified xsi:type="dcterms:W3CDTF">2022-10-18T17:4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5B898183FCF004C8EA0DB47FFFA5556</vt:lpwstr>
  </property>
  <property fmtid="{D5CDD505-2E9C-101B-9397-08002B2CF9AE}" pid="3" name="ArticulateGUID">
    <vt:lpwstr>6F2DFACD-0AA1-4FC6-931C-570781091E41</vt:lpwstr>
  </property>
  <property fmtid="{D5CDD505-2E9C-101B-9397-08002B2CF9AE}" pid="4" name="ArticulatePath">
    <vt:lpwstr>https://acuitybrandsinc.sharepoint.com/sites/DemandGenerationTeam491/Shared Documents/General/Meeting Presentations/Acuity Brands Template _2022</vt:lpwstr>
  </property>
</Properties>
</file>